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2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7" r:id="rId4"/>
    <p:sldMasterId id="2147483760" r:id="rId5"/>
    <p:sldMasterId id="2147483791" r:id="rId6"/>
    <p:sldMasterId id="2147483820" r:id="rId7"/>
  </p:sldMasterIdLst>
  <p:notesMasterIdLst>
    <p:notesMasterId r:id="rId27"/>
  </p:notesMasterIdLst>
  <p:handoutMasterIdLst>
    <p:handoutMasterId r:id="rId28"/>
  </p:handoutMasterIdLst>
  <p:sldIdLst>
    <p:sldId id="256" r:id="rId8"/>
    <p:sldId id="2146847464" r:id="rId9"/>
    <p:sldId id="2146847471" r:id="rId10"/>
    <p:sldId id="2146847460" r:id="rId11"/>
    <p:sldId id="2146847459" r:id="rId12"/>
    <p:sldId id="2146847448" r:id="rId13"/>
    <p:sldId id="2146847462" r:id="rId14"/>
    <p:sldId id="2146847463" r:id="rId15"/>
    <p:sldId id="2146847473" r:id="rId16"/>
    <p:sldId id="2146847465" r:id="rId17"/>
    <p:sldId id="2146847466" r:id="rId18"/>
    <p:sldId id="2146847467" r:id="rId19"/>
    <p:sldId id="2146847468" r:id="rId20"/>
    <p:sldId id="2146847469" r:id="rId21"/>
    <p:sldId id="2146847474" r:id="rId22"/>
    <p:sldId id="7223" r:id="rId23"/>
    <p:sldId id="2146847470" r:id="rId24"/>
    <p:sldId id="2146847477" r:id="rId25"/>
    <p:sldId id="2146847475" r:id="rId26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ção Padrão" id="{7C603CA2-4D62-4B86-A7AA-50105772AAC2}">
          <p14:sldIdLst>
            <p14:sldId id="256"/>
            <p14:sldId id="2146847464"/>
            <p14:sldId id="2146847471"/>
            <p14:sldId id="2146847460"/>
            <p14:sldId id="2146847459"/>
            <p14:sldId id="2146847448"/>
            <p14:sldId id="2146847462"/>
            <p14:sldId id="2146847463"/>
            <p14:sldId id="2146847473"/>
            <p14:sldId id="2146847465"/>
            <p14:sldId id="2146847466"/>
            <p14:sldId id="2146847467"/>
            <p14:sldId id="2146847468"/>
            <p14:sldId id="2146847469"/>
            <p14:sldId id="2146847474"/>
            <p14:sldId id="7223"/>
            <p14:sldId id="2146847470"/>
            <p14:sldId id="2146847477"/>
            <p14:sldId id="214684747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8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abrielle Martiniano" initials="GM" lastIdx="2" clrIdx="0">
    <p:extLst>
      <p:ext uri="{19B8F6BF-5375-455C-9EA6-DF929625EA0E}">
        <p15:presenceInfo xmlns:p15="http://schemas.microsoft.com/office/powerpoint/2012/main" userId="S::gabrielle.jordao@bv.com.br::f4a94a08-2fe8-4ea6-ba8b-b5eda417f79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2362"/>
    <a:srgbClr val="5DCBE3"/>
    <a:srgbClr val="99FF66"/>
    <a:srgbClr val="FFFF9B"/>
    <a:srgbClr val="E9F8FB"/>
    <a:srgbClr val="E5E85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CB0C1EB-16B6-4ACA-8D20-B68F6FACAA9C}" v="3" dt="2022-04-04T19:13:24.11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enhum Estilo, Nenhuma Grad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004" autoAdjust="0"/>
    <p:restoredTop sz="94063" autoAdjust="0"/>
  </p:normalViewPr>
  <p:slideViewPr>
    <p:cSldViewPr snapToGrid="0" showGuides="1">
      <p:cViewPr varScale="1">
        <p:scale>
          <a:sx n="68" d="100"/>
          <a:sy n="68" d="100"/>
        </p:scale>
        <p:origin x="738" y="60"/>
      </p:cViewPr>
      <p:guideLst>
        <p:guide orient="horz" pos="2160"/>
        <p:guide pos="89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4" d="100"/>
          <a:sy n="84" d="100"/>
        </p:scale>
        <p:origin x="3078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34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8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Pasta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Pasta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Pasta1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Pasta1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felipe.espirito\OneDrive%20-%20Banco%20Votorantim%20S.A\Modelos%20ML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felipe.espirito\OneDrive%20-%20Banco%20Votorantim%20S.A\Modelos%20ML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felipe.espirito\OneDrive%20-%20Banco%20Votorantim%20S.A\Modelos%20ML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felipe.espirito\OneDrive%20-%20Banco%20Votorantim%20S.A\Modelos%20ML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t-BR"/>
              <a:t>KS por safra (Aberto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Aberto!$L$1</c:f>
              <c:strCache>
                <c:ptCount val="1"/>
                <c:pt idx="0">
                  <c:v>AdaBoost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numRef>
              <c:f>Aberto!$K$2:$K$6</c:f>
              <c:numCache>
                <c:formatCode>General</c:formatCode>
                <c:ptCount val="5"/>
                <c:pt idx="0">
                  <c:v>202108</c:v>
                </c:pt>
                <c:pt idx="1">
                  <c:v>202109</c:v>
                </c:pt>
                <c:pt idx="2">
                  <c:v>202110</c:v>
                </c:pt>
                <c:pt idx="3">
                  <c:v>202111</c:v>
                </c:pt>
                <c:pt idx="4">
                  <c:v>202112</c:v>
                </c:pt>
              </c:numCache>
            </c:numRef>
          </c:cat>
          <c:val>
            <c:numRef>
              <c:f>Aberto!$L$2:$L$6</c:f>
              <c:numCache>
                <c:formatCode>General</c:formatCode>
                <c:ptCount val="5"/>
                <c:pt idx="0">
                  <c:v>31.006599999999999</c:v>
                </c:pt>
                <c:pt idx="1">
                  <c:v>31.9497</c:v>
                </c:pt>
                <c:pt idx="2">
                  <c:v>31.370699999999999</c:v>
                </c:pt>
                <c:pt idx="3">
                  <c:v>23.660599999999999</c:v>
                </c:pt>
                <c:pt idx="4">
                  <c:v>19.9986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0E7-47AC-9978-4CCF0215FAC2}"/>
            </c:ext>
          </c:extLst>
        </c:ser>
        <c:ser>
          <c:idx val="1"/>
          <c:order val="1"/>
          <c:tx>
            <c:strRef>
              <c:f>Aberto!$M$1</c:f>
              <c:strCache>
                <c:ptCount val="1"/>
                <c:pt idx="0">
                  <c:v>LightGBM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numRef>
              <c:f>Aberto!$K$2:$K$6</c:f>
              <c:numCache>
                <c:formatCode>General</c:formatCode>
                <c:ptCount val="5"/>
                <c:pt idx="0">
                  <c:v>202108</c:v>
                </c:pt>
                <c:pt idx="1">
                  <c:v>202109</c:v>
                </c:pt>
                <c:pt idx="2">
                  <c:v>202110</c:v>
                </c:pt>
                <c:pt idx="3">
                  <c:v>202111</c:v>
                </c:pt>
                <c:pt idx="4">
                  <c:v>202112</c:v>
                </c:pt>
              </c:numCache>
            </c:numRef>
          </c:cat>
          <c:val>
            <c:numRef>
              <c:f>Aberto!$M$2:$M$6</c:f>
              <c:numCache>
                <c:formatCode>General</c:formatCode>
                <c:ptCount val="5"/>
                <c:pt idx="0">
                  <c:v>26.7393</c:v>
                </c:pt>
                <c:pt idx="1">
                  <c:v>26.181000000000001</c:v>
                </c:pt>
                <c:pt idx="2">
                  <c:v>26.3184</c:v>
                </c:pt>
                <c:pt idx="3">
                  <c:v>23.5246</c:v>
                </c:pt>
                <c:pt idx="4">
                  <c:v>18.1139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0E7-47AC-9978-4CCF0215FAC2}"/>
            </c:ext>
          </c:extLst>
        </c:ser>
        <c:ser>
          <c:idx val="2"/>
          <c:order val="2"/>
          <c:tx>
            <c:strRef>
              <c:f>Aberto!$N$1</c:f>
              <c:strCache>
                <c:ptCount val="1"/>
                <c:pt idx="0">
                  <c:v>Random Forest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numRef>
              <c:f>Aberto!$K$2:$K$6</c:f>
              <c:numCache>
                <c:formatCode>General</c:formatCode>
                <c:ptCount val="5"/>
                <c:pt idx="0">
                  <c:v>202108</c:v>
                </c:pt>
                <c:pt idx="1">
                  <c:v>202109</c:v>
                </c:pt>
                <c:pt idx="2">
                  <c:v>202110</c:v>
                </c:pt>
                <c:pt idx="3">
                  <c:v>202111</c:v>
                </c:pt>
                <c:pt idx="4">
                  <c:v>202112</c:v>
                </c:pt>
              </c:numCache>
            </c:numRef>
          </c:cat>
          <c:val>
            <c:numRef>
              <c:f>Aberto!$N$2:$N$6</c:f>
              <c:numCache>
                <c:formatCode>General</c:formatCode>
                <c:ptCount val="5"/>
                <c:pt idx="0">
                  <c:v>22.524799999999999</c:v>
                </c:pt>
                <c:pt idx="1">
                  <c:v>26.1416</c:v>
                </c:pt>
                <c:pt idx="2">
                  <c:v>24.6431</c:v>
                </c:pt>
                <c:pt idx="3">
                  <c:v>23.2624</c:v>
                </c:pt>
                <c:pt idx="4">
                  <c:v>19.81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0E7-47AC-9978-4CCF0215FAC2}"/>
            </c:ext>
          </c:extLst>
        </c:ser>
        <c:ser>
          <c:idx val="3"/>
          <c:order val="3"/>
          <c:tx>
            <c:strRef>
              <c:f>Aberto!$O$1</c:f>
              <c:strCache>
                <c:ptCount val="1"/>
                <c:pt idx="0">
                  <c:v>XgBoost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numRef>
              <c:f>Aberto!$K$2:$K$6</c:f>
              <c:numCache>
                <c:formatCode>General</c:formatCode>
                <c:ptCount val="5"/>
                <c:pt idx="0">
                  <c:v>202108</c:v>
                </c:pt>
                <c:pt idx="1">
                  <c:v>202109</c:v>
                </c:pt>
                <c:pt idx="2">
                  <c:v>202110</c:v>
                </c:pt>
                <c:pt idx="3">
                  <c:v>202111</c:v>
                </c:pt>
                <c:pt idx="4">
                  <c:v>202112</c:v>
                </c:pt>
              </c:numCache>
            </c:numRef>
          </c:cat>
          <c:val>
            <c:numRef>
              <c:f>Aberto!$O$2:$O$6</c:f>
              <c:numCache>
                <c:formatCode>General</c:formatCode>
                <c:ptCount val="5"/>
                <c:pt idx="0">
                  <c:v>53.162199999999999</c:v>
                </c:pt>
                <c:pt idx="1">
                  <c:v>53.047600000000003</c:v>
                </c:pt>
                <c:pt idx="2">
                  <c:v>52.985999999999997</c:v>
                </c:pt>
                <c:pt idx="3">
                  <c:v>17.693999999999999</c:v>
                </c:pt>
                <c:pt idx="4">
                  <c:v>15.2154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0E7-47AC-9978-4CCF0215FAC2}"/>
            </c:ext>
          </c:extLst>
        </c:ser>
        <c:ser>
          <c:idx val="4"/>
          <c:order val="4"/>
          <c:tx>
            <c:strRef>
              <c:f>Aberto!$P$1</c:f>
              <c:strCache>
                <c:ptCount val="1"/>
                <c:pt idx="0">
                  <c:v>Finalista Reg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c:spPr>
          </c:marker>
          <c:cat>
            <c:numRef>
              <c:f>Aberto!$K$2:$K$6</c:f>
              <c:numCache>
                <c:formatCode>General</c:formatCode>
                <c:ptCount val="5"/>
                <c:pt idx="0">
                  <c:v>202108</c:v>
                </c:pt>
                <c:pt idx="1">
                  <c:v>202109</c:v>
                </c:pt>
                <c:pt idx="2">
                  <c:v>202110</c:v>
                </c:pt>
                <c:pt idx="3">
                  <c:v>202111</c:v>
                </c:pt>
                <c:pt idx="4">
                  <c:v>202112</c:v>
                </c:pt>
              </c:numCache>
            </c:numRef>
          </c:cat>
          <c:val>
            <c:numRef>
              <c:f>Aberto!$P$2:$P$6</c:f>
              <c:numCache>
                <c:formatCode>General</c:formatCode>
                <c:ptCount val="5"/>
                <c:pt idx="0">
                  <c:v>24.051100000000002</c:v>
                </c:pt>
                <c:pt idx="1">
                  <c:v>25.183</c:v>
                </c:pt>
                <c:pt idx="2">
                  <c:v>25.728899999999999</c:v>
                </c:pt>
                <c:pt idx="3">
                  <c:v>25.777200000000001</c:v>
                </c:pt>
                <c:pt idx="4">
                  <c:v>19.44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0E7-47AC-9978-4CCF0215FA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3101648"/>
        <c:axId val="193102064"/>
      </c:lineChart>
      <c:catAx>
        <c:axId val="19310164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t-BR"/>
                  <a:t>Safra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93102064"/>
        <c:crosses val="autoZero"/>
        <c:auto val="1"/>
        <c:lblAlgn val="ctr"/>
        <c:lblOffset val="100"/>
        <c:noMultiLvlLbl val="0"/>
      </c:catAx>
      <c:valAx>
        <c:axId val="193102064"/>
        <c:scaling>
          <c:orientation val="minMax"/>
          <c:min val="12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t-BR"/>
                  <a:t>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</c:title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93101648"/>
        <c:crosses val="autoZero"/>
        <c:crossBetween val="between"/>
        <c:majorUnit val="6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solidFill>
        <a:schemeClr val="accent1">
          <a:alpha val="94000"/>
        </a:schemeClr>
      </a:solidFill>
      <a:round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t-BR"/>
              <a:t>KS por safra (Restrito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Restrito!$L$1</c:f>
              <c:strCache>
                <c:ptCount val="1"/>
                <c:pt idx="0">
                  <c:v>AdaBoost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numRef>
              <c:f>Restrito!$K$2:$K$6</c:f>
              <c:numCache>
                <c:formatCode>General</c:formatCode>
                <c:ptCount val="5"/>
                <c:pt idx="0">
                  <c:v>202108</c:v>
                </c:pt>
                <c:pt idx="1">
                  <c:v>202109</c:v>
                </c:pt>
                <c:pt idx="2">
                  <c:v>202110</c:v>
                </c:pt>
                <c:pt idx="3">
                  <c:v>202111</c:v>
                </c:pt>
                <c:pt idx="4">
                  <c:v>202112</c:v>
                </c:pt>
              </c:numCache>
            </c:numRef>
          </c:cat>
          <c:val>
            <c:numRef>
              <c:f>Restrito!$L$2:$L$6</c:f>
              <c:numCache>
                <c:formatCode>General</c:formatCode>
                <c:ptCount val="5"/>
                <c:pt idx="0">
                  <c:v>26.906400000000001</c:v>
                </c:pt>
                <c:pt idx="1">
                  <c:v>27.850999999999999</c:v>
                </c:pt>
                <c:pt idx="2">
                  <c:v>28.828399999999998</c:v>
                </c:pt>
                <c:pt idx="3">
                  <c:v>23.4815</c:v>
                </c:pt>
                <c:pt idx="4">
                  <c:v>20.7732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441-4D6F-BA2A-B92F6B09FF54}"/>
            </c:ext>
          </c:extLst>
        </c:ser>
        <c:ser>
          <c:idx val="1"/>
          <c:order val="1"/>
          <c:tx>
            <c:strRef>
              <c:f>Restrito!$M$1</c:f>
              <c:strCache>
                <c:ptCount val="1"/>
                <c:pt idx="0">
                  <c:v>LightGBM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numRef>
              <c:f>Restrito!$K$2:$K$6</c:f>
              <c:numCache>
                <c:formatCode>General</c:formatCode>
                <c:ptCount val="5"/>
                <c:pt idx="0">
                  <c:v>202108</c:v>
                </c:pt>
                <c:pt idx="1">
                  <c:v>202109</c:v>
                </c:pt>
                <c:pt idx="2">
                  <c:v>202110</c:v>
                </c:pt>
                <c:pt idx="3">
                  <c:v>202111</c:v>
                </c:pt>
                <c:pt idx="4">
                  <c:v>202112</c:v>
                </c:pt>
              </c:numCache>
            </c:numRef>
          </c:cat>
          <c:val>
            <c:numRef>
              <c:f>Restrito!$M$2:$M$6</c:f>
              <c:numCache>
                <c:formatCode>General</c:formatCode>
                <c:ptCount val="5"/>
                <c:pt idx="0">
                  <c:v>25.808399999999999</c:v>
                </c:pt>
                <c:pt idx="1">
                  <c:v>26.814499999999999</c:v>
                </c:pt>
                <c:pt idx="2">
                  <c:v>24.190799999999999</c:v>
                </c:pt>
                <c:pt idx="3">
                  <c:v>22.9526</c:v>
                </c:pt>
                <c:pt idx="4">
                  <c:v>18.1808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441-4D6F-BA2A-B92F6B09FF54}"/>
            </c:ext>
          </c:extLst>
        </c:ser>
        <c:ser>
          <c:idx val="2"/>
          <c:order val="2"/>
          <c:tx>
            <c:strRef>
              <c:f>Restrito!$N$1</c:f>
              <c:strCache>
                <c:ptCount val="1"/>
                <c:pt idx="0">
                  <c:v>Random Forest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numRef>
              <c:f>Restrito!$K$2:$K$6</c:f>
              <c:numCache>
                <c:formatCode>General</c:formatCode>
                <c:ptCount val="5"/>
                <c:pt idx="0">
                  <c:v>202108</c:v>
                </c:pt>
                <c:pt idx="1">
                  <c:v>202109</c:v>
                </c:pt>
                <c:pt idx="2">
                  <c:v>202110</c:v>
                </c:pt>
                <c:pt idx="3">
                  <c:v>202111</c:v>
                </c:pt>
                <c:pt idx="4">
                  <c:v>202112</c:v>
                </c:pt>
              </c:numCache>
            </c:numRef>
          </c:cat>
          <c:val>
            <c:numRef>
              <c:f>Restrito!$N$2:$N$6</c:f>
              <c:numCache>
                <c:formatCode>General</c:formatCode>
                <c:ptCount val="5"/>
                <c:pt idx="0">
                  <c:v>24.243099999999998</c:v>
                </c:pt>
                <c:pt idx="1">
                  <c:v>25.286999999999999</c:v>
                </c:pt>
                <c:pt idx="2">
                  <c:v>25.834499999999998</c:v>
                </c:pt>
                <c:pt idx="3">
                  <c:v>22.680399999999999</c:v>
                </c:pt>
                <c:pt idx="4">
                  <c:v>19.3639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441-4D6F-BA2A-B92F6B09FF54}"/>
            </c:ext>
          </c:extLst>
        </c:ser>
        <c:ser>
          <c:idx val="3"/>
          <c:order val="3"/>
          <c:tx>
            <c:strRef>
              <c:f>Restrito!$O$1</c:f>
              <c:strCache>
                <c:ptCount val="1"/>
                <c:pt idx="0">
                  <c:v>XgBoost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numRef>
              <c:f>Restrito!$K$2:$K$6</c:f>
              <c:numCache>
                <c:formatCode>General</c:formatCode>
                <c:ptCount val="5"/>
                <c:pt idx="0">
                  <c:v>202108</c:v>
                </c:pt>
                <c:pt idx="1">
                  <c:v>202109</c:v>
                </c:pt>
                <c:pt idx="2">
                  <c:v>202110</c:v>
                </c:pt>
                <c:pt idx="3">
                  <c:v>202111</c:v>
                </c:pt>
                <c:pt idx="4">
                  <c:v>202112</c:v>
                </c:pt>
              </c:numCache>
            </c:numRef>
          </c:cat>
          <c:val>
            <c:numRef>
              <c:f>Restrito!$O$2:$O$6</c:f>
              <c:numCache>
                <c:formatCode>General</c:formatCode>
                <c:ptCount val="5"/>
                <c:pt idx="0">
                  <c:v>47.026400000000002</c:v>
                </c:pt>
                <c:pt idx="1">
                  <c:v>48.075899999999997</c:v>
                </c:pt>
                <c:pt idx="2">
                  <c:v>47.906799999999997</c:v>
                </c:pt>
                <c:pt idx="3">
                  <c:v>19.051600000000001</c:v>
                </c:pt>
                <c:pt idx="4">
                  <c:v>16.1199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441-4D6F-BA2A-B92F6B09FF54}"/>
            </c:ext>
          </c:extLst>
        </c:ser>
        <c:ser>
          <c:idx val="4"/>
          <c:order val="4"/>
          <c:tx>
            <c:strRef>
              <c:f>Restrito!$P$1</c:f>
              <c:strCache>
                <c:ptCount val="1"/>
                <c:pt idx="0">
                  <c:v>Finalista Reg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c:spPr>
          </c:marker>
          <c:cat>
            <c:numRef>
              <c:f>Restrito!$K$2:$K$6</c:f>
              <c:numCache>
                <c:formatCode>General</c:formatCode>
                <c:ptCount val="5"/>
                <c:pt idx="0">
                  <c:v>202108</c:v>
                </c:pt>
                <c:pt idx="1">
                  <c:v>202109</c:v>
                </c:pt>
                <c:pt idx="2">
                  <c:v>202110</c:v>
                </c:pt>
                <c:pt idx="3">
                  <c:v>202111</c:v>
                </c:pt>
                <c:pt idx="4">
                  <c:v>202112</c:v>
                </c:pt>
              </c:numCache>
            </c:numRef>
          </c:cat>
          <c:val>
            <c:numRef>
              <c:f>Restrito!$P$2:$P$6</c:f>
              <c:numCache>
                <c:formatCode>General</c:formatCode>
                <c:ptCount val="5"/>
                <c:pt idx="0">
                  <c:v>24.051100000000002</c:v>
                </c:pt>
                <c:pt idx="1">
                  <c:v>25.183</c:v>
                </c:pt>
                <c:pt idx="2">
                  <c:v>25.728899999999999</c:v>
                </c:pt>
                <c:pt idx="3">
                  <c:v>25.777200000000001</c:v>
                </c:pt>
                <c:pt idx="4">
                  <c:v>19.44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441-4D6F-BA2A-B92F6B09FF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3101648"/>
        <c:axId val="193102064"/>
      </c:lineChart>
      <c:catAx>
        <c:axId val="19310164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t-BR"/>
                  <a:t>Safra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93102064"/>
        <c:crosses val="autoZero"/>
        <c:auto val="1"/>
        <c:lblAlgn val="ctr"/>
        <c:lblOffset val="100"/>
        <c:noMultiLvlLbl val="0"/>
      </c:catAx>
      <c:valAx>
        <c:axId val="193102064"/>
        <c:scaling>
          <c:orientation val="minMax"/>
          <c:min val="12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t-BR"/>
                  <a:t>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</c:title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93101648"/>
        <c:crosses val="autoZero"/>
        <c:crossBetween val="between"/>
        <c:majorUnit val="6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solidFill>
        <a:schemeClr val="accent1">
          <a:alpha val="94000"/>
        </a:schemeClr>
      </a:solidFill>
      <a:round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t-BR"/>
              <a:t>Ordenação inad</a:t>
            </a:r>
            <a:r>
              <a:rPr lang="pt-BR" baseline="0"/>
              <a:t> por decil (Restrito)</a:t>
            </a:r>
            <a:endParaRPr lang="pt-BR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Restrito!$T$40</c:f>
              <c:strCache>
                <c:ptCount val="1"/>
                <c:pt idx="0">
                  <c:v>AdaBoost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numRef>
              <c:f>Restrito!$S$41:$S$50</c:f>
              <c:numCache>
                <c:formatCode>General</c:formatCode>
                <c:ptCount val="10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</c:numCache>
            </c:numRef>
          </c:cat>
          <c:val>
            <c:numRef>
              <c:f>Restrito!$T$41:$T$50</c:f>
              <c:numCache>
                <c:formatCode>General</c:formatCode>
                <c:ptCount val="10"/>
                <c:pt idx="0">
                  <c:v>8.4147669999999994</c:v>
                </c:pt>
                <c:pt idx="1">
                  <c:v>5.2162430000000004</c:v>
                </c:pt>
                <c:pt idx="2">
                  <c:v>4.2671609999999998</c:v>
                </c:pt>
                <c:pt idx="3">
                  <c:v>3.2219180000000001</c:v>
                </c:pt>
                <c:pt idx="4">
                  <c:v>2.9447179999999999</c:v>
                </c:pt>
                <c:pt idx="5">
                  <c:v>2.329142</c:v>
                </c:pt>
                <c:pt idx="6">
                  <c:v>2.2717390000000002</c:v>
                </c:pt>
                <c:pt idx="7">
                  <c:v>1.772932</c:v>
                </c:pt>
                <c:pt idx="8">
                  <c:v>0.831237</c:v>
                </c:pt>
                <c:pt idx="9">
                  <c:v>0.536046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236-4E58-96A7-56BE2381C105}"/>
            </c:ext>
          </c:extLst>
        </c:ser>
        <c:ser>
          <c:idx val="1"/>
          <c:order val="1"/>
          <c:tx>
            <c:strRef>
              <c:f>Restrito!$U$40</c:f>
              <c:strCache>
                <c:ptCount val="1"/>
                <c:pt idx="0">
                  <c:v>LightGBM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numRef>
              <c:f>Restrito!$S$41:$S$50</c:f>
              <c:numCache>
                <c:formatCode>General</c:formatCode>
                <c:ptCount val="10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</c:numCache>
            </c:numRef>
          </c:cat>
          <c:val>
            <c:numRef>
              <c:f>Restrito!$U$41:$U$50</c:f>
              <c:numCache>
                <c:formatCode>General</c:formatCode>
                <c:ptCount val="10"/>
                <c:pt idx="0">
                  <c:v>8.0234830000000006</c:v>
                </c:pt>
                <c:pt idx="1">
                  <c:v>4.8638839999999997</c:v>
                </c:pt>
                <c:pt idx="2">
                  <c:v>3.878762</c:v>
                </c:pt>
                <c:pt idx="3">
                  <c:v>3.3649879999999999</c:v>
                </c:pt>
                <c:pt idx="4">
                  <c:v>2.8348</c:v>
                </c:pt>
                <c:pt idx="5">
                  <c:v>2.404058</c:v>
                </c:pt>
                <c:pt idx="6">
                  <c:v>2.2145030000000001</c:v>
                </c:pt>
                <c:pt idx="7">
                  <c:v>1.9249700000000001</c:v>
                </c:pt>
                <c:pt idx="8">
                  <c:v>1.3140750000000001</c:v>
                </c:pt>
                <c:pt idx="9">
                  <c:v>0.83250100000000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236-4E58-96A7-56BE2381C105}"/>
            </c:ext>
          </c:extLst>
        </c:ser>
        <c:ser>
          <c:idx val="2"/>
          <c:order val="2"/>
          <c:tx>
            <c:strRef>
              <c:f>Restrito!$V$40</c:f>
              <c:strCache>
                <c:ptCount val="1"/>
                <c:pt idx="0">
                  <c:v>RandomForest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numRef>
              <c:f>Restrito!$S$41:$S$50</c:f>
              <c:numCache>
                <c:formatCode>General</c:formatCode>
                <c:ptCount val="10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</c:numCache>
            </c:numRef>
          </c:cat>
          <c:val>
            <c:numRef>
              <c:f>Restrito!$V$41:$V$50</c:f>
              <c:numCache>
                <c:formatCode>General</c:formatCode>
                <c:ptCount val="10"/>
                <c:pt idx="0">
                  <c:v>7.9177600000000004</c:v>
                </c:pt>
                <c:pt idx="1">
                  <c:v>4.6702399999999997</c:v>
                </c:pt>
                <c:pt idx="2">
                  <c:v>4.2218090000000004</c:v>
                </c:pt>
                <c:pt idx="3">
                  <c:v>3.6745410000000001</c:v>
                </c:pt>
                <c:pt idx="4">
                  <c:v>2.7015199999999999</c:v>
                </c:pt>
                <c:pt idx="5">
                  <c:v>2.4718360000000001</c:v>
                </c:pt>
                <c:pt idx="6">
                  <c:v>2.2530899999999998</c:v>
                </c:pt>
                <c:pt idx="7">
                  <c:v>1.7390350000000001</c:v>
                </c:pt>
                <c:pt idx="8">
                  <c:v>1.446753</c:v>
                </c:pt>
                <c:pt idx="9">
                  <c:v>1.055641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236-4E58-96A7-56BE2381C105}"/>
            </c:ext>
          </c:extLst>
        </c:ser>
        <c:ser>
          <c:idx val="3"/>
          <c:order val="3"/>
          <c:tx>
            <c:strRef>
              <c:f>Restrito!$W$40</c:f>
              <c:strCache>
                <c:ptCount val="1"/>
                <c:pt idx="0">
                  <c:v>XgBoost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numRef>
              <c:f>Restrito!$S$41:$S$50</c:f>
              <c:numCache>
                <c:formatCode>General</c:formatCode>
                <c:ptCount val="10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</c:numCache>
            </c:numRef>
          </c:cat>
          <c:val>
            <c:numRef>
              <c:f>Restrito!$W$41:$W$50</c:f>
              <c:numCache>
                <c:formatCode>General</c:formatCode>
                <c:ptCount val="10"/>
                <c:pt idx="0">
                  <c:v>15.758967999999999</c:v>
                </c:pt>
                <c:pt idx="1">
                  <c:v>5.129607</c:v>
                </c:pt>
                <c:pt idx="2">
                  <c:v>3.4452590000000001</c:v>
                </c:pt>
                <c:pt idx="3">
                  <c:v>2.2093400000000001</c:v>
                </c:pt>
                <c:pt idx="4">
                  <c:v>1.6622920000000001</c:v>
                </c:pt>
                <c:pt idx="5">
                  <c:v>1.159357</c:v>
                </c:pt>
                <c:pt idx="6">
                  <c:v>1.0062340000000001</c:v>
                </c:pt>
                <c:pt idx="7">
                  <c:v>0.87498600000000004</c:v>
                </c:pt>
                <c:pt idx="8">
                  <c:v>0.54686599999999996</c:v>
                </c:pt>
                <c:pt idx="9">
                  <c:v>0.360891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236-4E58-96A7-56BE2381C105}"/>
            </c:ext>
          </c:extLst>
        </c:ser>
        <c:ser>
          <c:idx val="4"/>
          <c:order val="4"/>
          <c:tx>
            <c:strRef>
              <c:f>Restrito!$X$40</c:f>
              <c:strCache>
                <c:ptCount val="1"/>
                <c:pt idx="0">
                  <c:v>Finalista Reg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c:spPr>
          </c:marker>
          <c:cat>
            <c:numRef>
              <c:f>Restrito!$S$41:$S$50</c:f>
              <c:numCache>
                <c:formatCode>General</c:formatCode>
                <c:ptCount val="10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</c:numCache>
            </c:numRef>
          </c:cat>
          <c:val>
            <c:numRef>
              <c:f>Restrito!$X$41:$X$50</c:f>
              <c:numCache>
                <c:formatCode>General</c:formatCode>
                <c:ptCount val="10"/>
                <c:pt idx="0">
                  <c:v>7.8562060000000002</c:v>
                </c:pt>
                <c:pt idx="1">
                  <c:v>5.0699300000000003</c:v>
                </c:pt>
                <c:pt idx="2">
                  <c:v>4.0565730000000002</c:v>
                </c:pt>
                <c:pt idx="3">
                  <c:v>3.3759420000000002</c:v>
                </c:pt>
                <c:pt idx="4">
                  <c:v>3.0127079999999999</c:v>
                </c:pt>
                <c:pt idx="5">
                  <c:v>2.5492340000000002</c:v>
                </c:pt>
                <c:pt idx="6">
                  <c:v>2.1860309999999998</c:v>
                </c:pt>
                <c:pt idx="7">
                  <c:v>1.68398</c:v>
                </c:pt>
                <c:pt idx="8">
                  <c:v>1.4106069999999999</c:v>
                </c:pt>
                <c:pt idx="9">
                  <c:v>0.909290000000000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236-4E58-96A7-56BE2381C1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3980384"/>
        <c:axId val="303971648"/>
      </c:lineChart>
      <c:catAx>
        <c:axId val="30398038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t-BR"/>
                  <a:t>Decil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t" anchorCtr="1"/>
          <a:lstStyle/>
          <a:p>
            <a:pPr>
              <a:defRPr sz="900" b="0" i="0" u="none" strike="noStrike" kern="1200" baseline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303971648"/>
        <c:crosses val="autoZero"/>
        <c:auto val="0"/>
        <c:lblAlgn val="ctr"/>
        <c:lblOffset val="100"/>
        <c:noMultiLvlLbl val="0"/>
      </c:catAx>
      <c:valAx>
        <c:axId val="303971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t-BR"/>
                  <a:t>% Inad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3039803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solidFill>
        <a:schemeClr val="tx1">
          <a:alpha val="98000"/>
        </a:schemeClr>
      </a:solidFill>
      <a:round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t-BR"/>
              <a:t>Ordenação inad</a:t>
            </a:r>
            <a:r>
              <a:rPr lang="pt-BR" baseline="0"/>
              <a:t> por decil (Aberto)</a:t>
            </a:r>
            <a:endParaRPr lang="pt-BR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Aberto!$S$35</c:f>
              <c:strCache>
                <c:ptCount val="1"/>
                <c:pt idx="0">
                  <c:v>AdaBoost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numRef>
              <c:f>Aberto!$R$36:$R$45</c:f>
              <c:numCache>
                <c:formatCode>General</c:formatCode>
                <c:ptCount val="10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</c:numCache>
            </c:numRef>
          </c:cat>
          <c:val>
            <c:numRef>
              <c:f>Aberto!$S$36:$S$45</c:f>
              <c:numCache>
                <c:formatCode>General</c:formatCode>
                <c:ptCount val="10"/>
                <c:pt idx="0">
                  <c:v>9.8425200000000004</c:v>
                </c:pt>
                <c:pt idx="1">
                  <c:v>5.1842940000000004</c:v>
                </c:pt>
                <c:pt idx="2">
                  <c:v>3.805358</c:v>
                </c:pt>
                <c:pt idx="3">
                  <c:v>3.6526679999999998</c:v>
                </c:pt>
                <c:pt idx="4">
                  <c:v>2.7762600000000002</c:v>
                </c:pt>
                <c:pt idx="5">
                  <c:v>2.397373</c:v>
                </c:pt>
                <c:pt idx="6">
                  <c:v>1.7607170000000001</c:v>
                </c:pt>
                <c:pt idx="7">
                  <c:v>1.3891929999999999</c:v>
                </c:pt>
                <c:pt idx="8">
                  <c:v>0.831237</c:v>
                </c:pt>
                <c:pt idx="9">
                  <c:v>0.513997999999999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706-4BC4-A083-CA9B42ACE353}"/>
            </c:ext>
          </c:extLst>
        </c:ser>
        <c:ser>
          <c:idx val="1"/>
          <c:order val="1"/>
          <c:tx>
            <c:strRef>
              <c:f>Aberto!$T$35</c:f>
              <c:strCache>
                <c:ptCount val="1"/>
                <c:pt idx="0">
                  <c:v>LightGBM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numRef>
              <c:f>Aberto!$R$36:$R$45</c:f>
              <c:numCache>
                <c:formatCode>General</c:formatCode>
                <c:ptCount val="10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</c:numCache>
            </c:numRef>
          </c:cat>
          <c:val>
            <c:numRef>
              <c:f>Aberto!$T$36:$T$45</c:f>
              <c:numCache>
                <c:formatCode>General</c:formatCode>
                <c:ptCount val="10"/>
                <c:pt idx="0">
                  <c:v>8.5192479999999993</c:v>
                </c:pt>
                <c:pt idx="1">
                  <c:v>5.030621</c:v>
                </c:pt>
                <c:pt idx="2">
                  <c:v>4.0244970000000002</c:v>
                </c:pt>
                <c:pt idx="3">
                  <c:v>3.2061069999999998</c:v>
                </c:pt>
                <c:pt idx="4">
                  <c:v>2.9619949999999999</c:v>
                </c:pt>
                <c:pt idx="5">
                  <c:v>2.5210080000000001</c:v>
                </c:pt>
                <c:pt idx="6">
                  <c:v>1.8713850000000001</c:v>
                </c:pt>
                <c:pt idx="7">
                  <c:v>1.689989</c:v>
                </c:pt>
                <c:pt idx="8">
                  <c:v>1.4089160000000001</c:v>
                </c:pt>
                <c:pt idx="9">
                  <c:v>0.883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706-4BC4-A083-CA9B42ACE353}"/>
            </c:ext>
          </c:extLst>
        </c:ser>
        <c:ser>
          <c:idx val="2"/>
          <c:order val="2"/>
          <c:tx>
            <c:strRef>
              <c:f>Aberto!$U$35</c:f>
              <c:strCache>
                <c:ptCount val="1"/>
                <c:pt idx="0">
                  <c:v>RandomForest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numRef>
              <c:f>Aberto!$R$36:$R$45</c:f>
              <c:numCache>
                <c:formatCode>General</c:formatCode>
                <c:ptCount val="10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</c:numCache>
            </c:numRef>
          </c:cat>
          <c:val>
            <c:numRef>
              <c:f>Aberto!$U$36:$U$45</c:f>
              <c:numCache>
                <c:formatCode>General</c:formatCode>
                <c:ptCount val="10"/>
                <c:pt idx="0">
                  <c:v>7.2287840000000001</c:v>
                </c:pt>
                <c:pt idx="1">
                  <c:v>5.1186699999999998</c:v>
                </c:pt>
                <c:pt idx="2">
                  <c:v>4.3093079999999997</c:v>
                </c:pt>
                <c:pt idx="3">
                  <c:v>3.5108830000000002</c:v>
                </c:pt>
                <c:pt idx="4">
                  <c:v>2.8433950000000001</c:v>
                </c:pt>
                <c:pt idx="5">
                  <c:v>2.58121</c:v>
                </c:pt>
                <c:pt idx="6">
                  <c:v>2.023406</c:v>
                </c:pt>
                <c:pt idx="7">
                  <c:v>1.892158</c:v>
                </c:pt>
                <c:pt idx="8">
                  <c:v>1.5852189999999999</c:v>
                </c:pt>
                <c:pt idx="9">
                  <c:v>1.0612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706-4BC4-A083-CA9B42ACE353}"/>
            </c:ext>
          </c:extLst>
        </c:ser>
        <c:ser>
          <c:idx val="3"/>
          <c:order val="3"/>
          <c:tx>
            <c:strRef>
              <c:f>Aberto!$V$35</c:f>
              <c:strCache>
                <c:ptCount val="1"/>
                <c:pt idx="0">
                  <c:v>XgBoost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numRef>
              <c:f>Aberto!$R$36:$R$45</c:f>
              <c:numCache>
                <c:formatCode>General</c:formatCode>
                <c:ptCount val="10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</c:numCache>
            </c:numRef>
          </c:cat>
          <c:val>
            <c:numRef>
              <c:f>Aberto!$V$36:$V$45</c:f>
              <c:numCache>
                <c:formatCode>General</c:formatCode>
                <c:ptCount val="10"/>
                <c:pt idx="0">
                  <c:v>18.318023</c:v>
                </c:pt>
                <c:pt idx="1">
                  <c:v>4.5499289999999997</c:v>
                </c:pt>
                <c:pt idx="2">
                  <c:v>2.603084</c:v>
                </c:pt>
                <c:pt idx="3">
                  <c:v>1.7390350000000001</c:v>
                </c:pt>
                <c:pt idx="4">
                  <c:v>1.377953</c:v>
                </c:pt>
                <c:pt idx="5">
                  <c:v>0.97342200000000001</c:v>
                </c:pt>
                <c:pt idx="6">
                  <c:v>0.98436000000000001</c:v>
                </c:pt>
                <c:pt idx="7">
                  <c:v>0.69998899999999997</c:v>
                </c:pt>
                <c:pt idx="8">
                  <c:v>0.459368</c:v>
                </c:pt>
                <c:pt idx="9">
                  <c:v>0.44838099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706-4BC4-A083-CA9B42ACE353}"/>
            </c:ext>
          </c:extLst>
        </c:ser>
        <c:ser>
          <c:idx val="4"/>
          <c:order val="4"/>
          <c:tx>
            <c:strRef>
              <c:f>Aberto!$W$35</c:f>
              <c:strCache>
                <c:ptCount val="1"/>
                <c:pt idx="0">
                  <c:v>Finalista Reg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c:spPr>
          </c:marker>
          <c:cat>
            <c:numRef>
              <c:f>Aberto!$R$36:$R$45</c:f>
              <c:numCache>
                <c:formatCode>General</c:formatCode>
                <c:ptCount val="10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</c:numCache>
            </c:numRef>
          </c:cat>
          <c:val>
            <c:numRef>
              <c:f>Aberto!$W$36:$W$45</c:f>
              <c:numCache>
                <c:formatCode>General</c:formatCode>
                <c:ptCount val="10"/>
                <c:pt idx="0">
                  <c:v>7.8562060000000002</c:v>
                </c:pt>
                <c:pt idx="1">
                  <c:v>5.0699300000000003</c:v>
                </c:pt>
                <c:pt idx="2">
                  <c:v>4.0565730000000002</c:v>
                </c:pt>
                <c:pt idx="3">
                  <c:v>3.3759420000000002</c:v>
                </c:pt>
                <c:pt idx="4">
                  <c:v>3.0127079999999999</c:v>
                </c:pt>
                <c:pt idx="5">
                  <c:v>2.5492340000000002</c:v>
                </c:pt>
                <c:pt idx="6">
                  <c:v>2.1860309999999998</c:v>
                </c:pt>
                <c:pt idx="7">
                  <c:v>1.68398</c:v>
                </c:pt>
                <c:pt idx="8">
                  <c:v>1.4106069999999999</c:v>
                </c:pt>
                <c:pt idx="9">
                  <c:v>0.909290000000000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706-4BC4-A083-CA9B42ACE3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3980384"/>
        <c:axId val="303971648"/>
      </c:lineChart>
      <c:catAx>
        <c:axId val="30398038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t-BR"/>
                  <a:t>Decil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t" anchorCtr="1"/>
          <a:lstStyle/>
          <a:p>
            <a:pPr>
              <a:defRPr sz="900" b="0" i="0" u="none" strike="noStrike" kern="1200" baseline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303971648"/>
        <c:crosses val="autoZero"/>
        <c:auto val="0"/>
        <c:lblAlgn val="ctr"/>
        <c:lblOffset val="100"/>
        <c:noMultiLvlLbl val="0"/>
      </c:catAx>
      <c:valAx>
        <c:axId val="303971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t-BR"/>
                  <a:t>% Inad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303980384"/>
        <c:crosses val="autoZero"/>
        <c:crossBetween val="between"/>
        <c:majorUnit val="2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solidFill>
        <a:schemeClr val="tx1">
          <a:alpha val="98000"/>
        </a:schemeClr>
      </a:solidFill>
      <a:round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t-BR"/>
              <a:t>KS por safra (Aberto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Clientes - Aberto'!$L$1</c:f>
              <c:strCache>
                <c:ptCount val="1"/>
                <c:pt idx="0">
                  <c:v>AdaBoost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numRef>
              <c:f>'Clientes - Aberto'!$K$2:$K$6</c:f>
              <c:numCache>
                <c:formatCode>General</c:formatCode>
                <c:ptCount val="5"/>
                <c:pt idx="0">
                  <c:v>202108</c:v>
                </c:pt>
                <c:pt idx="1">
                  <c:v>202109</c:v>
                </c:pt>
                <c:pt idx="2">
                  <c:v>202110</c:v>
                </c:pt>
                <c:pt idx="3">
                  <c:v>202111</c:v>
                </c:pt>
                <c:pt idx="4">
                  <c:v>202112</c:v>
                </c:pt>
              </c:numCache>
            </c:numRef>
          </c:cat>
          <c:val>
            <c:numRef>
              <c:f>'Clientes - Aberto'!$L$2:$L$6</c:f>
              <c:numCache>
                <c:formatCode>General</c:formatCode>
                <c:ptCount val="5"/>
                <c:pt idx="0">
                  <c:v>32.5944</c:v>
                </c:pt>
                <c:pt idx="1">
                  <c:v>35.372199999999999</c:v>
                </c:pt>
                <c:pt idx="2">
                  <c:v>33.690300000000001</c:v>
                </c:pt>
                <c:pt idx="3">
                  <c:v>26.305</c:v>
                </c:pt>
                <c:pt idx="4">
                  <c:v>21.1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4C1-4251-AB61-B6F357B31484}"/>
            </c:ext>
          </c:extLst>
        </c:ser>
        <c:ser>
          <c:idx val="1"/>
          <c:order val="1"/>
          <c:tx>
            <c:strRef>
              <c:f>'Clientes - Aberto'!$M$1</c:f>
              <c:strCache>
                <c:ptCount val="1"/>
                <c:pt idx="0">
                  <c:v>LightGBM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numRef>
              <c:f>'Clientes - Aberto'!$K$2:$K$6</c:f>
              <c:numCache>
                <c:formatCode>General</c:formatCode>
                <c:ptCount val="5"/>
                <c:pt idx="0">
                  <c:v>202108</c:v>
                </c:pt>
                <c:pt idx="1">
                  <c:v>202109</c:v>
                </c:pt>
                <c:pt idx="2">
                  <c:v>202110</c:v>
                </c:pt>
                <c:pt idx="3">
                  <c:v>202111</c:v>
                </c:pt>
                <c:pt idx="4">
                  <c:v>202112</c:v>
                </c:pt>
              </c:numCache>
            </c:numRef>
          </c:cat>
          <c:val>
            <c:numRef>
              <c:f>'Clientes - Aberto'!$M$2:$M$6</c:f>
              <c:numCache>
                <c:formatCode>General</c:formatCode>
                <c:ptCount val="5"/>
                <c:pt idx="0">
                  <c:v>28.392299999999999</c:v>
                </c:pt>
                <c:pt idx="1">
                  <c:v>30.898599999999998</c:v>
                </c:pt>
                <c:pt idx="2">
                  <c:v>30.387599999999999</c:v>
                </c:pt>
                <c:pt idx="3">
                  <c:v>26.878799999999998</c:v>
                </c:pt>
                <c:pt idx="4">
                  <c:v>21.1133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4C1-4251-AB61-B6F357B31484}"/>
            </c:ext>
          </c:extLst>
        </c:ser>
        <c:ser>
          <c:idx val="2"/>
          <c:order val="2"/>
          <c:tx>
            <c:strRef>
              <c:f>'Clientes - Aberto'!$N$1</c:f>
              <c:strCache>
                <c:ptCount val="1"/>
                <c:pt idx="0">
                  <c:v>Random Forest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numRef>
              <c:f>'Clientes - Aberto'!$K$2:$K$6</c:f>
              <c:numCache>
                <c:formatCode>General</c:formatCode>
                <c:ptCount val="5"/>
                <c:pt idx="0">
                  <c:v>202108</c:v>
                </c:pt>
                <c:pt idx="1">
                  <c:v>202109</c:v>
                </c:pt>
                <c:pt idx="2">
                  <c:v>202110</c:v>
                </c:pt>
                <c:pt idx="3">
                  <c:v>202111</c:v>
                </c:pt>
                <c:pt idx="4">
                  <c:v>202112</c:v>
                </c:pt>
              </c:numCache>
            </c:numRef>
          </c:cat>
          <c:val>
            <c:numRef>
              <c:f>'Clientes - Aberto'!$N$2:$N$6</c:f>
              <c:numCache>
                <c:formatCode>General</c:formatCode>
                <c:ptCount val="5"/>
                <c:pt idx="0">
                  <c:v>27.885200000000001</c:v>
                </c:pt>
                <c:pt idx="1">
                  <c:v>31.008099999999999</c:v>
                </c:pt>
                <c:pt idx="2">
                  <c:v>29.6419</c:v>
                </c:pt>
                <c:pt idx="3">
                  <c:v>27.017800000000001</c:v>
                </c:pt>
                <c:pt idx="4">
                  <c:v>20.2917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4C1-4251-AB61-B6F357B31484}"/>
            </c:ext>
          </c:extLst>
        </c:ser>
        <c:ser>
          <c:idx val="3"/>
          <c:order val="3"/>
          <c:tx>
            <c:strRef>
              <c:f>'Clientes - Aberto'!$O$1</c:f>
              <c:strCache>
                <c:ptCount val="1"/>
                <c:pt idx="0">
                  <c:v>XgBoost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numRef>
              <c:f>'Clientes - Aberto'!$K$2:$K$6</c:f>
              <c:numCache>
                <c:formatCode>General</c:formatCode>
                <c:ptCount val="5"/>
                <c:pt idx="0">
                  <c:v>202108</c:v>
                </c:pt>
                <c:pt idx="1">
                  <c:v>202109</c:v>
                </c:pt>
                <c:pt idx="2">
                  <c:v>202110</c:v>
                </c:pt>
                <c:pt idx="3">
                  <c:v>202111</c:v>
                </c:pt>
                <c:pt idx="4">
                  <c:v>202112</c:v>
                </c:pt>
              </c:numCache>
            </c:numRef>
          </c:cat>
          <c:val>
            <c:numRef>
              <c:f>'Clientes - Aberto'!$O$2:$O$6</c:f>
              <c:numCache>
                <c:formatCode>General</c:formatCode>
                <c:ptCount val="5"/>
                <c:pt idx="0">
                  <c:v>51.414900000000003</c:v>
                </c:pt>
                <c:pt idx="1">
                  <c:v>52.922400000000003</c:v>
                </c:pt>
                <c:pt idx="2">
                  <c:v>52.785400000000003</c:v>
                </c:pt>
                <c:pt idx="3">
                  <c:v>20.228100000000001</c:v>
                </c:pt>
                <c:pt idx="4">
                  <c:v>19.02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4C1-4251-AB61-B6F357B31484}"/>
            </c:ext>
          </c:extLst>
        </c:ser>
        <c:ser>
          <c:idx val="4"/>
          <c:order val="4"/>
          <c:tx>
            <c:strRef>
              <c:f>'Clientes - Aberto'!$P$1</c:f>
              <c:strCache>
                <c:ptCount val="1"/>
                <c:pt idx="0">
                  <c:v>Finalista Reg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c:spPr>
          </c:marker>
          <c:cat>
            <c:numRef>
              <c:f>'Clientes - Aberto'!$K$2:$K$6</c:f>
              <c:numCache>
                <c:formatCode>General</c:formatCode>
                <c:ptCount val="5"/>
                <c:pt idx="0">
                  <c:v>202108</c:v>
                </c:pt>
                <c:pt idx="1">
                  <c:v>202109</c:v>
                </c:pt>
                <c:pt idx="2">
                  <c:v>202110</c:v>
                </c:pt>
                <c:pt idx="3">
                  <c:v>202111</c:v>
                </c:pt>
                <c:pt idx="4">
                  <c:v>202112</c:v>
                </c:pt>
              </c:numCache>
            </c:numRef>
          </c:cat>
          <c:val>
            <c:numRef>
              <c:f>'Clientes - Aberto'!$P$2:$P$6</c:f>
              <c:numCache>
                <c:formatCode>General</c:formatCode>
                <c:ptCount val="5"/>
                <c:pt idx="0">
                  <c:v>35.0807</c:v>
                </c:pt>
                <c:pt idx="1">
                  <c:v>35.079000000000001</c:v>
                </c:pt>
                <c:pt idx="2">
                  <c:v>32.475299999999997</c:v>
                </c:pt>
                <c:pt idx="3">
                  <c:v>35.154600000000002</c:v>
                </c:pt>
                <c:pt idx="4">
                  <c:v>30.3851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4C1-4251-AB61-B6F357B314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3101648"/>
        <c:axId val="193102064"/>
      </c:lineChart>
      <c:catAx>
        <c:axId val="19310164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t-BR"/>
                  <a:t>Safra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93102064"/>
        <c:crosses val="autoZero"/>
        <c:auto val="1"/>
        <c:lblAlgn val="ctr"/>
        <c:lblOffset val="100"/>
        <c:noMultiLvlLbl val="0"/>
      </c:catAx>
      <c:valAx>
        <c:axId val="193102064"/>
        <c:scaling>
          <c:orientation val="minMax"/>
          <c:min val="12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t-BR"/>
                  <a:t>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</c:title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93101648"/>
        <c:crosses val="autoZero"/>
        <c:crossBetween val="between"/>
        <c:majorUnit val="6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solidFill>
        <a:schemeClr val="accent1">
          <a:alpha val="94000"/>
        </a:schemeClr>
      </a:solidFill>
      <a:round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t-BR"/>
              <a:t>KS por safra (Restrito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Clientes-Restrito'!$L$1</c:f>
              <c:strCache>
                <c:ptCount val="1"/>
                <c:pt idx="0">
                  <c:v>AdaBoost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numRef>
              <c:f>'Clientes-Restrito'!$K$2:$K$6</c:f>
              <c:numCache>
                <c:formatCode>General</c:formatCode>
                <c:ptCount val="5"/>
                <c:pt idx="0">
                  <c:v>202108</c:v>
                </c:pt>
                <c:pt idx="1">
                  <c:v>202109</c:v>
                </c:pt>
                <c:pt idx="2">
                  <c:v>202110</c:v>
                </c:pt>
                <c:pt idx="3">
                  <c:v>202111</c:v>
                </c:pt>
                <c:pt idx="4">
                  <c:v>202112</c:v>
                </c:pt>
              </c:numCache>
            </c:numRef>
          </c:cat>
          <c:val>
            <c:numRef>
              <c:f>'Clientes-Restrito'!$L$2:$L$6</c:f>
              <c:numCache>
                <c:formatCode>General</c:formatCode>
                <c:ptCount val="5"/>
                <c:pt idx="0">
                  <c:v>29.619700000000002</c:v>
                </c:pt>
                <c:pt idx="1">
                  <c:v>32.3917</c:v>
                </c:pt>
                <c:pt idx="2">
                  <c:v>29.939499999999999</c:v>
                </c:pt>
                <c:pt idx="3">
                  <c:v>26.104700000000001</c:v>
                </c:pt>
                <c:pt idx="4">
                  <c:v>20.89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C23-41DB-94F1-D6F518F16ED3}"/>
            </c:ext>
          </c:extLst>
        </c:ser>
        <c:ser>
          <c:idx val="1"/>
          <c:order val="1"/>
          <c:tx>
            <c:strRef>
              <c:f>'Clientes-Restrito'!$M$1</c:f>
              <c:strCache>
                <c:ptCount val="1"/>
                <c:pt idx="0">
                  <c:v>LightGBM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numRef>
              <c:f>'Clientes-Restrito'!$K$2:$K$6</c:f>
              <c:numCache>
                <c:formatCode>General</c:formatCode>
                <c:ptCount val="5"/>
                <c:pt idx="0">
                  <c:v>202108</c:v>
                </c:pt>
                <c:pt idx="1">
                  <c:v>202109</c:v>
                </c:pt>
                <c:pt idx="2">
                  <c:v>202110</c:v>
                </c:pt>
                <c:pt idx="3">
                  <c:v>202111</c:v>
                </c:pt>
                <c:pt idx="4">
                  <c:v>202112</c:v>
                </c:pt>
              </c:numCache>
            </c:numRef>
          </c:cat>
          <c:val>
            <c:numRef>
              <c:f>'Clientes-Restrito'!$M$2:$M$6</c:f>
              <c:numCache>
                <c:formatCode>General</c:formatCode>
                <c:ptCount val="5"/>
                <c:pt idx="0">
                  <c:v>28.3491</c:v>
                </c:pt>
                <c:pt idx="1">
                  <c:v>31.416599999999999</c:v>
                </c:pt>
                <c:pt idx="2">
                  <c:v>29.485299999999999</c:v>
                </c:pt>
                <c:pt idx="3">
                  <c:v>27.9407</c:v>
                </c:pt>
                <c:pt idx="4">
                  <c:v>20.88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C23-41DB-94F1-D6F518F16ED3}"/>
            </c:ext>
          </c:extLst>
        </c:ser>
        <c:ser>
          <c:idx val="2"/>
          <c:order val="2"/>
          <c:tx>
            <c:strRef>
              <c:f>'Clientes-Restrito'!$N$1</c:f>
              <c:strCache>
                <c:ptCount val="1"/>
                <c:pt idx="0">
                  <c:v>Random Forest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numRef>
              <c:f>'Clientes-Restrito'!$K$2:$K$6</c:f>
              <c:numCache>
                <c:formatCode>General</c:formatCode>
                <c:ptCount val="5"/>
                <c:pt idx="0">
                  <c:v>202108</c:v>
                </c:pt>
                <c:pt idx="1">
                  <c:v>202109</c:v>
                </c:pt>
                <c:pt idx="2">
                  <c:v>202110</c:v>
                </c:pt>
                <c:pt idx="3">
                  <c:v>202111</c:v>
                </c:pt>
                <c:pt idx="4">
                  <c:v>202112</c:v>
                </c:pt>
              </c:numCache>
            </c:numRef>
          </c:cat>
          <c:val>
            <c:numRef>
              <c:f>'Clientes-Restrito'!$N$2:$N$6</c:f>
              <c:numCache>
                <c:formatCode>General</c:formatCode>
                <c:ptCount val="5"/>
                <c:pt idx="0">
                  <c:v>28.344000000000001</c:v>
                </c:pt>
                <c:pt idx="1">
                  <c:v>30.725899999999999</c:v>
                </c:pt>
                <c:pt idx="2">
                  <c:v>29.6373</c:v>
                </c:pt>
                <c:pt idx="3">
                  <c:v>27.4237</c:v>
                </c:pt>
                <c:pt idx="4">
                  <c:v>20.6809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C23-41DB-94F1-D6F518F16ED3}"/>
            </c:ext>
          </c:extLst>
        </c:ser>
        <c:ser>
          <c:idx val="3"/>
          <c:order val="3"/>
          <c:tx>
            <c:strRef>
              <c:f>'Clientes-Restrito'!$O$1</c:f>
              <c:strCache>
                <c:ptCount val="1"/>
                <c:pt idx="0">
                  <c:v>XgBoost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numRef>
              <c:f>'Clientes-Restrito'!$K$2:$K$6</c:f>
              <c:numCache>
                <c:formatCode>General</c:formatCode>
                <c:ptCount val="5"/>
                <c:pt idx="0">
                  <c:v>202108</c:v>
                </c:pt>
                <c:pt idx="1">
                  <c:v>202109</c:v>
                </c:pt>
                <c:pt idx="2">
                  <c:v>202110</c:v>
                </c:pt>
                <c:pt idx="3">
                  <c:v>202111</c:v>
                </c:pt>
                <c:pt idx="4">
                  <c:v>202112</c:v>
                </c:pt>
              </c:numCache>
            </c:numRef>
          </c:cat>
          <c:val>
            <c:numRef>
              <c:f>'Clientes-Restrito'!$O$2:$O$6</c:f>
              <c:numCache>
                <c:formatCode>General</c:formatCode>
                <c:ptCount val="5"/>
                <c:pt idx="0">
                  <c:v>53.855200000000004</c:v>
                </c:pt>
                <c:pt idx="1">
                  <c:v>53.244500000000002</c:v>
                </c:pt>
                <c:pt idx="2">
                  <c:v>55.114800000000002</c:v>
                </c:pt>
                <c:pt idx="3">
                  <c:v>22.6084</c:v>
                </c:pt>
                <c:pt idx="4">
                  <c:v>21.1106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C23-41DB-94F1-D6F518F16ED3}"/>
            </c:ext>
          </c:extLst>
        </c:ser>
        <c:ser>
          <c:idx val="4"/>
          <c:order val="4"/>
          <c:tx>
            <c:strRef>
              <c:f>'Clientes-Restrito'!$P$1</c:f>
              <c:strCache>
                <c:ptCount val="1"/>
                <c:pt idx="0">
                  <c:v>Finalista Reg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c:spPr>
          </c:marker>
          <c:cat>
            <c:numRef>
              <c:f>'Clientes-Restrito'!$K$2:$K$6</c:f>
              <c:numCache>
                <c:formatCode>General</c:formatCode>
                <c:ptCount val="5"/>
                <c:pt idx="0">
                  <c:v>202108</c:v>
                </c:pt>
                <c:pt idx="1">
                  <c:v>202109</c:v>
                </c:pt>
                <c:pt idx="2">
                  <c:v>202110</c:v>
                </c:pt>
                <c:pt idx="3">
                  <c:v>202111</c:v>
                </c:pt>
                <c:pt idx="4">
                  <c:v>202112</c:v>
                </c:pt>
              </c:numCache>
            </c:numRef>
          </c:cat>
          <c:val>
            <c:numRef>
              <c:f>'Clientes-Restrito'!$P$2:$P$6</c:f>
              <c:numCache>
                <c:formatCode>General</c:formatCode>
                <c:ptCount val="5"/>
                <c:pt idx="0">
                  <c:v>35.0807</c:v>
                </c:pt>
                <c:pt idx="1">
                  <c:v>35.079000000000001</c:v>
                </c:pt>
                <c:pt idx="2">
                  <c:v>32.475299999999997</c:v>
                </c:pt>
                <c:pt idx="3">
                  <c:v>35.154600000000002</c:v>
                </c:pt>
                <c:pt idx="4">
                  <c:v>30.3851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C23-41DB-94F1-D6F518F16E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3101648"/>
        <c:axId val="193102064"/>
      </c:lineChart>
      <c:catAx>
        <c:axId val="19310164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t-BR"/>
                  <a:t>Safra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93102064"/>
        <c:crosses val="autoZero"/>
        <c:auto val="1"/>
        <c:lblAlgn val="ctr"/>
        <c:lblOffset val="100"/>
        <c:noMultiLvlLbl val="0"/>
      </c:catAx>
      <c:valAx>
        <c:axId val="193102064"/>
        <c:scaling>
          <c:orientation val="minMax"/>
          <c:min val="12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t-BR"/>
                  <a:t>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</c:title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93101648"/>
        <c:crosses val="autoZero"/>
        <c:crossBetween val="between"/>
        <c:majorUnit val="6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solidFill>
        <a:schemeClr val="accent1">
          <a:alpha val="94000"/>
        </a:schemeClr>
      </a:solidFill>
      <a:round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t-BR"/>
              <a:t>Ordenação inad</a:t>
            </a:r>
            <a:r>
              <a:rPr lang="pt-BR" baseline="0"/>
              <a:t> por decil (Aberto)</a:t>
            </a:r>
            <a:endParaRPr lang="pt-BR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Clientes - Aberto'!$V$33</c:f>
              <c:strCache>
                <c:ptCount val="1"/>
                <c:pt idx="0">
                  <c:v>AdaBoost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numRef>
              <c:f>'Clientes - Aberto'!$U$34:$U$43</c:f>
              <c:numCache>
                <c:formatCode>General</c:formatCode>
                <c:ptCount val="10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</c:numCache>
            </c:numRef>
          </c:cat>
          <c:val>
            <c:numRef>
              <c:f>'Clientes - Aberto'!$V$34:$V$43</c:f>
              <c:numCache>
                <c:formatCode>General</c:formatCode>
                <c:ptCount val="10"/>
                <c:pt idx="0">
                  <c:v>7.1288679999999998</c:v>
                </c:pt>
                <c:pt idx="1">
                  <c:v>3.7132879999999999</c:v>
                </c:pt>
                <c:pt idx="2">
                  <c:v>3.2368420000000002</c:v>
                </c:pt>
                <c:pt idx="3">
                  <c:v>2.345167</c:v>
                </c:pt>
                <c:pt idx="4">
                  <c:v>1.793086</c:v>
                </c:pt>
                <c:pt idx="5">
                  <c:v>1.6812199999999999</c:v>
                </c:pt>
                <c:pt idx="6">
                  <c:v>1.074128</c:v>
                </c:pt>
                <c:pt idx="7">
                  <c:v>1.01233</c:v>
                </c:pt>
                <c:pt idx="8">
                  <c:v>0.62942600000000004</c:v>
                </c:pt>
                <c:pt idx="9">
                  <c:v>0.261643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C48-4C74-8698-8ACA08D7EB3A}"/>
            </c:ext>
          </c:extLst>
        </c:ser>
        <c:ser>
          <c:idx val="1"/>
          <c:order val="1"/>
          <c:tx>
            <c:strRef>
              <c:f>'Clientes - Aberto'!$W$33</c:f>
              <c:strCache>
                <c:ptCount val="1"/>
                <c:pt idx="0">
                  <c:v>LightGBM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numRef>
              <c:f>'Clientes - Aberto'!$U$34:$U$43</c:f>
              <c:numCache>
                <c:formatCode>General</c:formatCode>
                <c:ptCount val="10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</c:numCache>
            </c:numRef>
          </c:cat>
          <c:val>
            <c:numRef>
              <c:f>'Clientes - Aberto'!$W$34:$W$43</c:f>
              <c:numCache>
                <c:formatCode>General</c:formatCode>
                <c:ptCount val="10"/>
                <c:pt idx="0">
                  <c:v>6.5194669999999997</c:v>
                </c:pt>
                <c:pt idx="1">
                  <c:v>3.755379</c:v>
                </c:pt>
                <c:pt idx="2">
                  <c:v>3.0940750000000001</c:v>
                </c:pt>
                <c:pt idx="3">
                  <c:v>2.008292</c:v>
                </c:pt>
                <c:pt idx="4">
                  <c:v>1.8921859999999999</c:v>
                </c:pt>
                <c:pt idx="5">
                  <c:v>1.9046419999999999</c:v>
                </c:pt>
                <c:pt idx="6">
                  <c:v>1.3562860000000001</c:v>
                </c:pt>
                <c:pt idx="7">
                  <c:v>0.96964099999999998</c:v>
                </c:pt>
                <c:pt idx="8">
                  <c:v>0.81941900000000001</c:v>
                </c:pt>
                <c:pt idx="9">
                  <c:v>0.463575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C48-4C74-8698-8ACA08D7EB3A}"/>
            </c:ext>
          </c:extLst>
        </c:ser>
        <c:ser>
          <c:idx val="2"/>
          <c:order val="2"/>
          <c:tx>
            <c:strRef>
              <c:f>'Clientes - Aberto'!$X$33</c:f>
              <c:strCache>
                <c:ptCount val="1"/>
                <c:pt idx="0">
                  <c:v>RandomForest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numRef>
              <c:f>'Clientes - Aberto'!$U$34:$U$43</c:f>
              <c:numCache>
                <c:formatCode>General</c:formatCode>
                <c:ptCount val="10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</c:numCache>
            </c:numRef>
          </c:cat>
          <c:val>
            <c:numRef>
              <c:f>'Clientes - Aberto'!$X$34:$X$43</c:f>
              <c:numCache>
                <c:formatCode>General</c:formatCode>
                <c:ptCount val="10"/>
                <c:pt idx="0">
                  <c:v>6.3632809999999997</c:v>
                </c:pt>
                <c:pt idx="1">
                  <c:v>3.7225709999999999</c:v>
                </c:pt>
                <c:pt idx="2">
                  <c:v>2.98488</c:v>
                </c:pt>
                <c:pt idx="3">
                  <c:v>2.4269310000000002</c:v>
                </c:pt>
                <c:pt idx="4">
                  <c:v>1.86538</c:v>
                </c:pt>
                <c:pt idx="5">
                  <c:v>1.5248269999999999</c:v>
                </c:pt>
                <c:pt idx="6">
                  <c:v>1.488639</c:v>
                </c:pt>
                <c:pt idx="7">
                  <c:v>1.173862</c:v>
                </c:pt>
                <c:pt idx="8">
                  <c:v>0.88610900000000004</c:v>
                </c:pt>
                <c:pt idx="9">
                  <c:v>0.457635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C48-4C74-8698-8ACA08D7EB3A}"/>
            </c:ext>
          </c:extLst>
        </c:ser>
        <c:ser>
          <c:idx val="3"/>
          <c:order val="3"/>
          <c:tx>
            <c:strRef>
              <c:f>'Clientes - Aberto'!$Y$33</c:f>
              <c:strCache>
                <c:ptCount val="1"/>
                <c:pt idx="0">
                  <c:v>XgBoost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numRef>
              <c:f>'Clientes - Aberto'!$U$34:$U$43</c:f>
              <c:numCache>
                <c:formatCode>General</c:formatCode>
                <c:ptCount val="10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</c:numCache>
            </c:numRef>
          </c:cat>
          <c:val>
            <c:numRef>
              <c:f>'Clientes - Aberto'!$Y$34:$Y$43</c:f>
              <c:numCache>
                <c:formatCode>General</c:formatCode>
                <c:ptCount val="10"/>
                <c:pt idx="0">
                  <c:v>13.006007</c:v>
                </c:pt>
                <c:pt idx="1">
                  <c:v>2.9737840000000002</c:v>
                </c:pt>
                <c:pt idx="2">
                  <c:v>2.0743640000000001</c:v>
                </c:pt>
                <c:pt idx="3">
                  <c:v>1.2924279999999999</c:v>
                </c:pt>
                <c:pt idx="4">
                  <c:v>1.122422</c:v>
                </c:pt>
                <c:pt idx="5">
                  <c:v>0.84767899999999996</c:v>
                </c:pt>
                <c:pt idx="6">
                  <c:v>0.63876900000000003</c:v>
                </c:pt>
                <c:pt idx="7">
                  <c:v>0.43019200000000002</c:v>
                </c:pt>
                <c:pt idx="8">
                  <c:v>0.391185</c:v>
                </c:pt>
                <c:pt idx="9">
                  <c:v>0.130617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C48-4C74-8698-8ACA08D7EB3A}"/>
            </c:ext>
          </c:extLst>
        </c:ser>
        <c:ser>
          <c:idx val="4"/>
          <c:order val="4"/>
          <c:tx>
            <c:strRef>
              <c:f>'Clientes - Aberto'!$Z$33</c:f>
              <c:strCache>
                <c:ptCount val="1"/>
                <c:pt idx="0">
                  <c:v>Finalista Reg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c:spPr>
          </c:marker>
          <c:cat>
            <c:numRef>
              <c:f>'Clientes - Aberto'!$U$34:$U$43</c:f>
              <c:numCache>
                <c:formatCode>General</c:formatCode>
                <c:ptCount val="10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</c:numCache>
            </c:numRef>
          </c:cat>
          <c:val>
            <c:numRef>
              <c:f>'Clientes - Aberto'!$Z$34:$Z$43</c:f>
              <c:numCache>
                <c:formatCode>General</c:formatCode>
                <c:ptCount val="10"/>
                <c:pt idx="0">
                  <c:v>6.9912770000000002</c:v>
                </c:pt>
                <c:pt idx="1">
                  <c:v>4.2814249999999996</c:v>
                </c:pt>
                <c:pt idx="2">
                  <c:v>2.8111920000000001</c:v>
                </c:pt>
                <c:pt idx="3">
                  <c:v>2.489897</c:v>
                </c:pt>
                <c:pt idx="4">
                  <c:v>1.721889</c:v>
                </c:pt>
                <c:pt idx="5">
                  <c:v>1.592274</c:v>
                </c:pt>
                <c:pt idx="6">
                  <c:v>1.1360669999999999</c:v>
                </c:pt>
                <c:pt idx="7">
                  <c:v>0.92689299999999997</c:v>
                </c:pt>
                <c:pt idx="8">
                  <c:v>0.53545799999999999</c:v>
                </c:pt>
                <c:pt idx="9">
                  <c:v>0.3398689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C48-4C74-8698-8ACA08D7EB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3980384"/>
        <c:axId val="303971648"/>
      </c:lineChart>
      <c:catAx>
        <c:axId val="30398038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t-BR"/>
                  <a:t>Decil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t" anchorCtr="1"/>
          <a:lstStyle/>
          <a:p>
            <a:pPr>
              <a:defRPr sz="900" b="0" i="0" u="none" strike="noStrike" kern="1200" baseline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303971648"/>
        <c:crosses val="autoZero"/>
        <c:auto val="0"/>
        <c:lblAlgn val="ctr"/>
        <c:lblOffset val="100"/>
        <c:noMultiLvlLbl val="0"/>
      </c:catAx>
      <c:valAx>
        <c:axId val="303971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t-BR"/>
                  <a:t>% Inad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303980384"/>
        <c:crosses val="autoZero"/>
        <c:crossBetween val="between"/>
        <c:majorUnit val="2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solidFill>
        <a:schemeClr val="tx1">
          <a:alpha val="98000"/>
        </a:schemeClr>
      </a:solidFill>
      <a:round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t-BR"/>
              <a:t>Ordenação inad</a:t>
            </a:r>
            <a:r>
              <a:rPr lang="pt-BR" baseline="0"/>
              <a:t> por decil (Restrito)</a:t>
            </a:r>
            <a:endParaRPr lang="pt-BR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Clientes-Restrito'!$V$37</c:f>
              <c:strCache>
                <c:ptCount val="1"/>
                <c:pt idx="0">
                  <c:v>AdaBoost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numRef>
              <c:f>'Clientes-Restrito'!$U$38:$U$47</c:f>
              <c:numCache>
                <c:formatCode>General</c:formatCode>
                <c:ptCount val="10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</c:numCache>
            </c:numRef>
          </c:cat>
          <c:val>
            <c:numRef>
              <c:f>'Clientes-Restrito'!$V$38:$V$47</c:f>
              <c:numCache>
                <c:formatCode>General</c:formatCode>
                <c:ptCount val="10"/>
                <c:pt idx="0">
                  <c:v>6.5180990000000003</c:v>
                </c:pt>
                <c:pt idx="1">
                  <c:v>3.5727350000000002</c:v>
                </c:pt>
                <c:pt idx="2">
                  <c:v>3.0750310000000001</c:v>
                </c:pt>
                <c:pt idx="3">
                  <c:v>2.4048099999999999</c:v>
                </c:pt>
                <c:pt idx="4">
                  <c:v>2.0479240000000001</c:v>
                </c:pt>
                <c:pt idx="5">
                  <c:v>1.5095339999999999</c:v>
                </c:pt>
                <c:pt idx="6">
                  <c:v>1.5268170000000001</c:v>
                </c:pt>
                <c:pt idx="7">
                  <c:v>1.020278</c:v>
                </c:pt>
                <c:pt idx="8">
                  <c:v>0.73147700000000004</c:v>
                </c:pt>
                <c:pt idx="9">
                  <c:v>0.2847720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BA1-4B01-BA03-C814DE9B1FDC}"/>
            </c:ext>
          </c:extLst>
        </c:ser>
        <c:ser>
          <c:idx val="1"/>
          <c:order val="1"/>
          <c:tx>
            <c:strRef>
              <c:f>'Clientes-Restrito'!$W$37</c:f>
              <c:strCache>
                <c:ptCount val="1"/>
                <c:pt idx="0">
                  <c:v>LightGBM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numRef>
              <c:f>'Clientes-Restrito'!$U$38:$U$47</c:f>
              <c:numCache>
                <c:formatCode>General</c:formatCode>
                <c:ptCount val="10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</c:numCache>
            </c:numRef>
          </c:cat>
          <c:val>
            <c:numRef>
              <c:f>'Clientes-Restrito'!$W$38:$W$47</c:f>
              <c:numCache>
                <c:formatCode>General</c:formatCode>
                <c:ptCount val="10"/>
                <c:pt idx="0">
                  <c:v>6.4389989999999999</c:v>
                </c:pt>
                <c:pt idx="1">
                  <c:v>3.7312460000000001</c:v>
                </c:pt>
                <c:pt idx="2">
                  <c:v>3.0318800000000001</c:v>
                </c:pt>
                <c:pt idx="3">
                  <c:v>2.3898239999999999</c:v>
                </c:pt>
                <c:pt idx="4">
                  <c:v>1.8172170000000001</c:v>
                </c:pt>
                <c:pt idx="5">
                  <c:v>1.529412</c:v>
                </c:pt>
                <c:pt idx="6">
                  <c:v>1.487414</c:v>
                </c:pt>
                <c:pt idx="7">
                  <c:v>1.0621350000000001</c:v>
                </c:pt>
                <c:pt idx="8">
                  <c:v>0.85741500000000004</c:v>
                </c:pt>
                <c:pt idx="9">
                  <c:v>0.413223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BA1-4B01-BA03-C814DE9B1FDC}"/>
            </c:ext>
          </c:extLst>
        </c:ser>
        <c:ser>
          <c:idx val="2"/>
          <c:order val="2"/>
          <c:tx>
            <c:strRef>
              <c:f>'Clientes-Restrito'!$X$37</c:f>
              <c:strCache>
                <c:ptCount val="1"/>
                <c:pt idx="0">
                  <c:v>RandomForest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numRef>
              <c:f>'Clientes-Restrito'!$U$38:$U$47</c:f>
              <c:numCache>
                <c:formatCode>General</c:formatCode>
                <c:ptCount val="10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</c:numCache>
            </c:numRef>
          </c:cat>
          <c:val>
            <c:numRef>
              <c:f>'Clientes-Restrito'!$X$38:$X$47</c:f>
              <c:numCache>
                <c:formatCode>General</c:formatCode>
                <c:ptCount val="10"/>
                <c:pt idx="0">
                  <c:v>6.4268020000000003</c:v>
                </c:pt>
                <c:pt idx="1">
                  <c:v>3.7491840000000001</c:v>
                </c:pt>
                <c:pt idx="2">
                  <c:v>3.1437520000000001</c:v>
                </c:pt>
                <c:pt idx="3">
                  <c:v>2.2816169999999998</c:v>
                </c:pt>
                <c:pt idx="4">
                  <c:v>1.7756890000000001</c:v>
                </c:pt>
                <c:pt idx="5">
                  <c:v>1.4604250000000001</c:v>
                </c:pt>
                <c:pt idx="6">
                  <c:v>1.6823159999999999</c:v>
                </c:pt>
                <c:pt idx="7">
                  <c:v>1.0043040000000001</c:v>
                </c:pt>
                <c:pt idx="8">
                  <c:v>0.87114800000000003</c:v>
                </c:pt>
                <c:pt idx="9">
                  <c:v>0.497968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BA1-4B01-BA03-C814DE9B1FDC}"/>
            </c:ext>
          </c:extLst>
        </c:ser>
        <c:ser>
          <c:idx val="3"/>
          <c:order val="3"/>
          <c:tx>
            <c:strRef>
              <c:f>'Clientes-Restrito'!$Y$37</c:f>
              <c:strCache>
                <c:ptCount val="1"/>
                <c:pt idx="0">
                  <c:v>XgBoost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numRef>
              <c:f>'Clientes-Restrito'!$U$38:$U$47</c:f>
              <c:numCache>
                <c:formatCode>General</c:formatCode>
                <c:ptCount val="10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</c:numCache>
            </c:numRef>
          </c:cat>
          <c:val>
            <c:numRef>
              <c:f>'Clientes-Restrito'!$Y$38:$Y$47</c:f>
              <c:numCache>
                <c:formatCode>General</c:formatCode>
                <c:ptCount val="10"/>
                <c:pt idx="0">
                  <c:v>13.232416000000001</c:v>
                </c:pt>
                <c:pt idx="1">
                  <c:v>3.247261</c:v>
                </c:pt>
                <c:pt idx="2">
                  <c:v>1.9449160000000001</c:v>
                </c:pt>
                <c:pt idx="3">
                  <c:v>1.3435950000000001</c:v>
                </c:pt>
                <c:pt idx="4">
                  <c:v>0.83627300000000004</c:v>
                </c:pt>
                <c:pt idx="5">
                  <c:v>0.78247299999999997</c:v>
                </c:pt>
                <c:pt idx="6">
                  <c:v>0.57284199999999996</c:v>
                </c:pt>
                <c:pt idx="7">
                  <c:v>0.46985100000000002</c:v>
                </c:pt>
                <c:pt idx="8">
                  <c:v>0.32594499999999998</c:v>
                </c:pt>
                <c:pt idx="9">
                  <c:v>0.143696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BA1-4B01-BA03-C814DE9B1FDC}"/>
            </c:ext>
          </c:extLst>
        </c:ser>
        <c:ser>
          <c:idx val="4"/>
          <c:order val="4"/>
          <c:tx>
            <c:strRef>
              <c:f>'Clientes-Restrito'!$Z$37</c:f>
              <c:strCache>
                <c:ptCount val="1"/>
                <c:pt idx="0">
                  <c:v>Finalista Reg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c:spPr>
          </c:marker>
          <c:cat>
            <c:numRef>
              <c:f>'Clientes-Restrito'!$U$38:$U$47</c:f>
              <c:numCache>
                <c:formatCode>General</c:formatCode>
                <c:ptCount val="10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</c:numCache>
            </c:numRef>
          </c:cat>
          <c:val>
            <c:numRef>
              <c:f>'Clientes-Restrito'!$Z$38:$Z$47</c:f>
              <c:numCache>
                <c:formatCode>General</c:formatCode>
                <c:ptCount val="10"/>
                <c:pt idx="0">
                  <c:v>6.9912770000000002</c:v>
                </c:pt>
                <c:pt idx="1">
                  <c:v>4.2814249999999996</c:v>
                </c:pt>
                <c:pt idx="2">
                  <c:v>2.8111920000000001</c:v>
                </c:pt>
                <c:pt idx="3">
                  <c:v>2.489897</c:v>
                </c:pt>
                <c:pt idx="4">
                  <c:v>1.721889</c:v>
                </c:pt>
                <c:pt idx="5">
                  <c:v>1.592274</c:v>
                </c:pt>
                <c:pt idx="6">
                  <c:v>1.1360669999999999</c:v>
                </c:pt>
                <c:pt idx="7">
                  <c:v>0.92689299999999997</c:v>
                </c:pt>
                <c:pt idx="8">
                  <c:v>0.53545799999999999</c:v>
                </c:pt>
                <c:pt idx="9">
                  <c:v>0.3398689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BA1-4B01-BA03-C814DE9B1F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3980384"/>
        <c:axId val="303971648"/>
      </c:lineChart>
      <c:catAx>
        <c:axId val="30398038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t-BR"/>
                  <a:t>Decil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t" anchorCtr="1"/>
          <a:lstStyle/>
          <a:p>
            <a:pPr>
              <a:defRPr sz="900" b="0" i="0" u="none" strike="noStrike" kern="1200" baseline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303971648"/>
        <c:crosses val="autoZero"/>
        <c:auto val="0"/>
        <c:lblAlgn val="ctr"/>
        <c:lblOffset val="100"/>
        <c:noMultiLvlLbl val="0"/>
      </c:catAx>
      <c:valAx>
        <c:axId val="303971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t-BR"/>
                  <a:t>% Inad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303980384"/>
        <c:crosses val="autoZero"/>
        <c:crossBetween val="between"/>
        <c:majorUnit val="2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solidFill>
        <a:schemeClr val="tx1">
          <a:alpha val="98000"/>
        </a:schemeClr>
      </a:solidFill>
      <a:round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>
            <a:extLst>
              <a:ext uri="{FF2B5EF4-FFF2-40B4-BE49-F238E27FC236}">
                <a16:creationId xmlns:a16="http://schemas.microsoft.com/office/drawing/2014/main" id="{947A7CB1-8219-4B6A-A1B2-95C77439ED9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 dirty="0">
              <a:latin typeface="Roboto" panose="02000000000000000000" pitchFamily="2" charset="0"/>
            </a:endParaRP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1DC121CA-BD65-4CFE-BD0A-7952A345C7E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8DC497-4CD8-40BD-81AF-3C9B25208DED}" type="datetimeFigureOut">
              <a:rPr lang="pt-BR" smtClean="0">
                <a:latin typeface="Roboto" panose="02000000000000000000" pitchFamily="2" charset="0"/>
              </a:rPr>
              <a:t>18/04/2022</a:t>
            </a:fld>
            <a:endParaRPr lang="pt-BR" dirty="0">
              <a:latin typeface="Roboto" panose="02000000000000000000" pitchFamily="2" charset="0"/>
            </a:endParaRPr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8CA5B867-F1BD-4644-A246-BAFAC947A7B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 dirty="0">
              <a:latin typeface="Roboto" panose="02000000000000000000" pitchFamily="2" charset="0"/>
            </a:endParaRPr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1AB3B653-83F1-4706-A16F-22A067353B5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C1E2A0-EDF3-4C2D-A437-069E43B3D92F}" type="slidenum">
              <a:rPr lang="pt-BR" smtClean="0">
                <a:latin typeface="Roboto" panose="02000000000000000000" pitchFamily="2" charset="0"/>
              </a:rPr>
              <a:t>‹nº›</a:t>
            </a:fld>
            <a:endParaRPr lang="pt-BR" dirty="0">
              <a:latin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88160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Roboto" panose="02000000000000000000" pitchFamily="2" charset="0"/>
              </a:defRPr>
            </a:lvl1pPr>
          </a:lstStyle>
          <a:p>
            <a:endParaRPr lang="pt-BR" dirty="0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Roboto" panose="02000000000000000000" pitchFamily="2" charset="0"/>
              </a:defRPr>
            </a:lvl1pPr>
          </a:lstStyle>
          <a:p>
            <a:fld id="{500B5A21-764D-4A48-A1B0-3E36A971A832}" type="datetimeFigureOut">
              <a:rPr lang="pt-BR" smtClean="0"/>
              <a:pPr/>
              <a:t>18/04/2022</a:t>
            </a:fld>
            <a:endParaRPr lang="pt-BR" dirty="0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 dirty="0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Roboto" panose="02000000000000000000" pitchFamily="2" charset="0"/>
              </a:defRPr>
            </a:lvl1pPr>
          </a:lstStyle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Roboto" panose="02000000000000000000" pitchFamily="2" charset="0"/>
              </a:defRPr>
            </a:lvl1pPr>
          </a:lstStyle>
          <a:p>
            <a:fld id="{9C02AD6C-5EDD-4CDB-BF67-2D27410E6D7B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8444721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Roboto" panose="02000000000000000000" pitchFamily="2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Roboto" panose="02000000000000000000" pitchFamily="2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Roboto" panose="02000000000000000000" pitchFamily="2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Roboto" panose="02000000000000000000" pitchFamily="2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Roboto" panose="02000000000000000000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2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2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4.png"/><Relationship Id="rId5" Type="http://schemas.openxmlformats.org/officeDocument/2006/relationships/image" Target="../media/image27.png"/><Relationship Id="rId4" Type="http://schemas.openxmlformats.org/officeDocument/2006/relationships/image" Target="../media/image10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4.png"/><Relationship Id="rId5" Type="http://schemas.openxmlformats.org/officeDocument/2006/relationships/image" Target="../media/image27.png"/><Relationship Id="rId4" Type="http://schemas.openxmlformats.org/officeDocument/2006/relationships/image" Target="../media/image10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4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4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1.png"/><Relationship Id="rId5" Type="http://schemas.openxmlformats.org/officeDocument/2006/relationships/image" Target="../media/image28.png"/><Relationship Id="rId4" Type="http://schemas.openxmlformats.org/officeDocument/2006/relationships/image" Target="../media/image22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4.png"/><Relationship Id="rId5" Type="http://schemas.openxmlformats.org/officeDocument/2006/relationships/image" Target="../media/image28.png"/><Relationship Id="rId4" Type="http://schemas.openxmlformats.org/officeDocument/2006/relationships/image" Target="../media/image22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1.png"/><Relationship Id="rId4" Type="http://schemas.openxmlformats.org/officeDocument/2006/relationships/image" Target="../media/image28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2.png"/><Relationship Id="rId4" Type="http://schemas.openxmlformats.org/officeDocument/2006/relationships/image" Target="../media/image21.png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2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9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9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9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9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2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54.jpe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54.jpe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6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6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8.png"/><Relationship Id="rId4" Type="http://schemas.openxmlformats.org/officeDocument/2006/relationships/image" Target="../media/image45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9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0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1.png"/><Relationship Id="rId4" Type="http://schemas.openxmlformats.org/officeDocument/2006/relationships/image" Target="../media/image45.pn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2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7.pn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6.pn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7.pn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6.pn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2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52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69.png"/><Relationship Id="rId5" Type="http://schemas.openxmlformats.org/officeDocument/2006/relationships/image" Target="../media/image54.jpeg"/><Relationship Id="rId4" Type="http://schemas.openxmlformats.org/officeDocument/2006/relationships/image" Target="../media/image10.pn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52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69.png"/><Relationship Id="rId5" Type="http://schemas.openxmlformats.org/officeDocument/2006/relationships/image" Target="../media/image54.jpeg"/><Relationship Id="rId4" Type="http://schemas.openxmlformats.org/officeDocument/2006/relationships/image" Target="../media/image10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6.png"/><Relationship Id="rId4" Type="http://schemas.openxmlformats.org/officeDocument/2006/relationships/image" Target="../media/image19.sv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6.pn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67.png"/><Relationship Id="rId5" Type="http://schemas.openxmlformats.org/officeDocument/2006/relationships/image" Target="../media/image57.png"/><Relationship Id="rId4" Type="http://schemas.openxmlformats.org/officeDocument/2006/relationships/image" Target="../media/image19.sv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9.pn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9.pn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70.png"/><Relationship Id="rId4" Type="http://schemas.openxmlformats.org/officeDocument/2006/relationships/image" Target="../media/image67.png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9.sv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de Títul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Uma imagem contendo teclado, computador, laptop&#10;&#10;Descrição gerada automaticamente">
            <a:extLst>
              <a:ext uri="{FF2B5EF4-FFF2-40B4-BE49-F238E27FC236}">
                <a16:creationId xmlns:a16="http://schemas.microsoft.com/office/drawing/2014/main" id="{62134EBD-6152-4D20-B19D-A28F610B3E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16975"/>
            <a:ext cx="12617242" cy="7167966"/>
          </a:xfrm>
          <a:prstGeom prst="rect">
            <a:avLst/>
          </a:prstGeom>
        </p:spPr>
      </p:pic>
      <p:sp>
        <p:nvSpPr>
          <p:cNvPr id="4" name="Retângulo 3">
            <a:extLst>
              <a:ext uri="{FF2B5EF4-FFF2-40B4-BE49-F238E27FC236}">
                <a16:creationId xmlns:a16="http://schemas.microsoft.com/office/drawing/2014/main" id="{C521766B-81AA-48E4-866D-1CB4F4A86655}"/>
              </a:ext>
            </a:extLst>
          </p:cNvPr>
          <p:cNvSpPr/>
          <p:nvPr userDrawn="1"/>
        </p:nvSpPr>
        <p:spPr>
          <a:xfrm>
            <a:off x="0" y="2351867"/>
            <a:ext cx="12617242" cy="21542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latin typeface="Roboto" panose="02000000000000000000" pitchFamily="2" charset="0"/>
            </a:endParaRPr>
          </a:p>
        </p:txBody>
      </p:sp>
      <p:sp>
        <p:nvSpPr>
          <p:cNvPr id="7" name="Título 6">
            <a:extLst>
              <a:ext uri="{FF2B5EF4-FFF2-40B4-BE49-F238E27FC236}">
                <a16:creationId xmlns:a16="http://schemas.microsoft.com/office/drawing/2014/main" id="{D75A5E86-6513-4879-B8FF-C35A52F070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8750" y="3110960"/>
            <a:ext cx="7877175" cy="43338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Título da apresentação 24pt </a:t>
            </a:r>
            <a:r>
              <a:rPr lang="pt-BR" dirty="0" err="1"/>
              <a:t>bold</a:t>
            </a:r>
            <a:endParaRPr lang="pt-BR" dirty="0"/>
          </a:p>
        </p:txBody>
      </p:sp>
      <p:sp>
        <p:nvSpPr>
          <p:cNvPr id="9" name="Espaço Reservado para Texto 8">
            <a:extLst>
              <a:ext uri="{FF2B5EF4-FFF2-40B4-BE49-F238E27FC236}">
                <a16:creationId xmlns:a16="http://schemas.microsoft.com/office/drawing/2014/main" id="{92C98405-73F0-4F68-867D-456C046FC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28750" y="3550910"/>
            <a:ext cx="1952625" cy="319088"/>
          </a:xfrm>
        </p:spPr>
        <p:txBody>
          <a:bodyPr lIns="0" tIns="0" rIns="0" bIns="0"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4pPr>
            <a:lvl5pPr marL="0" indent="0" algn="l"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  <a:latin typeface="Roboto" panose="02000000000000000000" pitchFamily="2" charset="0"/>
              </a:defRPr>
            </a:lvl5pPr>
          </a:lstStyle>
          <a:p>
            <a:pPr lvl="4"/>
            <a:r>
              <a:rPr lang="pt-BR" dirty="0"/>
              <a:t>Coloque a data 12pt </a:t>
            </a:r>
            <a:r>
              <a:rPr lang="pt-BR" dirty="0" err="1"/>
              <a:t>bold</a:t>
            </a:r>
            <a:endParaRPr lang="pt-BR" dirty="0"/>
          </a:p>
        </p:txBody>
      </p:sp>
      <p:pic>
        <p:nvPicPr>
          <p:cNvPr id="6" name="Imagem 5" descr="Uma imagem contendo edifício&#10;&#10;Descrição gerada automaticamente">
            <a:extLst>
              <a:ext uri="{FF2B5EF4-FFF2-40B4-BE49-F238E27FC236}">
                <a16:creationId xmlns:a16="http://schemas.microsoft.com/office/drawing/2014/main" id="{02AEB864-C0CF-45E0-A125-C3CECA250E0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1134" y="3022169"/>
            <a:ext cx="557616" cy="813662"/>
          </a:xfrm>
          <a:prstGeom prst="rect">
            <a:avLst/>
          </a:prstGeom>
        </p:spPr>
      </p:pic>
      <p:pic>
        <p:nvPicPr>
          <p:cNvPr id="10" name="Imagem 9" descr="Uma imagem contendo relógio, placar&#10;&#10;Descrição gerada automaticamente">
            <a:extLst>
              <a:ext uri="{FF2B5EF4-FFF2-40B4-BE49-F238E27FC236}">
                <a16:creationId xmlns:a16="http://schemas.microsoft.com/office/drawing/2014/main" id="{7E017C81-8D44-4A2F-BAC7-E3C73C1C57D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0925" y="2989050"/>
            <a:ext cx="1217278" cy="879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7384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Layout Personaliza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6">
            <a:extLst>
              <a:ext uri="{FF2B5EF4-FFF2-40B4-BE49-F238E27FC236}">
                <a16:creationId xmlns:a16="http://schemas.microsoft.com/office/drawing/2014/main" id="{60EEAFAD-EEA4-486D-BB01-1D4FF7D254A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latin typeface="Roboto" panose="02000000000000000000" pitchFamily="2" charset="0"/>
            </a:endParaRPr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A85C6772-210F-493D-B179-140B9C2435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9992" y="903237"/>
            <a:ext cx="3455786" cy="5040363"/>
          </a:xfrm>
          <a:prstGeom prst="rect">
            <a:avLst/>
          </a:prstGeom>
        </p:spPr>
      </p:pic>
      <p:sp>
        <p:nvSpPr>
          <p:cNvPr id="4" name="Título 6">
            <a:extLst>
              <a:ext uri="{FF2B5EF4-FFF2-40B4-BE49-F238E27FC236}">
                <a16:creationId xmlns:a16="http://schemas.microsoft.com/office/drawing/2014/main" id="{59725272-59A0-4F94-B753-C39B584191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29074" y="2876550"/>
            <a:ext cx="6848475" cy="857249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 dirty="0"/>
              <a:t>Título da apresentação 24pt </a:t>
            </a:r>
            <a:r>
              <a:rPr lang="pt-BR" dirty="0" err="1"/>
              <a:t>bold</a:t>
            </a:r>
            <a:endParaRPr lang="pt-BR" dirty="0"/>
          </a:p>
        </p:txBody>
      </p:sp>
      <p:sp>
        <p:nvSpPr>
          <p:cNvPr id="5" name="Espaço Reservado para Texto 6">
            <a:extLst>
              <a:ext uri="{FF2B5EF4-FFF2-40B4-BE49-F238E27FC236}">
                <a16:creationId xmlns:a16="http://schemas.microsoft.com/office/drawing/2014/main" id="{02474EFB-8A4E-440D-B5B9-943FCAD26B2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29075" y="3819525"/>
            <a:ext cx="6848475" cy="152400"/>
          </a:xfrm>
        </p:spPr>
        <p:txBody>
          <a:bodyPr lIns="0" tIns="0" rIns="0" bIns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accent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Coloque a data 12pt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691A71EC-0539-4666-98DE-09A286931F9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41283" y="5643101"/>
            <a:ext cx="1087752" cy="786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9291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Layout Personaliza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 descr="Uma imagem contendo pássaro&#10;&#10;Descrição gerada automaticamente">
            <a:extLst>
              <a:ext uri="{FF2B5EF4-FFF2-40B4-BE49-F238E27FC236}">
                <a16:creationId xmlns:a16="http://schemas.microsoft.com/office/drawing/2014/main" id="{507B3BAF-B192-4968-A02F-09E45EF1B0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0073898" cy="1542294"/>
          </a:xfrm>
          <a:prstGeom prst="rect">
            <a:avLst/>
          </a:prstGeom>
        </p:spPr>
      </p:pic>
      <p:pic>
        <p:nvPicPr>
          <p:cNvPr id="15" name="Imagem 14" descr="Uma imagem contendo relógio, placar&#10;&#10;Descrição gerada automaticamente">
            <a:extLst>
              <a:ext uri="{FF2B5EF4-FFF2-40B4-BE49-F238E27FC236}">
                <a16:creationId xmlns:a16="http://schemas.microsoft.com/office/drawing/2014/main" id="{8F936139-CAB0-4AE3-820B-6747CE4AFDC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20401" y="389993"/>
            <a:ext cx="857250" cy="619656"/>
          </a:xfrm>
          <a:prstGeom prst="rect">
            <a:avLst/>
          </a:prstGeom>
        </p:spPr>
      </p:pic>
      <p:sp>
        <p:nvSpPr>
          <p:cNvPr id="17" name="Retângulo 16">
            <a:extLst>
              <a:ext uri="{FF2B5EF4-FFF2-40B4-BE49-F238E27FC236}">
                <a16:creationId xmlns:a16="http://schemas.microsoft.com/office/drawing/2014/main" id="{E9E6222E-F1F3-4CC3-899A-8E47B75A28F9}"/>
              </a:ext>
            </a:extLst>
          </p:cNvPr>
          <p:cNvSpPr/>
          <p:nvPr userDrawn="1"/>
        </p:nvSpPr>
        <p:spPr>
          <a:xfrm>
            <a:off x="0" y="6315075"/>
            <a:ext cx="12192000" cy="5429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latin typeface="Roboto" panose="02000000000000000000" pitchFamily="2" charset="0"/>
            </a:endParaRPr>
          </a:p>
        </p:txBody>
      </p:sp>
      <p:pic>
        <p:nvPicPr>
          <p:cNvPr id="19" name="Imagem 18" descr="Tela de celular com texto preto sobre fundo branco&#10;&#10;Descrição gerada automaticamente">
            <a:extLst>
              <a:ext uri="{FF2B5EF4-FFF2-40B4-BE49-F238E27FC236}">
                <a16:creationId xmlns:a16="http://schemas.microsoft.com/office/drawing/2014/main" id="{16D276D8-FE58-49DF-A9D6-1B6B83C5A2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25224" y="6489701"/>
            <a:ext cx="581025" cy="368300"/>
          </a:xfrm>
          <a:prstGeom prst="rect">
            <a:avLst/>
          </a:prstGeom>
        </p:spPr>
      </p:pic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65559233-57F3-4226-B1B9-2B8E09582E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D11D262-DD36-4C3A-9581-B03EDCFD2EDD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" name="Título 6">
            <a:extLst>
              <a:ext uri="{FF2B5EF4-FFF2-40B4-BE49-F238E27FC236}">
                <a16:creationId xmlns:a16="http://schemas.microsoft.com/office/drawing/2014/main" id="{3E6B4E8C-1D1E-45C9-84FA-860D05BD76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2925" y="354806"/>
            <a:ext cx="7877175" cy="4333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 dirty="0"/>
              <a:t>Título do slide 24pt </a:t>
            </a:r>
            <a:r>
              <a:rPr lang="pt-BR" dirty="0" err="1"/>
              <a:t>bold</a:t>
            </a:r>
            <a:endParaRPr lang="pt-BR" dirty="0"/>
          </a:p>
        </p:txBody>
      </p:sp>
      <p:sp>
        <p:nvSpPr>
          <p:cNvPr id="5" name="Espaço Reservado para Texto 6">
            <a:extLst>
              <a:ext uri="{FF2B5EF4-FFF2-40B4-BE49-F238E27FC236}">
                <a16:creationId xmlns:a16="http://schemas.microsoft.com/office/drawing/2014/main" id="{F4CF7CC3-7F92-4F6A-AB2A-646C96AE23C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2925" y="866775"/>
            <a:ext cx="7877175" cy="152400"/>
          </a:xfrm>
        </p:spPr>
        <p:txBody>
          <a:bodyPr lIns="0" tIns="0" rIns="0" bIns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Subtítulo do slide 12pt</a:t>
            </a:r>
          </a:p>
        </p:txBody>
      </p:sp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807C4EF7-F891-492A-8D2B-43CCFC0806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90550" y="1724025"/>
            <a:ext cx="11010900" cy="709612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pt-BR" dirty="0"/>
              <a:t>Texto corrido 14pt. Exemplo: </a:t>
            </a:r>
            <a:r>
              <a:rPr lang="pt-BR" dirty="0" err="1"/>
              <a:t>Lorem</a:t>
            </a:r>
            <a:r>
              <a:rPr lang="pt-BR" dirty="0"/>
              <a:t> ipsum </a:t>
            </a:r>
            <a:r>
              <a:rPr lang="pt-BR" dirty="0" err="1"/>
              <a:t>dol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amet</a:t>
            </a:r>
            <a:r>
              <a:rPr lang="pt-BR" dirty="0"/>
              <a:t>, </a:t>
            </a:r>
            <a:r>
              <a:rPr lang="pt-BR" dirty="0" err="1"/>
              <a:t>consectetur</a:t>
            </a:r>
            <a:r>
              <a:rPr lang="pt-BR" dirty="0"/>
              <a:t> </a:t>
            </a:r>
            <a:r>
              <a:rPr lang="pt-BR" dirty="0" err="1"/>
              <a:t>adipiscing</a:t>
            </a:r>
            <a:r>
              <a:rPr lang="pt-BR" dirty="0"/>
              <a:t> </a:t>
            </a:r>
            <a:r>
              <a:rPr lang="pt-BR" dirty="0" err="1"/>
              <a:t>elit</a:t>
            </a:r>
            <a:r>
              <a:rPr lang="pt-BR" dirty="0"/>
              <a:t>, </a:t>
            </a:r>
            <a:r>
              <a:rPr lang="pt-BR" dirty="0" err="1"/>
              <a:t>sed</a:t>
            </a:r>
            <a:r>
              <a:rPr lang="pt-BR" dirty="0"/>
              <a:t> do </a:t>
            </a:r>
            <a:r>
              <a:rPr lang="pt-BR" dirty="0" err="1"/>
              <a:t>eiusmod</a:t>
            </a:r>
            <a:r>
              <a:rPr lang="pt-BR" dirty="0"/>
              <a:t> </a:t>
            </a:r>
            <a:r>
              <a:rPr lang="pt-BR" dirty="0" err="1"/>
              <a:t>tempor</a:t>
            </a:r>
            <a:r>
              <a:rPr lang="pt-BR" dirty="0"/>
              <a:t> </a:t>
            </a:r>
            <a:r>
              <a:rPr lang="pt-BR" dirty="0" err="1"/>
              <a:t>incididunt</a:t>
            </a:r>
            <a:r>
              <a:rPr lang="pt-BR" dirty="0"/>
              <a:t> ut labore et </a:t>
            </a:r>
            <a:r>
              <a:rPr lang="pt-BR" dirty="0" err="1"/>
              <a:t>dolore</a:t>
            </a:r>
            <a:r>
              <a:rPr lang="pt-BR" dirty="0"/>
              <a:t> magna </a:t>
            </a:r>
            <a:r>
              <a:rPr lang="pt-BR" dirty="0" err="1"/>
              <a:t>aliqua</a:t>
            </a:r>
            <a:r>
              <a:rPr lang="pt-BR" dirty="0"/>
              <a:t>. Ut </a:t>
            </a:r>
            <a:r>
              <a:rPr lang="pt-BR" dirty="0" err="1"/>
              <a:t>enim</a:t>
            </a:r>
            <a:r>
              <a:rPr lang="pt-BR" dirty="0"/>
              <a:t> ad </a:t>
            </a:r>
            <a:r>
              <a:rPr lang="pt-BR" dirty="0" err="1"/>
              <a:t>minim</a:t>
            </a:r>
            <a:r>
              <a:rPr lang="pt-BR" dirty="0"/>
              <a:t> </a:t>
            </a:r>
            <a:r>
              <a:rPr lang="pt-BR" dirty="0" err="1"/>
              <a:t>veniam</a:t>
            </a:r>
            <a:r>
              <a:rPr lang="pt-BR" dirty="0"/>
              <a:t>, quis </a:t>
            </a:r>
            <a:r>
              <a:rPr lang="pt-BR" dirty="0" err="1"/>
              <a:t>nostrud</a:t>
            </a:r>
            <a:r>
              <a:rPr lang="pt-BR" dirty="0"/>
              <a:t> </a:t>
            </a:r>
            <a:r>
              <a:rPr lang="pt-BR" dirty="0" err="1"/>
              <a:t>exercitation</a:t>
            </a:r>
            <a:r>
              <a:rPr lang="pt-BR" dirty="0"/>
              <a:t> </a:t>
            </a:r>
            <a:r>
              <a:rPr lang="pt-BR" dirty="0" err="1"/>
              <a:t>ullamco</a:t>
            </a:r>
            <a:r>
              <a:rPr lang="pt-BR" dirty="0"/>
              <a:t> </a:t>
            </a:r>
            <a:r>
              <a:rPr lang="pt-BR" dirty="0" err="1"/>
              <a:t>laboris</a:t>
            </a:r>
            <a:r>
              <a:rPr lang="pt-BR" dirty="0"/>
              <a:t> </a:t>
            </a:r>
            <a:r>
              <a:rPr lang="pt-BR" dirty="0" err="1"/>
              <a:t>nisi</a:t>
            </a:r>
            <a:r>
              <a:rPr lang="pt-BR" dirty="0"/>
              <a:t> ut </a:t>
            </a:r>
            <a:r>
              <a:rPr lang="pt-BR" dirty="0" err="1"/>
              <a:t>aliquip</a:t>
            </a:r>
            <a:r>
              <a:rPr lang="pt-BR" dirty="0"/>
              <a:t> </a:t>
            </a:r>
            <a:r>
              <a:rPr lang="pt-BR" dirty="0" err="1"/>
              <a:t>ex</a:t>
            </a:r>
            <a:r>
              <a:rPr lang="pt-BR" dirty="0"/>
              <a:t> </a:t>
            </a:r>
            <a:r>
              <a:rPr lang="pt-BR" dirty="0" err="1"/>
              <a:t>ea</a:t>
            </a:r>
            <a:r>
              <a:rPr lang="pt-BR" dirty="0"/>
              <a:t> </a:t>
            </a:r>
            <a:r>
              <a:rPr lang="pt-BR" dirty="0" err="1"/>
              <a:t>commodo</a:t>
            </a:r>
            <a:r>
              <a:rPr lang="pt-BR" dirty="0"/>
              <a:t> </a:t>
            </a:r>
            <a:r>
              <a:rPr lang="pt-BR" dirty="0" err="1"/>
              <a:t>consequ</a:t>
            </a:r>
            <a:r>
              <a:rPr lang="pt-BR" dirty="0"/>
              <a:t>.</a:t>
            </a:r>
          </a:p>
        </p:txBody>
      </p:sp>
      <p:sp>
        <p:nvSpPr>
          <p:cNvPr id="9" name="Espaço Reservado para Imagem 8">
            <a:extLst>
              <a:ext uri="{FF2B5EF4-FFF2-40B4-BE49-F238E27FC236}">
                <a16:creationId xmlns:a16="http://schemas.microsoft.com/office/drawing/2014/main" id="{6AB75627-6E2B-4D66-9BF9-818512AAD0F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83419" y="2807096"/>
            <a:ext cx="709612" cy="709612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1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pt-BR"/>
          </a:p>
        </p:txBody>
      </p:sp>
      <p:sp>
        <p:nvSpPr>
          <p:cNvPr id="10" name="Espaço Reservado para Imagem 8">
            <a:extLst>
              <a:ext uri="{FF2B5EF4-FFF2-40B4-BE49-F238E27FC236}">
                <a16:creationId xmlns:a16="http://schemas.microsoft.com/office/drawing/2014/main" id="{28271B8B-BC68-4783-BB46-59A264F3A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83419" y="4044751"/>
            <a:ext cx="709612" cy="709612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1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pt-BR" dirty="0"/>
          </a:p>
        </p:txBody>
      </p:sp>
      <p:sp>
        <p:nvSpPr>
          <p:cNvPr id="11" name="Espaço Reservado para Imagem 8">
            <a:extLst>
              <a:ext uri="{FF2B5EF4-FFF2-40B4-BE49-F238E27FC236}">
                <a16:creationId xmlns:a16="http://schemas.microsoft.com/office/drawing/2014/main" id="{C701CC4F-5AB3-460E-A0D2-8B136C2736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83419" y="5282405"/>
            <a:ext cx="709612" cy="709612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1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pt-BR"/>
          </a:p>
        </p:txBody>
      </p:sp>
      <p:sp>
        <p:nvSpPr>
          <p:cNvPr id="12" name="Espaço Reservado para Texto 6">
            <a:extLst>
              <a:ext uri="{FF2B5EF4-FFF2-40B4-BE49-F238E27FC236}">
                <a16:creationId xmlns:a16="http://schemas.microsoft.com/office/drawing/2014/main" id="{D250FDB1-A277-4EEF-87A3-DC9FFB4DA8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3525" y="2807096"/>
            <a:ext cx="3343275" cy="709612"/>
          </a:xfrm>
        </p:spPr>
        <p:txBody>
          <a:bodyPr lIns="0" tIns="0" rIns="0" bIns="0" anchor="ctr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pt-BR" dirty="0"/>
              <a:t>Texto corrido 12pt. Exemplo: </a:t>
            </a:r>
            <a:r>
              <a:rPr lang="pt-BR" dirty="0" err="1"/>
              <a:t>Lorem</a:t>
            </a:r>
            <a:r>
              <a:rPr lang="pt-BR" dirty="0"/>
              <a:t> ipsum </a:t>
            </a:r>
            <a:r>
              <a:rPr lang="pt-BR" dirty="0" err="1"/>
              <a:t>dol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amet</a:t>
            </a:r>
            <a:r>
              <a:rPr lang="pt-BR" dirty="0"/>
              <a:t>, </a:t>
            </a:r>
            <a:r>
              <a:rPr lang="pt-BR" dirty="0" err="1"/>
              <a:t>consectetur</a:t>
            </a:r>
            <a:r>
              <a:rPr lang="pt-BR" dirty="0"/>
              <a:t> </a:t>
            </a:r>
            <a:r>
              <a:rPr lang="pt-BR" dirty="0" err="1"/>
              <a:t>adipiscing</a:t>
            </a:r>
            <a:r>
              <a:rPr lang="pt-BR" dirty="0"/>
              <a:t> </a:t>
            </a:r>
            <a:r>
              <a:rPr lang="pt-BR" dirty="0" err="1"/>
              <a:t>elit</a:t>
            </a:r>
            <a:r>
              <a:rPr lang="pt-BR" dirty="0"/>
              <a:t>, </a:t>
            </a:r>
            <a:r>
              <a:rPr lang="pt-BR" dirty="0" err="1"/>
              <a:t>sed</a:t>
            </a:r>
            <a:r>
              <a:rPr lang="pt-BR" dirty="0"/>
              <a:t> do </a:t>
            </a:r>
            <a:r>
              <a:rPr lang="pt-BR" dirty="0" err="1"/>
              <a:t>eiusmod</a:t>
            </a:r>
            <a:r>
              <a:rPr lang="pt-BR" dirty="0"/>
              <a:t> </a:t>
            </a:r>
            <a:r>
              <a:rPr lang="pt-BR" dirty="0" err="1"/>
              <a:t>tempor</a:t>
            </a:r>
            <a:r>
              <a:rPr lang="pt-BR" dirty="0"/>
              <a:t> </a:t>
            </a:r>
            <a:r>
              <a:rPr lang="pt-BR" dirty="0" err="1"/>
              <a:t>incididunt</a:t>
            </a:r>
            <a:r>
              <a:rPr lang="pt-BR" dirty="0"/>
              <a:t> ut labore et </a:t>
            </a:r>
            <a:r>
              <a:rPr lang="pt-BR" dirty="0" err="1"/>
              <a:t>dolore</a:t>
            </a:r>
            <a:r>
              <a:rPr lang="pt-BR" dirty="0"/>
              <a:t> magna </a:t>
            </a:r>
            <a:r>
              <a:rPr lang="pt-BR" dirty="0" err="1"/>
              <a:t>aliqua</a:t>
            </a:r>
            <a:r>
              <a:rPr lang="pt-BR" dirty="0"/>
              <a:t>.</a:t>
            </a:r>
          </a:p>
        </p:txBody>
      </p:sp>
      <p:sp>
        <p:nvSpPr>
          <p:cNvPr id="13" name="Espaço Reservado para Texto 6">
            <a:extLst>
              <a:ext uri="{FF2B5EF4-FFF2-40B4-BE49-F238E27FC236}">
                <a16:creationId xmlns:a16="http://schemas.microsoft.com/office/drawing/2014/main" id="{691ED37E-14ED-4430-9630-5F25CBA546E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33525" y="4044751"/>
            <a:ext cx="3343275" cy="709612"/>
          </a:xfrm>
        </p:spPr>
        <p:txBody>
          <a:bodyPr lIns="0" tIns="0" rIns="0" bIns="0" anchor="ctr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pt-BR" dirty="0"/>
              <a:t>Texto corrido 12pt. Exemplo: </a:t>
            </a:r>
            <a:r>
              <a:rPr lang="pt-BR" dirty="0" err="1"/>
              <a:t>Lorem</a:t>
            </a:r>
            <a:r>
              <a:rPr lang="pt-BR" dirty="0"/>
              <a:t> ipsum </a:t>
            </a:r>
            <a:r>
              <a:rPr lang="pt-BR" dirty="0" err="1"/>
              <a:t>dol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amet</a:t>
            </a:r>
            <a:r>
              <a:rPr lang="pt-BR" dirty="0"/>
              <a:t>, </a:t>
            </a:r>
            <a:r>
              <a:rPr lang="pt-BR" dirty="0" err="1"/>
              <a:t>consectetur</a:t>
            </a:r>
            <a:r>
              <a:rPr lang="pt-BR" dirty="0"/>
              <a:t> </a:t>
            </a:r>
            <a:r>
              <a:rPr lang="pt-BR" dirty="0" err="1"/>
              <a:t>adipiscing</a:t>
            </a:r>
            <a:r>
              <a:rPr lang="pt-BR" dirty="0"/>
              <a:t> </a:t>
            </a:r>
            <a:r>
              <a:rPr lang="pt-BR" dirty="0" err="1"/>
              <a:t>elit</a:t>
            </a:r>
            <a:r>
              <a:rPr lang="pt-BR" dirty="0"/>
              <a:t>, </a:t>
            </a:r>
            <a:r>
              <a:rPr lang="pt-BR" dirty="0" err="1"/>
              <a:t>sed</a:t>
            </a:r>
            <a:r>
              <a:rPr lang="pt-BR" dirty="0"/>
              <a:t> do </a:t>
            </a:r>
            <a:r>
              <a:rPr lang="pt-BR" dirty="0" err="1"/>
              <a:t>eiusmod</a:t>
            </a:r>
            <a:r>
              <a:rPr lang="pt-BR" dirty="0"/>
              <a:t> </a:t>
            </a:r>
            <a:r>
              <a:rPr lang="pt-BR" dirty="0" err="1"/>
              <a:t>tempor</a:t>
            </a:r>
            <a:r>
              <a:rPr lang="pt-BR" dirty="0"/>
              <a:t> </a:t>
            </a:r>
            <a:r>
              <a:rPr lang="pt-BR" dirty="0" err="1"/>
              <a:t>incididunt</a:t>
            </a:r>
            <a:r>
              <a:rPr lang="pt-BR" dirty="0"/>
              <a:t> ut labore et </a:t>
            </a:r>
            <a:r>
              <a:rPr lang="pt-BR" dirty="0" err="1"/>
              <a:t>dolore</a:t>
            </a:r>
            <a:r>
              <a:rPr lang="pt-BR" dirty="0"/>
              <a:t> magna </a:t>
            </a:r>
            <a:r>
              <a:rPr lang="pt-BR" dirty="0" err="1"/>
              <a:t>aliqua</a:t>
            </a:r>
            <a:r>
              <a:rPr lang="pt-BR" dirty="0"/>
              <a:t>.</a:t>
            </a:r>
          </a:p>
        </p:txBody>
      </p:sp>
      <p:sp>
        <p:nvSpPr>
          <p:cNvPr id="14" name="Espaço Reservado para Texto 6">
            <a:extLst>
              <a:ext uri="{FF2B5EF4-FFF2-40B4-BE49-F238E27FC236}">
                <a16:creationId xmlns:a16="http://schemas.microsoft.com/office/drawing/2014/main" id="{323D7BF3-1F8C-4C7A-9408-83E24A62B8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33525" y="5282405"/>
            <a:ext cx="3343275" cy="709612"/>
          </a:xfrm>
        </p:spPr>
        <p:txBody>
          <a:bodyPr lIns="0" tIns="0" rIns="0" bIns="0" anchor="ctr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pt-BR" dirty="0"/>
              <a:t>Texto corrido 12pt. Exemplo: </a:t>
            </a:r>
            <a:r>
              <a:rPr lang="pt-BR" dirty="0" err="1"/>
              <a:t>Lorem</a:t>
            </a:r>
            <a:r>
              <a:rPr lang="pt-BR" dirty="0"/>
              <a:t> ipsum </a:t>
            </a:r>
            <a:r>
              <a:rPr lang="pt-BR" dirty="0" err="1"/>
              <a:t>dol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amet</a:t>
            </a:r>
            <a:r>
              <a:rPr lang="pt-BR" dirty="0"/>
              <a:t>, </a:t>
            </a:r>
            <a:r>
              <a:rPr lang="pt-BR" dirty="0" err="1"/>
              <a:t>consectetur</a:t>
            </a:r>
            <a:r>
              <a:rPr lang="pt-BR" dirty="0"/>
              <a:t> </a:t>
            </a:r>
            <a:r>
              <a:rPr lang="pt-BR" dirty="0" err="1"/>
              <a:t>adipiscing</a:t>
            </a:r>
            <a:r>
              <a:rPr lang="pt-BR" dirty="0"/>
              <a:t> </a:t>
            </a:r>
            <a:r>
              <a:rPr lang="pt-BR" dirty="0" err="1"/>
              <a:t>elit</a:t>
            </a:r>
            <a:r>
              <a:rPr lang="pt-BR" dirty="0"/>
              <a:t>, </a:t>
            </a:r>
            <a:r>
              <a:rPr lang="pt-BR" dirty="0" err="1"/>
              <a:t>sed</a:t>
            </a:r>
            <a:r>
              <a:rPr lang="pt-BR" dirty="0"/>
              <a:t> do </a:t>
            </a:r>
            <a:r>
              <a:rPr lang="pt-BR" dirty="0" err="1"/>
              <a:t>eiusmod</a:t>
            </a:r>
            <a:r>
              <a:rPr lang="pt-BR" dirty="0"/>
              <a:t> </a:t>
            </a:r>
            <a:r>
              <a:rPr lang="pt-BR" dirty="0" err="1"/>
              <a:t>tempor</a:t>
            </a:r>
            <a:r>
              <a:rPr lang="pt-BR" dirty="0"/>
              <a:t> </a:t>
            </a:r>
            <a:r>
              <a:rPr lang="pt-BR" dirty="0" err="1"/>
              <a:t>incididunt</a:t>
            </a:r>
            <a:r>
              <a:rPr lang="pt-BR" dirty="0"/>
              <a:t> ut labore et </a:t>
            </a:r>
            <a:r>
              <a:rPr lang="pt-BR" dirty="0" err="1"/>
              <a:t>dolore</a:t>
            </a:r>
            <a:r>
              <a:rPr lang="pt-BR" dirty="0"/>
              <a:t> magna </a:t>
            </a:r>
            <a:r>
              <a:rPr lang="pt-BR" dirty="0" err="1"/>
              <a:t>aliqua</a:t>
            </a:r>
            <a:r>
              <a:rPr lang="pt-BR" dirty="0"/>
              <a:t>.</a:t>
            </a:r>
          </a:p>
        </p:txBody>
      </p:sp>
      <p:sp>
        <p:nvSpPr>
          <p:cNvPr id="16" name="Espaço Reservado para Conteúdo 15">
            <a:extLst>
              <a:ext uri="{FF2B5EF4-FFF2-40B4-BE49-F238E27FC236}">
                <a16:creationId xmlns:a16="http://schemas.microsoft.com/office/drawing/2014/main" id="{A37C557D-490A-4871-AB16-0F404FD77F0D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438775" y="2806700"/>
            <a:ext cx="6162675" cy="3184525"/>
          </a:xfrm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1pPr>
            <a:lvl2pPr marL="0" indent="0" algn="ctr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2pPr>
            <a:lvl3pPr marL="0" indent="0" algn="ctr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3pPr>
            <a:lvl4pPr marL="0" indent="0" algn="ctr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4pPr>
            <a:lvl5pPr marL="0" indent="0" algn="ctr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pt-BR" dirty="0"/>
              <a:t>Adicione um gráfico, uma tabela ou uma imagem.</a:t>
            </a:r>
          </a:p>
        </p:txBody>
      </p:sp>
    </p:spTree>
    <p:extLst>
      <p:ext uri="{BB962C8B-B14F-4D97-AF65-F5344CB8AC3E}">
        <p14:creationId xmlns:p14="http://schemas.microsoft.com/office/powerpoint/2010/main" val="5897493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0_Layout Personaliza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tângulo 17">
            <a:extLst>
              <a:ext uri="{FF2B5EF4-FFF2-40B4-BE49-F238E27FC236}">
                <a16:creationId xmlns:a16="http://schemas.microsoft.com/office/drawing/2014/main" id="{FFEF4AA4-AD98-430B-AD75-447A6AF1219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latin typeface="Roboto" panose="02000000000000000000" pitchFamily="2" charset="0"/>
            </a:endParaRP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507B3BAF-B192-4968-A02F-09E45EF1B0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0073897" cy="1542294"/>
          </a:xfrm>
          <a:prstGeom prst="rect">
            <a:avLst/>
          </a:prstGeom>
        </p:spPr>
      </p:pic>
      <p:pic>
        <p:nvPicPr>
          <p:cNvPr id="15" name="Imagem 14">
            <a:extLst>
              <a:ext uri="{FF2B5EF4-FFF2-40B4-BE49-F238E27FC236}">
                <a16:creationId xmlns:a16="http://schemas.microsoft.com/office/drawing/2014/main" id="{8F936139-CAB0-4AE3-820B-6747CE4AFDC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20401" y="389993"/>
            <a:ext cx="857249" cy="619656"/>
          </a:xfrm>
          <a:prstGeom prst="rect">
            <a:avLst/>
          </a:prstGeom>
        </p:spPr>
      </p:pic>
      <p:pic>
        <p:nvPicPr>
          <p:cNvPr id="19" name="Imagem 18" descr="Tela de celular com texto preto sobre fundo branco&#10;&#10;Descrição gerada automaticamente">
            <a:extLst>
              <a:ext uri="{FF2B5EF4-FFF2-40B4-BE49-F238E27FC236}">
                <a16:creationId xmlns:a16="http://schemas.microsoft.com/office/drawing/2014/main" id="{16D276D8-FE58-49DF-A9D6-1B6B83C5A2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25224" y="6489701"/>
            <a:ext cx="581025" cy="368300"/>
          </a:xfrm>
          <a:prstGeom prst="rect">
            <a:avLst/>
          </a:prstGeom>
        </p:spPr>
      </p:pic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65559233-57F3-4226-B1B9-2B8E09582E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D11D262-DD36-4C3A-9581-B03EDCFD2EDD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" name="Título 6">
            <a:extLst>
              <a:ext uri="{FF2B5EF4-FFF2-40B4-BE49-F238E27FC236}">
                <a16:creationId xmlns:a16="http://schemas.microsoft.com/office/drawing/2014/main" id="{3E6B4E8C-1D1E-45C9-84FA-860D05BD76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2925" y="354806"/>
            <a:ext cx="7877175" cy="43338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Título do slide 24pt </a:t>
            </a:r>
            <a:r>
              <a:rPr lang="pt-BR" dirty="0" err="1"/>
              <a:t>bold</a:t>
            </a:r>
            <a:endParaRPr lang="pt-BR" dirty="0"/>
          </a:p>
        </p:txBody>
      </p:sp>
      <p:sp>
        <p:nvSpPr>
          <p:cNvPr id="5" name="Espaço Reservado para Texto 6">
            <a:extLst>
              <a:ext uri="{FF2B5EF4-FFF2-40B4-BE49-F238E27FC236}">
                <a16:creationId xmlns:a16="http://schemas.microsoft.com/office/drawing/2014/main" id="{F4CF7CC3-7F92-4F6A-AB2A-646C96AE23C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2925" y="866775"/>
            <a:ext cx="7877175" cy="152400"/>
          </a:xfrm>
        </p:spPr>
        <p:txBody>
          <a:bodyPr lIns="0" tIns="0" rIns="0" bIns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Subtítulo do slide 12pt</a:t>
            </a:r>
          </a:p>
        </p:txBody>
      </p:sp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807C4EF7-F891-492A-8D2B-43CCFC0806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90550" y="1724025"/>
            <a:ext cx="11010900" cy="709612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pt-BR" dirty="0"/>
              <a:t>Texto corrido 14pt. Exemplo: </a:t>
            </a:r>
            <a:r>
              <a:rPr lang="pt-BR" dirty="0" err="1"/>
              <a:t>Lorem</a:t>
            </a:r>
            <a:r>
              <a:rPr lang="pt-BR" dirty="0"/>
              <a:t> ipsum </a:t>
            </a:r>
            <a:r>
              <a:rPr lang="pt-BR" dirty="0" err="1"/>
              <a:t>dol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amet</a:t>
            </a:r>
            <a:r>
              <a:rPr lang="pt-BR" dirty="0"/>
              <a:t>, </a:t>
            </a:r>
            <a:r>
              <a:rPr lang="pt-BR" dirty="0" err="1"/>
              <a:t>consectetur</a:t>
            </a:r>
            <a:r>
              <a:rPr lang="pt-BR" dirty="0"/>
              <a:t> </a:t>
            </a:r>
            <a:r>
              <a:rPr lang="pt-BR" dirty="0" err="1"/>
              <a:t>adipiscing</a:t>
            </a:r>
            <a:r>
              <a:rPr lang="pt-BR" dirty="0"/>
              <a:t> </a:t>
            </a:r>
            <a:r>
              <a:rPr lang="pt-BR" dirty="0" err="1"/>
              <a:t>elit</a:t>
            </a:r>
            <a:r>
              <a:rPr lang="pt-BR" dirty="0"/>
              <a:t>, </a:t>
            </a:r>
            <a:r>
              <a:rPr lang="pt-BR" dirty="0" err="1"/>
              <a:t>sed</a:t>
            </a:r>
            <a:r>
              <a:rPr lang="pt-BR" dirty="0"/>
              <a:t> do </a:t>
            </a:r>
            <a:r>
              <a:rPr lang="pt-BR" dirty="0" err="1"/>
              <a:t>eiusmod</a:t>
            </a:r>
            <a:r>
              <a:rPr lang="pt-BR" dirty="0"/>
              <a:t> </a:t>
            </a:r>
            <a:r>
              <a:rPr lang="pt-BR" dirty="0" err="1"/>
              <a:t>tempor</a:t>
            </a:r>
            <a:r>
              <a:rPr lang="pt-BR" dirty="0"/>
              <a:t> </a:t>
            </a:r>
            <a:r>
              <a:rPr lang="pt-BR" dirty="0" err="1"/>
              <a:t>incididunt</a:t>
            </a:r>
            <a:r>
              <a:rPr lang="pt-BR" dirty="0"/>
              <a:t> ut labore et </a:t>
            </a:r>
            <a:r>
              <a:rPr lang="pt-BR" dirty="0" err="1"/>
              <a:t>dolore</a:t>
            </a:r>
            <a:r>
              <a:rPr lang="pt-BR" dirty="0"/>
              <a:t> magna </a:t>
            </a:r>
            <a:r>
              <a:rPr lang="pt-BR" dirty="0" err="1"/>
              <a:t>aliqua</a:t>
            </a:r>
            <a:r>
              <a:rPr lang="pt-BR" dirty="0"/>
              <a:t>. Ut </a:t>
            </a:r>
            <a:r>
              <a:rPr lang="pt-BR" dirty="0" err="1"/>
              <a:t>enim</a:t>
            </a:r>
            <a:r>
              <a:rPr lang="pt-BR" dirty="0"/>
              <a:t> ad </a:t>
            </a:r>
            <a:r>
              <a:rPr lang="pt-BR" dirty="0" err="1"/>
              <a:t>minim</a:t>
            </a:r>
            <a:r>
              <a:rPr lang="pt-BR" dirty="0"/>
              <a:t> </a:t>
            </a:r>
            <a:r>
              <a:rPr lang="pt-BR" dirty="0" err="1"/>
              <a:t>veniam</a:t>
            </a:r>
            <a:r>
              <a:rPr lang="pt-BR" dirty="0"/>
              <a:t>, quis </a:t>
            </a:r>
            <a:r>
              <a:rPr lang="pt-BR" dirty="0" err="1"/>
              <a:t>nostrud</a:t>
            </a:r>
            <a:r>
              <a:rPr lang="pt-BR" dirty="0"/>
              <a:t> </a:t>
            </a:r>
            <a:r>
              <a:rPr lang="pt-BR" dirty="0" err="1"/>
              <a:t>exercitation</a:t>
            </a:r>
            <a:r>
              <a:rPr lang="pt-BR" dirty="0"/>
              <a:t> </a:t>
            </a:r>
            <a:r>
              <a:rPr lang="pt-BR" dirty="0" err="1"/>
              <a:t>ullamco</a:t>
            </a:r>
            <a:r>
              <a:rPr lang="pt-BR" dirty="0"/>
              <a:t> </a:t>
            </a:r>
            <a:r>
              <a:rPr lang="pt-BR" dirty="0" err="1"/>
              <a:t>laboris</a:t>
            </a:r>
            <a:r>
              <a:rPr lang="pt-BR" dirty="0"/>
              <a:t> </a:t>
            </a:r>
            <a:r>
              <a:rPr lang="pt-BR" dirty="0" err="1"/>
              <a:t>nisi</a:t>
            </a:r>
            <a:r>
              <a:rPr lang="pt-BR" dirty="0"/>
              <a:t> ut </a:t>
            </a:r>
            <a:r>
              <a:rPr lang="pt-BR" dirty="0" err="1"/>
              <a:t>aliquip</a:t>
            </a:r>
            <a:r>
              <a:rPr lang="pt-BR" dirty="0"/>
              <a:t> </a:t>
            </a:r>
            <a:r>
              <a:rPr lang="pt-BR" dirty="0" err="1"/>
              <a:t>ex</a:t>
            </a:r>
            <a:r>
              <a:rPr lang="pt-BR" dirty="0"/>
              <a:t> </a:t>
            </a:r>
            <a:r>
              <a:rPr lang="pt-BR" dirty="0" err="1"/>
              <a:t>ea</a:t>
            </a:r>
            <a:r>
              <a:rPr lang="pt-BR" dirty="0"/>
              <a:t> </a:t>
            </a:r>
            <a:r>
              <a:rPr lang="pt-BR" dirty="0" err="1"/>
              <a:t>commodo</a:t>
            </a:r>
            <a:r>
              <a:rPr lang="pt-BR" dirty="0"/>
              <a:t> </a:t>
            </a:r>
            <a:r>
              <a:rPr lang="pt-BR" dirty="0" err="1"/>
              <a:t>consequ</a:t>
            </a:r>
            <a:r>
              <a:rPr lang="pt-BR" dirty="0"/>
              <a:t>.</a:t>
            </a:r>
          </a:p>
        </p:txBody>
      </p:sp>
      <p:sp>
        <p:nvSpPr>
          <p:cNvPr id="9" name="Espaço Reservado para Imagem 8">
            <a:extLst>
              <a:ext uri="{FF2B5EF4-FFF2-40B4-BE49-F238E27FC236}">
                <a16:creationId xmlns:a16="http://schemas.microsoft.com/office/drawing/2014/main" id="{6AB75627-6E2B-4D66-9BF9-818512AAD0F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83419" y="2807096"/>
            <a:ext cx="709612" cy="709612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1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pt-BR"/>
          </a:p>
        </p:txBody>
      </p:sp>
      <p:sp>
        <p:nvSpPr>
          <p:cNvPr id="10" name="Espaço Reservado para Imagem 8">
            <a:extLst>
              <a:ext uri="{FF2B5EF4-FFF2-40B4-BE49-F238E27FC236}">
                <a16:creationId xmlns:a16="http://schemas.microsoft.com/office/drawing/2014/main" id="{28271B8B-BC68-4783-BB46-59A264F3A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83419" y="4044751"/>
            <a:ext cx="709612" cy="709612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1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pt-BR" dirty="0"/>
          </a:p>
        </p:txBody>
      </p:sp>
      <p:sp>
        <p:nvSpPr>
          <p:cNvPr id="11" name="Espaço Reservado para Imagem 8">
            <a:extLst>
              <a:ext uri="{FF2B5EF4-FFF2-40B4-BE49-F238E27FC236}">
                <a16:creationId xmlns:a16="http://schemas.microsoft.com/office/drawing/2014/main" id="{C701CC4F-5AB3-460E-A0D2-8B136C2736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83419" y="5282405"/>
            <a:ext cx="709612" cy="709612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1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pt-BR"/>
          </a:p>
        </p:txBody>
      </p:sp>
      <p:sp>
        <p:nvSpPr>
          <p:cNvPr id="12" name="Espaço Reservado para Texto 6">
            <a:extLst>
              <a:ext uri="{FF2B5EF4-FFF2-40B4-BE49-F238E27FC236}">
                <a16:creationId xmlns:a16="http://schemas.microsoft.com/office/drawing/2014/main" id="{D250FDB1-A277-4EEF-87A3-DC9FFB4DA8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3525" y="2807096"/>
            <a:ext cx="3343275" cy="709612"/>
          </a:xfrm>
        </p:spPr>
        <p:txBody>
          <a:bodyPr lIns="0" tIns="0" rIns="0" bIns="0" anchor="ctr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pt-BR" dirty="0"/>
              <a:t>Texto corrido 12pt. Exemplo: </a:t>
            </a:r>
            <a:r>
              <a:rPr lang="pt-BR" dirty="0" err="1"/>
              <a:t>Lorem</a:t>
            </a:r>
            <a:r>
              <a:rPr lang="pt-BR" dirty="0"/>
              <a:t> ipsum </a:t>
            </a:r>
            <a:r>
              <a:rPr lang="pt-BR" dirty="0" err="1"/>
              <a:t>dol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amet</a:t>
            </a:r>
            <a:r>
              <a:rPr lang="pt-BR" dirty="0"/>
              <a:t>, </a:t>
            </a:r>
            <a:r>
              <a:rPr lang="pt-BR" dirty="0" err="1"/>
              <a:t>consectetur</a:t>
            </a:r>
            <a:r>
              <a:rPr lang="pt-BR" dirty="0"/>
              <a:t> </a:t>
            </a:r>
            <a:r>
              <a:rPr lang="pt-BR" dirty="0" err="1"/>
              <a:t>adipiscing</a:t>
            </a:r>
            <a:r>
              <a:rPr lang="pt-BR" dirty="0"/>
              <a:t> </a:t>
            </a:r>
            <a:r>
              <a:rPr lang="pt-BR" dirty="0" err="1"/>
              <a:t>elit</a:t>
            </a:r>
            <a:r>
              <a:rPr lang="pt-BR" dirty="0"/>
              <a:t>, </a:t>
            </a:r>
            <a:r>
              <a:rPr lang="pt-BR" dirty="0" err="1"/>
              <a:t>sed</a:t>
            </a:r>
            <a:r>
              <a:rPr lang="pt-BR" dirty="0"/>
              <a:t> do </a:t>
            </a:r>
            <a:r>
              <a:rPr lang="pt-BR" dirty="0" err="1"/>
              <a:t>eiusmod</a:t>
            </a:r>
            <a:r>
              <a:rPr lang="pt-BR" dirty="0"/>
              <a:t> </a:t>
            </a:r>
            <a:r>
              <a:rPr lang="pt-BR" dirty="0" err="1"/>
              <a:t>tempor</a:t>
            </a:r>
            <a:r>
              <a:rPr lang="pt-BR" dirty="0"/>
              <a:t> </a:t>
            </a:r>
            <a:r>
              <a:rPr lang="pt-BR" dirty="0" err="1"/>
              <a:t>incididunt</a:t>
            </a:r>
            <a:r>
              <a:rPr lang="pt-BR" dirty="0"/>
              <a:t> ut labore et </a:t>
            </a:r>
            <a:r>
              <a:rPr lang="pt-BR" dirty="0" err="1"/>
              <a:t>dolore</a:t>
            </a:r>
            <a:r>
              <a:rPr lang="pt-BR" dirty="0"/>
              <a:t> magna </a:t>
            </a:r>
            <a:r>
              <a:rPr lang="pt-BR" dirty="0" err="1"/>
              <a:t>aliqua</a:t>
            </a:r>
            <a:r>
              <a:rPr lang="pt-BR" dirty="0"/>
              <a:t>.</a:t>
            </a:r>
          </a:p>
        </p:txBody>
      </p:sp>
      <p:sp>
        <p:nvSpPr>
          <p:cNvPr id="13" name="Espaço Reservado para Texto 6">
            <a:extLst>
              <a:ext uri="{FF2B5EF4-FFF2-40B4-BE49-F238E27FC236}">
                <a16:creationId xmlns:a16="http://schemas.microsoft.com/office/drawing/2014/main" id="{691ED37E-14ED-4430-9630-5F25CBA546E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33525" y="4044751"/>
            <a:ext cx="3343275" cy="709612"/>
          </a:xfrm>
        </p:spPr>
        <p:txBody>
          <a:bodyPr lIns="0" tIns="0" rIns="0" bIns="0" anchor="ctr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pt-BR" dirty="0"/>
              <a:t>Texto corrido 12pt. Exemplo: </a:t>
            </a:r>
            <a:r>
              <a:rPr lang="pt-BR" dirty="0" err="1"/>
              <a:t>Lorem</a:t>
            </a:r>
            <a:r>
              <a:rPr lang="pt-BR" dirty="0"/>
              <a:t> ipsum </a:t>
            </a:r>
            <a:r>
              <a:rPr lang="pt-BR" dirty="0" err="1"/>
              <a:t>dol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amet</a:t>
            </a:r>
            <a:r>
              <a:rPr lang="pt-BR" dirty="0"/>
              <a:t>, </a:t>
            </a:r>
            <a:r>
              <a:rPr lang="pt-BR" dirty="0" err="1"/>
              <a:t>consectetur</a:t>
            </a:r>
            <a:r>
              <a:rPr lang="pt-BR" dirty="0"/>
              <a:t> </a:t>
            </a:r>
            <a:r>
              <a:rPr lang="pt-BR" dirty="0" err="1"/>
              <a:t>adipiscing</a:t>
            </a:r>
            <a:r>
              <a:rPr lang="pt-BR" dirty="0"/>
              <a:t> </a:t>
            </a:r>
            <a:r>
              <a:rPr lang="pt-BR" dirty="0" err="1"/>
              <a:t>elit</a:t>
            </a:r>
            <a:r>
              <a:rPr lang="pt-BR" dirty="0"/>
              <a:t>, </a:t>
            </a:r>
            <a:r>
              <a:rPr lang="pt-BR" dirty="0" err="1"/>
              <a:t>sed</a:t>
            </a:r>
            <a:r>
              <a:rPr lang="pt-BR" dirty="0"/>
              <a:t> do </a:t>
            </a:r>
            <a:r>
              <a:rPr lang="pt-BR" dirty="0" err="1"/>
              <a:t>eiusmod</a:t>
            </a:r>
            <a:r>
              <a:rPr lang="pt-BR" dirty="0"/>
              <a:t> </a:t>
            </a:r>
            <a:r>
              <a:rPr lang="pt-BR" dirty="0" err="1"/>
              <a:t>tempor</a:t>
            </a:r>
            <a:r>
              <a:rPr lang="pt-BR" dirty="0"/>
              <a:t> </a:t>
            </a:r>
            <a:r>
              <a:rPr lang="pt-BR" dirty="0" err="1"/>
              <a:t>incididunt</a:t>
            </a:r>
            <a:r>
              <a:rPr lang="pt-BR" dirty="0"/>
              <a:t> ut labore et </a:t>
            </a:r>
            <a:r>
              <a:rPr lang="pt-BR" dirty="0" err="1"/>
              <a:t>dolore</a:t>
            </a:r>
            <a:r>
              <a:rPr lang="pt-BR" dirty="0"/>
              <a:t> magna </a:t>
            </a:r>
            <a:r>
              <a:rPr lang="pt-BR" dirty="0" err="1"/>
              <a:t>aliqua</a:t>
            </a:r>
            <a:r>
              <a:rPr lang="pt-BR" dirty="0"/>
              <a:t>.</a:t>
            </a:r>
          </a:p>
        </p:txBody>
      </p:sp>
      <p:sp>
        <p:nvSpPr>
          <p:cNvPr id="14" name="Espaço Reservado para Texto 6">
            <a:extLst>
              <a:ext uri="{FF2B5EF4-FFF2-40B4-BE49-F238E27FC236}">
                <a16:creationId xmlns:a16="http://schemas.microsoft.com/office/drawing/2014/main" id="{323D7BF3-1F8C-4C7A-9408-83E24A62B8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33525" y="5282405"/>
            <a:ext cx="3343275" cy="709612"/>
          </a:xfrm>
        </p:spPr>
        <p:txBody>
          <a:bodyPr lIns="0" tIns="0" rIns="0" bIns="0" anchor="ctr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pt-BR" dirty="0"/>
              <a:t>Texto corrido 12pt. Exemplo: </a:t>
            </a:r>
            <a:r>
              <a:rPr lang="pt-BR" dirty="0" err="1"/>
              <a:t>Lorem</a:t>
            </a:r>
            <a:r>
              <a:rPr lang="pt-BR" dirty="0"/>
              <a:t> ipsum </a:t>
            </a:r>
            <a:r>
              <a:rPr lang="pt-BR" dirty="0" err="1"/>
              <a:t>dol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amet</a:t>
            </a:r>
            <a:r>
              <a:rPr lang="pt-BR" dirty="0"/>
              <a:t>, </a:t>
            </a:r>
            <a:r>
              <a:rPr lang="pt-BR" dirty="0" err="1"/>
              <a:t>consectetur</a:t>
            </a:r>
            <a:r>
              <a:rPr lang="pt-BR" dirty="0"/>
              <a:t> </a:t>
            </a:r>
            <a:r>
              <a:rPr lang="pt-BR" dirty="0" err="1"/>
              <a:t>adipiscing</a:t>
            </a:r>
            <a:r>
              <a:rPr lang="pt-BR" dirty="0"/>
              <a:t> </a:t>
            </a:r>
            <a:r>
              <a:rPr lang="pt-BR" dirty="0" err="1"/>
              <a:t>elit</a:t>
            </a:r>
            <a:r>
              <a:rPr lang="pt-BR" dirty="0"/>
              <a:t>, </a:t>
            </a:r>
            <a:r>
              <a:rPr lang="pt-BR" dirty="0" err="1"/>
              <a:t>sed</a:t>
            </a:r>
            <a:r>
              <a:rPr lang="pt-BR" dirty="0"/>
              <a:t> do </a:t>
            </a:r>
            <a:r>
              <a:rPr lang="pt-BR" dirty="0" err="1"/>
              <a:t>eiusmod</a:t>
            </a:r>
            <a:r>
              <a:rPr lang="pt-BR" dirty="0"/>
              <a:t> </a:t>
            </a:r>
            <a:r>
              <a:rPr lang="pt-BR" dirty="0" err="1"/>
              <a:t>tempor</a:t>
            </a:r>
            <a:r>
              <a:rPr lang="pt-BR" dirty="0"/>
              <a:t> </a:t>
            </a:r>
            <a:r>
              <a:rPr lang="pt-BR" dirty="0" err="1"/>
              <a:t>incididunt</a:t>
            </a:r>
            <a:r>
              <a:rPr lang="pt-BR" dirty="0"/>
              <a:t> ut labore et </a:t>
            </a:r>
            <a:r>
              <a:rPr lang="pt-BR" dirty="0" err="1"/>
              <a:t>dolore</a:t>
            </a:r>
            <a:r>
              <a:rPr lang="pt-BR" dirty="0"/>
              <a:t> magna </a:t>
            </a:r>
            <a:r>
              <a:rPr lang="pt-BR" dirty="0" err="1"/>
              <a:t>aliqua</a:t>
            </a:r>
            <a:r>
              <a:rPr lang="pt-BR" dirty="0"/>
              <a:t>.</a:t>
            </a:r>
          </a:p>
        </p:txBody>
      </p:sp>
      <p:sp>
        <p:nvSpPr>
          <p:cNvPr id="16" name="Espaço Reservado para Conteúdo 15">
            <a:extLst>
              <a:ext uri="{FF2B5EF4-FFF2-40B4-BE49-F238E27FC236}">
                <a16:creationId xmlns:a16="http://schemas.microsoft.com/office/drawing/2014/main" id="{A37C557D-490A-4871-AB16-0F404FD77F0D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438775" y="2806700"/>
            <a:ext cx="6162675" cy="3184525"/>
          </a:xfrm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1pPr>
            <a:lvl2pPr marL="0" indent="0" algn="ctr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2pPr>
            <a:lvl3pPr marL="0" indent="0" algn="ctr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3pPr>
            <a:lvl4pPr marL="0" indent="0" algn="ctr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4pPr>
            <a:lvl5pPr marL="0" indent="0" algn="ctr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pt-BR" dirty="0"/>
              <a:t>Adicione um gráfico, uma tabela ou uma imagem.</a:t>
            </a:r>
          </a:p>
        </p:txBody>
      </p:sp>
    </p:spTree>
    <p:extLst>
      <p:ext uri="{BB962C8B-B14F-4D97-AF65-F5344CB8AC3E}">
        <p14:creationId xmlns:p14="http://schemas.microsoft.com/office/powerpoint/2010/main" val="38969368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Layout Personaliza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97B05374-B84A-4B7C-84E5-6FE0B398584C}"/>
              </a:ext>
            </a:extLst>
          </p:cNvPr>
          <p:cNvSpPr/>
          <p:nvPr userDrawn="1"/>
        </p:nvSpPr>
        <p:spPr>
          <a:xfrm>
            <a:off x="0" y="0"/>
            <a:ext cx="44577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latin typeface="Roboto" panose="02000000000000000000" pitchFamily="2" charset="0"/>
            </a:endParaRPr>
          </a:p>
        </p:txBody>
      </p:sp>
      <p:pic>
        <p:nvPicPr>
          <p:cNvPr id="11" name="Imagem 10" descr="Uma imagem contendo edifício&#10;&#10;Descrição gerada automaticamente">
            <a:extLst>
              <a:ext uri="{FF2B5EF4-FFF2-40B4-BE49-F238E27FC236}">
                <a16:creationId xmlns:a16="http://schemas.microsoft.com/office/drawing/2014/main" id="{0EAC5CD2-E311-4724-BC89-8DD26027F9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25224" y="6486790"/>
            <a:ext cx="581026" cy="365125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C5EA9850-F517-4DEF-B544-6576C888DA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301" y="514350"/>
            <a:ext cx="3333750" cy="5829300"/>
          </a:xfrm>
        </p:spPr>
        <p:txBody>
          <a:bodyPr/>
          <a:lstStyle>
            <a:lvl1pPr marL="266700" indent="-266700">
              <a:buSzPct val="150000"/>
              <a:buFontTx/>
              <a:buBlip>
                <a:blip r:embed="rId3"/>
              </a:buBlip>
              <a:defRPr/>
            </a:lvl1pPr>
          </a:lstStyle>
          <a:p>
            <a:r>
              <a:rPr lang="pt-BR" dirty="0"/>
              <a:t>Título do slide 24pt </a:t>
            </a:r>
            <a:r>
              <a:rPr lang="pt-BR" dirty="0" err="1"/>
              <a:t>bold</a:t>
            </a:r>
            <a:endParaRPr lang="pt-BR" dirty="0"/>
          </a:p>
        </p:txBody>
      </p:sp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71E659A9-D44A-43ED-9436-29389F87966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11D262-DD36-4C3A-9581-B03EDCFD2EDD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4" name="Espaço Reservado para Texto 2">
            <a:extLst>
              <a:ext uri="{FF2B5EF4-FFF2-40B4-BE49-F238E27FC236}">
                <a16:creationId xmlns:a16="http://schemas.microsoft.com/office/drawing/2014/main" id="{FCEEA9B6-5418-4F67-AFEB-DC15834C09F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114924" y="1695450"/>
            <a:ext cx="6238875" cy="44815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180975" indent="-180975">
              <a:buFontTx/>
              <a:buBlip>
                <a:blip r:embed="rId4"/>
              </a:buBlip>
              <a:defRPr/>
            </a:lvl1pPr>
          </a:lstStyle>
          <a:p>
            <a:pPr lvl="0"/>
            <a:r>
              <a:rPr lang="pt-BR" dirty="0" err="1"/>
              <a:t>Bullets</a:t>
            </a:r>
            <a:r>
              <a:rPr lang="pt-BR" dirty="0"/>
              <a:t> points 14pt</a:t>
            </a:r>
          </a:p>
        </p:txBody>
      </p:sp>
      <p:pic>
        <p:nvPicPr>
          <p:cNvPr id="7" name="Imagem 6" descr="Fundo preto com letras brancas&#10;&#10;Descrição gerada automaticamente">
            <a:extLst>
              <a:ext uri="{FF2B5EF4-FFF2-40B4-BE49-F238E27FC236}">
                <a16:creationId xmlns:a16="http://schemas.microsoft.com/office/drawing/2014/main" id="{B611FF59-D7F8-4F42-B444-B8F4A916B40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27464" y="-1"/>
            <a:ext cx="2016885" cy="1303021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9BA2FF42-C8B8-4136-98DE-868982A65F7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07281" y="371209"/>
            <a:ext cx="857249" cy="619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72606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Layout Personaliza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ço Reservado para Imagem 2">
            <a:extLst>
              <a:ext uri="{FF2B5EF4-FFF2-40B4-BE49-F238E27FC236}">
                <a16:creationId xmlns:a16="http://schemas.microsoft.com/office/drawing/2014/main" id="{04339E3A-AEB8-4594-A127-8F93849E993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-1"/>
            <a:ext cx="4457700" cy="6851915"/>
          </a:xfrm>
          <a:solidFill>
            <a:srgbClr val="CC2362">
              <a:alpha val="20000"/>
            </a:srgbClr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accent2"/>
                </a:solidFill>
              </a:defRPr>
            </a:lvl1pPr>
          </a:lstStyle>
          <a:p>
            <a:endParaRPr lang="pt-BR"/>
          </a:p>
        </p:txBody>
      </p:sp>
      <p:pic>
        <p:nvPicPr>
          <p:cNvPr id="11" name="Imagem 10" descr="Uma imagem contendo edifício&#10;&#10;Descrição gerada automaticamente">
            <a:extLst>
              <a:ext uri="{FF2B5EF4-FFF2-40B4-BE49-F238E27FC236}">
                <a16:creationId xmlns:a16="http://schemas.microsoft.com/office/drawing/2014/main" id="{0EAC5CD2-E311-4724-BC89-8DD26027F9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25224" y="6486790"/>
            <a:ext cx="581026" cy="365125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C5EA9850-F517-4DEF-B544-6576C888DA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301" y="514350"/>
            <a:ext cx="3333750" cy="5829300"/>
          </a:xfrm>
        </p:spPr>
        <p:txBody>
          <a:bodyPr/>
          <a:lstStyle>
            <a:lvl1pPr marL="266700" indent="-266700">
              <a:buSzPct val="150000"/>
              <a:buFontTx/>
              <a:buBlip>
                <a:blip r:embed="rId3"/>
              </a:buBlip>
              <a:defRPr/>
            </a:lvl1pPr>
          </a:lstStyle>
          <a:p>
            <a:r>
              <a:rPr lang="pt-BR" dirty="0"/>
              <a:t>Título do slide 24pt </a:t>
            </a:r>
            <a:r>
              <a:rPr lang="pt-BR" dirty="0" err="1"/>
              <a:t>bold</a:t>
            </a:r>
            <a:endParaRPr lang="pt-BR" dirty="0"/>
          </a:p>
        </p:txBody>
      </p:sp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71E659A9-D44A-43ED-9436-29389F87966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11D262-DD36-4C3A-9581-B03EDCFD2EDD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4" name="Espaço Reservado para Texto 2">
            <a:extLst>
              <a:ext uri="{FF2B5EF4-FFF2-40B4-BE49-F238E27FC236}">
                <a16:creationId xmlns:a16="http://schemas.microsoft.com/office/drawing/2014/main" id="{FCEEA9B6-5418-4F67-AFEB-DC15834C09F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114924" y="1695450"/>
            <a:ext cx="6238875" cy="44815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180975" indent="-180975">
              <a:buFontTx/>
              <a:buBlip>
                <a:blip r:embed="rId4"/>
              </a:buBlip>
              <a:defRPr/>
            </a:lvl1pPr>
          </a:lstStyle>
          <a:p>
            <a:pPr lvl="0"/>
            <a:r>
              <a:rPr lang="pt-BR" dirty="0" err="1"/>
              <a:t>Bullets</a:t>
            </a:r>
            <a:r>
              <a:rPr lang="pt-BR" dirty="0"/>
              <a:t> points 14pt</a:t>
            </a:r>
          </a:p>
        </p:txBody>
      </p:sp>
      <p:pic>
        <p:nvPicPr>
          <p:cNvPr id="7" name="Imagem 6" descr="Fundo preto com letras brancas&#10;&#10;Descrição gerada automaticamente">
            <a:extLst>
              <a:ext uri="{FF2B5EF4-FFF2-40B4-BE49-F238E27FC236}">
                <a16:creationId xmlns:a16="http://schemas.microsoft.com/office/drawing/2014/main" id="{B611FF59-D7F8-4F42-B444-B8F4A916B40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27464" y="-1"/>
            <a:ext cx="2016885" cy="1303021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9BA2FF42-C8B8-4136-98DE-868982A65F7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07281" y="371209"/>
            <a:ext cx="857249" cy="619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90419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Layout Personaliza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tângulo 13">
            <a:extLst>
              <a:ext uri="{FF2B5EF4-FFF2-40B4-BE49-F238E27FC236}">
                <a16:creationId xmlns:a16="http://schemas.microsoft.com/office/drawing/2014/main" id="{49A6AC31-5533-48F1-8E6D-D360780CC3F0}"/>
              </a:ext>
            </a:extLst>
          </p:cNvPr>
          <p:cNvSpPr/>
          <p:nvPr userDrawn="1"/>
        </p:nvSpPr>
        <p:spPr>
          <a:xfrm>
            <a:off x="0" y="6315075"/>
            <a:ext cx="12192000" cy="5429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latin typeface="Roboto" panose="02000000000000000000" pitchFamily="2" charset="0"/>
            </a:endParaRPr>
          </a:p>
        </p:txBody>
      </p:sp>
      <p:pic>
        <p:nvPicPr>
          <p:cNvPr id="15" name="Imagem 14" descr="Tela de celular com texto preto sobre fundo branco&#10;&#10;Descrição gerada automaticamente">
            <a:extLst>
              <a:ext uri="{FF2B5EF4-FFF2-40B4-BE49-F238E27FC236}">
                <a16:creationId xmlns:a16="http://schemas.microsoft.com/office/drawing/2014/main" id="{73C6AA8E-8186-4530-8A61-D5253A59F0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25224" y="6489701"/>
            <a:ext cx="581025" cy="36830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AD29AA78-3C81-42C4-8D25-086F74CEF0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2500" y="511968"/>
            <a:ext cx="8048625" cy="43338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Título do slide 24pt </a:t>
            </a:r>
            <a:r>
              <a:rPr lang="pt-BR" dirty="0" err="1"/>
              <a:t>bold</a:t>
            </a:r>
            <a:endParaRPr lang="pt-BR" dirty="0"/>
          </a:p>
        </p:txBody>
      </p:sp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4B61F02F-8ED8-41B1-B1AA-E8EA24E7BBB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D11D262-DD36-4C3A-9581-B03EDCFD2EDD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" name="Espaço Reservado para Texto 6">
            <a:extLst>
              <a:ext uri="{FF2B5EF4-FFF2-40B4-BE49-F238E27FC236}">
                <a16:creationId xmlns:a16="http://schemas.microsoft.com/office/drawing/2014/main" id="{B12327D5-667E-493C-AFEA-42A7B768B99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03179" y="1925240"/>
            <a:ext cx="2905126" cy="3502820"/>
          </a:xfrm>
        </p:spPr>
        <p:txBody>
          <a:bodyPr lIns="0" tIns="0" rIns="0" bIns="0" anchor="ctr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pt-BR" dirty="0"/>
              <a:t>Texto corrido 24pt </a:t>
            </a:r>
            <a:r>
              <a:rPr lang="pt-BR" dirty="0" err="1"/>
              <a:t>bold</a:t>
            </a:r>
            <a:r>
              <a:rPr lang="pt-BR" dirty="0"/>
              <a:t>. Exemplo: </a:t>
            </a:r>
            <a:r>
              <a:rPr lang="pt-BR" dirty="0" err="1"/>
              <a:t>Lorem</a:t>
            </a:r>
            <a:r>
              <a:rPr lang="pt-BR" dirty="0"/>
              <a:t> ipsum </a:t>
            </a:r>
            <a:r>
              <a:rPr lang="pt-BR" dirty="0" err="1"/>
              <a:t>dol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amet</a:t>
            </a:r>
            <a:r>
              <a:rPr lang="pt-BR" dirty="0"/>
              <a:t>, </a:t>
            </a:r>
            <a:r>
              <a:rPr lang="pt-BR" dirty="0" err="1"/>
              <a:t>consectetur</a:t>
            </a:r>
            <a:r>
              <a:rPr lang="pt-BR" dirty="0"/>
              <a:t> </a:t>
            </a:r>
            <a:r>
              <a:rPr lang="pt-BR" dirty="0" err="1"/>
              <a:t>adipiscing</a:t>
            </a:r>
            <a:r>
              <a:rPr lang="pt-BR" dirty="0"/>
              <a:t> </a:t>
            </a:r>
            <a:r>
              <a:rPr lang="pt-BR" dirty="0" err="1"/>
              <a:t>elit</a:t>
            </a:r>
            <a:r>
              <a:rPr lang="pt-BR" dirty="0"/>
              <a:t>, </a:t>
            </a:r>
            <a:r>
              <a:rPr lang="pt-BR" dirty="0" err="1"/>
              <a:t>sed</a:t>
            </a:r>
            <a:r>
              <a:rPr lang="pt-BR" dirty="0"/>
              <a:t> do </a:t>
            </a:r>
            <a:r>
              <a:rPr lang="pt-BR" dirty="0" err="1"/>
              <a:t>eiusmod</a:t>
            </a:r>
            <a:r>
              <a:rPr lang="pt-BR" dirty="0"/>
              <a:t> </a:t>
            </a:r>
            <a:r>
              <a:rPr lang="pt-BR" dirty="0" err="1"/>
              <a:t>tempor</a:t>
            </a:r>
            <a:r>
              <a:rPr lang="pt-BR" dirty="0"/>
              <a:t> t ut labore et </a:t>
            </a:r>
            <a:r>
              <a:rPr lang="pt-BR" dirty="0" err="1"/>
              <a:t>dolore</a:t>
            </a:r>
            <a:r>
              <a:rPr lang="pt-BR" dirty="0"/>
              <a:t> magna </a:t>
            </a:r>
            <a:r>
              <a:rPr lang="pt-BR" dirty="0" err="1"/>
              <a:t>aliqua</a:t>
            </a:r>
            <a:r>
              <a:rPr lang="pt-BR" dirty="0"/>
              <a:t>.</a:t>
            </a:r>
          </a:p>
        </p:txBody>
      </p:sp>
      <p:sp>
        <p:nvSpPr>
          <p:cNvPr id="5" name="Espaço Reservado para Texto 6">
            <a:extLst>
              <a:ext uri="{FF2B5EF4-FFF2-40B4-BE49-F238E27FC236}">
                <a16:creationId xmlns:a16="http://schemas.microsoft.com/office/drawing/2014/main" id="{9A48E566-0819-4C52-9FC8-C377B2BC073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00600" y="1609725"/>
            <a:ext cx="6724650" cy="4133850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pt-BR" dirty="0"/>
              <a:t>Texto corrido 14pt. </a:t>
            </a:r>
            <a:r>
              <a:rPr lang="pt-BR" dirty="0" err="1"/>
              <a:t>Lorem</a:t>
            </a:r>
            <a:r>
              <a:rPr lang="pt-BR" dirty="0"/>
              <a:t> ipsum </a:t>
            </a:r>
            <a:r>
              <a:rPr lang="pt-BR" dirty="0" err="1"/>
              <a:t>dol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amet</a:t>
            </a:r>
            <a:r>
              <a:rPr lang="pt-BR" dirty="0"/>
              <a:t>, </a:t>
            </a:r>
            <a:r>
              <a:rPr lang="pt-BR" dirty="0" err="1"/>
              <a:t>consectetuer</a:t>
            </a:r>
            <a:r>
              <a:rPr lang="pt-BR" dirty="0"/>
              <a:t> </a:t>
            </a:r>
            <a:r>
              <a:rPr lang="pt-BR" dirty="0" err="1"/>
              <a:t>adipiscing</a:t>
            </a:r>
            <a:r>
              <a:rPr lang="pt-BR" dirty="0"/>
              <a:t> </a:t>
            </a:r>
            <a:r>
              <a:rPr lang="pt-BR" dirty="0" err="1"/>
              <a:t>elit</a:t>
            </a:r>
            <a:r>
              <a:rPr lang="pt-BR" dirty="0"/>
              <a:t>, </a:t>
            </a:r>
            <a:r>
              <a:rPr lang="pt-BR" dirty="0" err="1"/>
              <a:t>sed</a:t>
            </a:r>
            <a:r>
              <a:rPr lang="pt-BR" dirty="0"/>
              <a:t> </a:t>
            </a:r>
            <a:r>
              <a:rPr lang="pt-BR" dirty="0" err="1"/>
              <a:t>diam</a:t>
            </a:r>
            <a:r>
              <a:rPr lang="pt-BR" dirty="0"/>
              <a:t> </a:t>
            </a:r>
            <a:r>
              <a:rPr lang="pt-BR" dirty="0" err="1"/>
              <a:t>nonummy</a:t>
            </a:r>
            <a:r>
              <a:rPr lang="pt-BR" dirty="0"/>
              <a:t> </a:t>
            </a:r>
            <a:r>
              <a:rPr lang="pt-BR" dirty="0" err="1"/>
              <a:t>nibh</a:t>
            </a:r>
            <a:r>
              <a:rPr lang="pt-BR" dirty="0"/>
              <a:t> </a:t>
            </a:r>
            <a:r>
              <a:rPr lang="pt-BR" dirty="0" err="1"/>
              <a:t>euismod</a:t>
            </a:r>
            <a:r>
              <a:rPr lang="pt-BR" dirty="0"/>
              <a:t> </a:t>
            </a:r>
            <a:r>
              <a:rPr lang="pt-BR" dirty="0" err="1"/>
              <a:t>tincidunt</a:t>
            </a:r>
            <a:r>
              <a:rPr lang="pt-BR" dirty="0"/>
              <a:t> ut </a:t>
            </a:r>
            <a:r>
              <a:rPr lang="pt-BR" dirty="0" err="1"/>
              <a:t>laoreet</a:t>
            </a:r>
            <a:r>
              <a:rPr lang="pt-BR" dirty="0"/>
              <a:t> </a:t>
            </a:r>
            <a:r>
              <a:rPr lang="pt-BR" dirty="0" err="1"/>
              <a:t>dolore</a:t>
            </a:r>
            <a:r>
              <a:rPr lang="pt-BR" dirty="0"/>
              <a:t> magna </a:t>
            </a:r>
            <a:r>
              <a:rPr lang="pt-BR" dirty="0" err="1"/>
              <a:t>aliquam</a:t>
            </a:r>
            <a:r>
              <a:rPr lang="pt-BR" dirty="0"/>
              <a:t> erat </a:t>
            </a:r>
            <a:r>
              <a:rPr lang="pt-BR" dirty="0" err="1"/>
              <a:t>volutpat</a:t>
            </a:r>
            <a:r>
              <a:rPr lang="pt-BR" dirty="0"/>
              <a:t>. </a:t>
            </a:r>
          </a:p>
          <a:p>
            <a:r>
              <a:rPr lang="pt-BR" dirty="0" err="1"/>
              <a:t>Amet</a:t>
            </a:r>
            <a:r>
              <a:rPr lang="pt-BR" dirty="0"/>
              <a:t>, </a:t>
            </a:r>
            <a:r>
              <a:rPr lang="pt-BR" dirty="0" err="1"/>
              <a:t>consectetuer</a:t>
            </a:r>
            <a:r>
              <a:rPr lang="pt-BR" dirty="0"/>
              <a:t> </a:t>
            </a:r>
            <a:r>
              <a:rPr lang="pt-BR" dirty="0" err="1"/>
              <a:t>adipiscing</a:t>
            </a:r>
            <a:r>
              <a:rPr lang="pt-BR" dirty="0"/>
              <a:t> </a:t>
            </a:r>
            <a:r>
              <a:rPr lang="pt-BR" dirty="0" err="1"/>
              <a:t>elit</a:t>
            </a:r>
            <a:r>
              <a:rPr lang="pt-BR" dirty="0"/>
              <a:t>, </a:t>
            </a:r>
            <a:r>
              <a:rPr lang="pt-BR" dirty="0" err="1"/>
              <a:t>sed</a:t>
            </a:r>
            <a:r>
              <a:rPr lang="pt-BR" dirty="0"/>
              <a:t> </a:t>
            </a:r>
            <a:r>
              <a:rPr lang="pt-BR" dirty="0" err="1"/>
              <a:t>diam</a:t>
            </a:r>
            <a:r>
              <a:rPr lang="pt-BR" dirty="0"/>
              <a:t> </a:t>
            </a:r>
            <a:r>
              <a:rPr lang="pt-BR" dirty="0" err="1"/>
              <a:t>nonummy</a:t>
            </a:r>
            <a:r>
              <a:rPr lang="pt-BR" dirty="0"/>
              <a:t> </a:t>
            </a:r>
            <a:r>
              <a:rPr lang="pt-BR" dirty="0" err="1"/>
              <a:t>nibh</a:t>
            </a:r>
            <a:r>
              <a:rPr lang="pt-BR" dirty="0"/>
              <a:t> </a:t>
            </a:r>
            <a:r>
              <a:rPr lang="pt-BR" dirty="0" err="1"/>
              <a:t>euismod</a:t>
            </a:r>
            <a:r>
              <a:rPr lang="pt-BR" dirty="0"/>
              <a:t> </a:t>
            </a:r>
            <a:r>
              <a:rPr lang="pt-BR" dirty="0" err="1"/>
              <a:t>tincidunt</a:t>
            </a:r>
            <a:r>
              <a:rPr lang="pt-BR" dirty="0"/>
              <a:t> ut </a:t>
            </a:r>
            <a:r>
              <a:rPr lang="pt-BR" dirty="0" err="1"/>
              <a:t>laoreet</a:t>
            </a:r>
            <a:r>
              <a:rPr lang="pt-BR" dirty="0"/>
              <a:t> </a:t>
            </a:r>
            <a:r>
              <a:rPr lang="pt-BR" dirty="0" err="1"/>
              <a:t>dolore</a:t>
            </a:r>
            <a:r>
              <a:rPr lang="pt-BR" dirty="0"/>
              <a:t> magna </a:t>
            </a:r>
            <a:r>
              <a:rPr lang="pt-BR" dirty="0" err="1"/>
              <a:t>aliquam</a:t>
            </a:r>
            <a:r>
              <a:rPr lang="pt-BR" dirty="0"/>
              <a:t> erat </a:t>
            </a:r>
            <a:r>
              <a:rPr lang="pt-BR" dirty="0" err="1"/>
              <a:t>volutpat</a:t>
            </a:r>
            <a:r>
              <a:rPr lang="pt-BR" dirty="0"/>
              <a:t>. </a:t>
            </a:r>
            <a:r>
              <a:rPr lang="pt-BR" dirty="0" err="1"/>
              <a:t>Lorem</a:t>
            </a:r>
            <a:r>
              <a:rPr lang="pt-BR" dirty="0"/>
              <a:t> ipsum </a:t>
            </a:r>
            <a:r>
              <a:rPr lang="pt-BR" dirty="0" err="1"/>
              <a:t>dol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amet</a:t>
            </a:r>
            <a:r>
              <a:rPr lang="pt-BR" dirty="0"/>
              <a:t>, </a:t>
            </a:r>
            <a:r>
              <a:rPr lang="pt-BR" dirty="0" err="1"/>
              <a:t>consectetuer</a:t>
            </a:r>
            <a:r>
              <a:rPr lang="pt-BR" dirty="0"/>
              <a:t> </a:t>
            </a:r>
            <a:r>
              <a:rPr lang="pt-BR" dirty="0" err="1"/>
              <a:t>adipiscing</a:t>
            </a:r>
            <a:r>
              <a:rPr lang="pt-BR" dirty="0"/>
              <a:t> </a:t>
            </a:r>
            <a:r>
              <a:rPr lang="pt-BR" dirty="0" err="1"/>
              <a:t>elit</a:t>
            </a:r>
            <a:r>
              <a:rPr lang="pt-BR" dirty="0"/>
              <a:t>, </a:t>
            </a:r>
            <a:r>
              <a:rPr lang="pt-BR" dirty="0" err="1"/>
              <a:t>sed</a:t>
            </a:r>
            <a:r>
              <a:rPr lang="pt-BR" dirty="0"/>
              <a:t> </a:t>
            </a:r>
            <a:r>
              <a:rPr lang="pt-BR" dirty="0" err="1"/>
              <a:t>diam</a:t>
            </a:r>
            <a:r>
              <a:rPr lang="pt-BR" dirty="0"/>
              <a:t> </a:t>
            </a:r>
            <a:r>
              <a:rPr lang="pt-BR" dirty="0" err="1"/>
              <a:t>nonummy</a:t>
            </a:r>
            <a:r>
              <a:rPr lang="pt-BR" dirty="0"/>
              <a:t> </a:t>
            </a:r>
            <a:r>
              <a:rPr lang="pt-BR" dirty="0" err="1"/>
              <a:t>nibh</a:t>
            </a:r>
            <a:r>
              <a:rPr lang="pt-BR" dirty="0"/>
              <a:t> </a:t>
            </a:r>
            <a:r>
              <a:rPr lang="pt-BR" dirty="0" err="1"/>
              <a:t>euismod</a:t>
            </a:r>
            <a:r>
              <a:rPr lang="pt-BR" dirty="0"/>
              <a:t> </a:t>
            </a:r>
            <a:r>
              <a:rPr lang="pt-BR" dirty="0" err="1"/>
              <a:t>tincidunt</a:t>
            </a:r>
            <a:r>
              <a:rPr lang="pt-BR" dirty="0"/>
              <a:t> ut </a:t>
            </a:r>
            <a:r>
              <a:rPr lang="pt-BR" dirty="0" err="1"/>
              <a:t>laoreet</a:t>
            </a:r>
            <a:r>
              <a:rPr lang="pt-BR" dirty="0"/>
              <a:t> </a:t>
            </a:r>
            <a:r>
              <a:rPr lang="pt-BR" dirty="0" err="1"/>
              <a:t>dolore</a:t>
            </a:r>
            <a:r>
              <a:rPr lang="pt-BR" dirty="0"/>
              <a:t> magna </a:t>
            </a:r>
            <a:r>
              <a:rPr lang="pt-BR" dirty="0" err="1"/>
              <a:t>aliquam</a:t>
            </a:r>
            <a:r>
              <a:rPr lang="pt-BR" dirty="0"/>
              <a:t> erat </a:t>
            </a:r>
            <a:r>
              <a:rPr lang="pt-BR" dirty="0" err="1"/>
              <a:t>volutpat</a:t>
            </a:r>
            <a:r>
              <a:rPr lang="pt-BR" dirty="0"/>
              <a:t> ut </a:t>
            </a:r>
            <a:r>
              <a:rPr lang="pt-BR" dirty="0" err="1"/>
              <a:t>laoreet</a:t>
            </a:r>
            <a:r>
              <a:rPr lang="pt-BR" dirty="0"/>
              <a:t> </a:t>
            </a:r>
            <a:r>
              <a:rPr lang="pt-BR" dirty="0" err="1"/>
              <a:t>dolore</a:t>
            </a:r>
            <a:r>
              <a:rPr lang="pt-BR" dirty="0"/>
              <a:t> magna </a:t>
            </a:r>
            <a:r>
              <a:rPr lang="pt-BR" dirty="0" err="1"/>
              <a:t>aliquam</a:t>
            </a:r>
            <a:r>
              <a:rPr lang="pt-BR" dirty="0"/>
              <a:t> erat </a:t>
            </a:r>
            <a:r>
              <a:rPr lang="pt-BR" dirty="0" err="1"/>
              <a:t>volutpat</a:t>
            </a:r>
            <a:r>
              <a:rPr lang="pt-BR" dirty="0"/>
              <a:t>. </a:t>
            </a:r>
          </a:p>
          <a:p>
            <a:r>
              <a:rPr lang="pt-BR" dirty="0" err="1"/>
              <a:t>Lorem</a:t>
            </a:r>
            <a:r>
              <a:rPr lang="pt-BR" dirty="0"/>
              <a:t> ipsum </a:t>
            </a:r>
            <a:r>
              <a:rPr lang="pt-BR" dirty="0" err="1"/>
              <a:t>dol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amet</a:t>
            </a:r>
            <a:r>
              <a:rPr lang="pt-BR" dirty="0"/>
              <a:t>, </a:t>
            </a:r>
            <a:r>
              <a:rPr lang="pt-BR" dirty="0" err="1"/>
              <a:t>consectetuer</a:t>
            </a:r>
            <a:r>
              <a:rPr lang="pt-BR" dirty="0"/>
              <a:t> </a:t>
            </a:r>
            <a:r>
              <a:rPr lang="pt-BR" dirty="0" err="1"/>
              <a:t>adipiscing</a:t>
            </a:r>
            <a:r>
              <a:rPr lang="pt-BR" dirty="0"/>
              <a:t> </a:t>
            </a:r>
            <a:r>
              <a:rPr lang="pt-BR" dirty="0" err="1"/>
              <a:t>elit</a:t>
            </a:r>
            <a:r>
              <a:rPr lang="pt-BR" dirty="0"/>
              <a:t>, </a:t>
            </a:r>
            <a:r>
              <a:rPr lang="pt-BR" dirty="0" err="1"/>
              <a:t>sed</a:t>
            </a:r>
            <a:r>
              <a:rPr lang="pt-BR" dirty="0"/>
              <a:t> </a:t>
            </a:r>
            <a:r>
              <a:rPr lang="pt-BR" dirty="0" err="1"/>
              <a:t>diam</a:t>
            </a:r>
            <a:r>
              <a:rPr lang="pt-BR" dirty="0"/>
              <a:t> </a:t>
            </a:r>
            <a:r>
              <a:rPr lang="pt-BR" dirty="0" err="1"/>
              <a:t>nonummy</a:t>
            </a:r>
            <a:r>
              <a:rPr lang="pt-BR" dirty="0"/>
              <a:t> </a:t>
            </a:r>
            <a:r>
              <a:rPr lang="pt-BR" dirty="0" err="1"/>
              <a:t>nibh</a:t>
            </a:r>
            <a:r>
              <a:rPr lang="pt-BR" dirty="0"/>
              <a:t> </a:t>
            </a:r>
            <a:r>
              <a:rPr lang="pt-BR" dirty="0" err="1"/>
              <a:t>euismod</a:t>
            </a:r>
            <a:r>
              <a:rPr lang="pt-BR" dirty="0"/>
              <a:t> </a:t>
            </a:r>
            <a:r>
              <a:rPr lang="pt-BR" dirty="0" err="1"/>
              <a:t>tincidunt</a:t>
            </a:r>
            <a:r>
              <a:rPr lang="pt-BR" dirty="0"/>
              <a:t> ut </a:t>
            </a:r>
            <a:r>
              <a:rPr lang="pt-BR" dirty="0" err="1"/>
              <a:t>laoreet</a:t>
            </a:r>
            <a:r>
              <a:rPr lang="pt-BR" dirty="0"/>
              <a:t> </a:t>
            </a:r>
            <a:r>
              <a:rPr lang="pt-BR" dirty="0" err="1"/>
              <a:t>dolore</a:t>
            </a:r>
            <a:r>
              <a:rPr lang="pt-BR" dirty="0"/>
              <a:t>.</a:t>
            </a:r>
          </a:p>
          <a:p>
            <a:r>
              <a:rPr lang="pt-BR" dirty="0"/>
              <a:t>Ut </a:t>
            </a:r>
            <a:r>
              <a:rPr lang="pt-BR" dirty="0" err="1"/>
              <a:t>laoreet</a:t>
            </a:r>
            <a:r>
              <a:rPr lang="pt-BR" dirty="0"/>
              <a:t> </a:t>
            </a:r>
            <a:r>
              <a:rPr lang="pt-BR" dirty="0" err="1"/>
              <a:t>dolore</a:t>
            </a:r>
            <a:r>
              <a:rPr lang="pt-BR" dirty="0"/>
              <a:t> magna </a:t>
            </a:r>
            <a:r>
              <a:rPr lang="pt-BR" dirty="0" err="1"/>
              <a:t>aliquam</a:t>
            </a:r>
            <a:r>
              <a:rPr lang="pt-BR" dirty="0"/>
              <a:t> erat </a:t>
            </a:r>
            <a:r>
              <a:rPr lang="pt-BR" dirty="0" err="1"/>
              <a:t>volutpat</a:t>
            </a:r>
            <a:r>
              <a:rPr lang="pt-BR" dirty="0"/>
              <a:t> ipsum </a:t>
            </a:r>
            <a:r>
              <a:rPr lang="pt-BR" dirty="0" err="1"/>
              <a:t>dol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amet</a:t>
            </a:r>
            <a:r>
              <a:rPr lang="pt-BR" dirty="0"/>
              <a:t>, </a:t>
            </a:r>
            <a:r>
              <a:rPr lang="pt-BR" dirty="0" err="1"/>
              <a:t>consectetuer</a:t>
            </a:r>
            <a:r>
              <a:rPr lang="pt-BR" dirty="0"/>
              <a:t> </a:t>
            </a:r>
            <a:r>
              <a:rPr lang="pt-BR" dirty="0" err="1"/>
              <a:t>adipiscing</a:t>
            </a:r>
            <a:r>
              <a:rPr lang="pt-BR" dirty="0"/>
              <a:t> </a:t>
            </a:r>
            <a:r>
              <a:rPr lang="pt-BR" dirty="0" err="1"/>
              <a:t>elit</a:t>
            </a:r>
            <a:r>
              <a:rPr lang="pt-BR" dirty="0"/>
              <a:t>, </a:t>
            </a:r>
            <a:r>
              <a:rPr lang="pt-BR" dirty="0" err="1"/>
              <a:t>sed</a:t>
            </a:r>
            <a:r>
              <a:rPr lang="pt-BR" dirty="0"/>
              <a:t> </a:t>
            </a:r>
            <a:r>
              <a:rPr lang="pt-BR" dirty="0" err="1"/>
              <a:t>diam</a:t>
            </a:r>
            <a:r>
              <a:rPr lang="pt-BR" dirty="0"/>
              <a:t> </a:t>
            </a:r>
            <a:r>
              <a:rPr lang="pt-BR" dirty="0" err="1"/>
              <a:t>nonummy</a:t>
            </a:r>
            <a:r>
              <a:rPr lang="pt-BR" dirty="0"/>
              <a:t> </a:t>
            </a:r>
            <a:r>
              <a:rPr lang="pt-BR" dirty="0" err="1"/>
              <a:t>nibh</a:t>
            </a:r>
            <a:r>
              <a:rPr lang="pt-BR" dirty="0"/>
              <a:t> </a:t>
            </a:r>
            <a:r>
              <a:rPr lang="pt-BR" dirty="0" err="1"/>
              <a:t>euismod</a:t>
            </a:r>
            <a:r>
              <a:rPr lang="pt-BR" dirty="0"/>
              <a:t> </a:t>
            </a:r>
            <a:r>
              <a:rPr lang="pt-BR" dirty="0" err="1"/>
              <a:t>tincidunt</a:t>
            </a:r>
            <a:r>
              <a:rPr lang="pt-BR" dirty="0"/>
              <a:t>.</a:t>
            </a: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B6734850-6465-4560-89B8-798F3208D0F1}"/>
              </a:ext>
            </a:extLst>
          </p:cNvPr>
          <p:cNvSpPr/>
          <p:nvPr userDrawn="1"/>
        </p:nvSpPr>
        <p:spPr>
          <a:xfrm>
            <a:off x="542441" y="1609725"/>
            <a:ext cx="3626603" cy="413385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accent2"/>
              </a:solidFill>
              <a:latin typeface="Roboto" panose="02000000000000000000" pitchFamily="2" charset="0"/>
            </a:endParaRPr>
          </a:p>
        </p:txBody>
      </p:sp>
      <p:pic>
        <p:nvPicPr>
          <p:cNvPr id="8" name="Imagem 7" descr="Uma imagem contendo edifício&#10;&#10;Descrição gerada automaticamente">
            <a:extLst>
              <a:ext uri="{FF2B5EF4-FFF2-40B4-BE49-F238E27FC236}">
                <a16:creationId xmlns:a16="http://schemas.microsoft.com/office/drawing/2014/main" id="{3516EFC3-5D25-4F33-B81D-7A9AF5DF367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5753" y="350847"/>
            <a:ext cx="407426" cy="594509"/>
          </a:xfrm>
          <a:prstGeom prst="rect">
            <a:avLst/>
          </a:prstGeom>
        </p:spPr>
      </p:pic>
      <p:pic>
        <p:nvPicPr>
          <p:cNvPr id="9" name="Imagem 8" descr="Uma imagem contendo relógio, placar&#10;&#10;Descrição gerada automaticamente">
            <a:extLst>
              <a:ext uri="{FF2B5EF4-FFF2-40B4-BE49-F238E27FC236}">
                <a16:creationId xmlns:a16="http://schemas.microsoft.com/office/drawing/2014/main" id="{DDC40C56-C999-4749-98EC-33F253BBD88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20401" y="389993"/>
            <a:ext cx="857250" cy="619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396063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_Layout Personaliza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id="{CEA1E46D-6AD8-4A25-9735-49356B648BC8}"/>
              </a:ext>
            </a:extLst>
          </p:cNvPr>
          <p:cNvSpPr/>
          <p:nvPr userDrawn="1"/>
        </p:nvSpPr>
        <p:spPr>
          <a:xfrm>
            <a:off x="0" y="0"/>
            <a:ext cx="12192000" cy="272770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latin typeface="Roboto" panose="02000000000000000000" pitchFamily="2" charset="0"/>
            </a:endParaRPr>
          </a:p>
        </p:txBody>
      </p:sp>
      <p:sp>
        <p:nvSpPr>
          <p:cNvPr id="4" name="Título 6">
            <a:extLst>
              <a:ext uri="{FF2B5EF4-FFF2-40B4-BE49-F238E27FC236}">
                <a16:creationId xmlns:a16="http://schemas.microsoft.com/office/drawing/2014/main" id="{8AA79B1B-C358-4999-9B3B-7A108B4730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12264" y="1241211"/>
            <a:ext cx="7677150" cy="4333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 dirty="0"/>
              <a:t>Título do slide 24pt </a:t>
            </a:r>
            <a:r>
              <a:rPr lang="pt-BR" dirty="0" err="1"/>
              <a:t>bold</a:t>
            </a:r>
            <a:endParaRPr lang="pt-BR" dirty="0"/>
          </a:p>
        </p:txBody>
      </p:sp>
      <p:sp>
        <p:nvSpPr>
          <p:cNvPr id="5" name="Espaço Reservado para Texto 6">
            <a:extLst>
              <a:ext uri="{FF2B5EF4-FFF2-40B4-BE49-F238E27FC236}">
                <a16:creationId xmlns:a16="http://schemas.microsoft.com/office/drawing/2014/main" id="{8F232A95-8CBC-4C04-AAA0-9C4AE4426B2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12264" y="1753180"/>
            <a:ext cx="7677150" cy="152400"/>
          </a:xfrm>
        </p:spPr>
        <p:txBody>
          <a:bodyPr lIns="0" tIns="0" rIns="0" bIns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accent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Subtítulo do slide 12pt</a:t>
            </a:r>
          </a:p>
        </p:txBody>
      </p:sp>
      <p:sp>
        <p:nvSpPr>
          <p:cNvPr id="6" name="Espaço Reservado para Imagem 8">
            <a:extLst>
              <a:ext uri="{FF2B5EF4-FFF2-40B4-BE49-F238E27FC236}">
                <a16:creationId xmlns:a16="http://schemas.microsoft.com/office/drawing/2014/main" id="{90F4B0A9-C84D-40AC-9FC9-1F996EC33D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295900" y="3225000"/>
            <a:ext cx="1600200" cy="1176338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1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pt-BR"/>
          </a:p>
        </p:txBody>
      </p:sp>
      <p:sp>
        <p:nvSpPr>
          <p:cNvPr id="7" name="Espaço Reservado para Imagem 8">
            <a:extLst>
              <a:ext uri="{FF2B5EF4-FFF2-40B4-BE49-F238E27FC236}">
                <a16:creationId xmlns:a16="http://schemas.microsoft.com/office/drawing/2014/main" id="{AF42DD30-BF25-4319-BCAA-6BE07860F18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148762" y="3224999"/>
            <a:ext cx="1600200" cy="1176338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1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pt-BR" dirty="0"/>
          </a:p>
        </p:txBody>
      </p:sp>
      <p:sp>
        <p:nvSpPr>
          <p:cNvPr id="8" name="Espaço Reservado para Imagem 8">
            <a:extLst>
              <a:ext uri="{FF2B5EF4-FFF2-40B4-BE49-F238E27FC236}">
                <a16:creationId xmlns:a16="http://schemas.microsoft.com/office/drawing/2014/main" id="{85BB6221-C41E-4EB4-A154-009880EF6C2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393031" y="3228178"/>
            <a:ext cx="1600200" cy="1176338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1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pt-BR" dirty="0"/>
          </a:p>
        </p:txBody>
      </p:sp>
      <p:sp>
        <p:nvSpPr>
          <p:cNvPr id="9" name="Espaço Reservado para Texto 6">
            <a:extLst>
              <a:ext uri="{FF2B5EF4-FFF2-40B4-BE49-F238E27FC236}">
                <a16:creationId xmlns:a16="http://schemas.microsoft.com/office/drawing/2014/main" id="{D0A7D6CA-5E85-4A3C-B1B7-71E4348CCB4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8668" y="4702171"/>
            <a:ext cx="2752726" cy="1441453"/>
          </a:xfrm>
        </p:spPr>
        <p:txBody>
          <a:bodyPr lIns="0" tIns="0" rIns="0" bIns="0" anchor="t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pt-BR" dirty="0"/>
              <a:t>Texto corrido 12pt. Exemplo: </a:t>
            </a:r>
            <a:r>
              <a:rPr lang="pt-BR" dirty="0" err="1"/>
              <a:t>Lorem</a:t>
            </a:r>
            <a:r>
              <a:rPr lang="pt-BR" dirty="0"/>
              <a:t> ipsum </a:t>
            </a:r>
            <a:r>
              <a:rPr lang="pt-BR" dirty="0" err="1"/>
              <a:t>dol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amet</a:t>
            </a:r>
            <a:r>
              <a:rPr lang="pt-BR" dirty="0"/>
              <a:t>, </a:t>
            </a:r>
            <a:r>
              <a:rPr lang="pt-BR" dirty="0" err="1"/>
              <a:t>consectetur</a:t>
            </a:r>
            <a:r>
              <a:rPr lang="pt-BR" dirty="0"/>
              <a:t> </a:t>
            </a:r>
            <a:r>
              <a:rPr lang="pt-BR" dirty="0" err="1"/>
              <a:t>adipiscing</a:t>
            </a:r>
            <a:r>
              <a:rPr lang="pt-BR" dirty="0"/>
              <a:t> </a:t>
            </a:r>
            <a:r>
              <a:rPr lang="pt-BR" dirty="0" err="1"/>
              <a:t>elit</a:t>
            </a:r>
            <a:r>
              <a:rPr lang="pt-BR" dirty="0"/>
              <a:t>, </a:t>
            </a:r>
            <a:r>
              <a:rPr lang="pt-BR" dirty="0" err="1"/>
              <a:t>sed</a:t>
            </a:r>
            <a:r>
              <a:rPr lang="pt-BR" dirty="0"/>
              <a:t> do </a:t>
            </a:r>
            <a:r>
              <a:rPr lang="pt-BR" dirty="0" err="1"/>
              <a:t>eiusmod</a:t>
            </a:r>
            <a:r>
              <a:rPr lang="pt-BR" dirty="0"/>
              <a:t> </a:t>
            </a:r>
            <a:r>
              <a:rPr lang="pt-BR" dirty="0" err="1"/>
              <a:t>tempor</a:t>
            </a:r>
            <a:r>
              <a:rPr lang="pt-BR" dirty="0"/>
              <a:t> </a:t>
            </a:r>
            <a:r>
              <a:rPr lang="pt-BR" dirty="0" err="1"/>
              <a:t>incididunt</a:t>
            </a:r>
            <a:r>
              <a:rPr lang="pt-BR" dirty="0"/>
              <a:t> ut labore et </a:t>
            </a:r>
            <a:r>
              <a:rPr lang="pt-BR" dirty="0" err="1"/>
              <a:t>dolore</a:t>
            </a:r>
            <a:r>
              <a:rPr lang="pt-BR" dirty="0"/>
              <a:t> magna </a:t>
            </a:r>
            <a:r>
              <a:rPr lang="pt-BR" dirty="0" err="1"/>
              <a:t>aliqua</a:t>
            </a:r>
            <a:r>
              <a:rPr lang="pt-BR" dirty="0"/>
              <a:t>.</a:t>
            </a:r>
          </a:p>
        </p:txBody>
      </p:sp>
      <p:sp>
        <p:nvSpPr>
          <p:cNvPr id="10" name="Espaço Reservado para Texto 6">
            <a:extLst>
              <a:ext uri="{FF2B5EF4-FFF2-40B4-BE49-F238E27FC236}">
                <a16:creationId xmlns:a16="http://schemas.microsoft.com/office/drawing/2014/main" id="{7367E656-3BF6-4787-8CFA-5267AD159E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72499" y="4702171"/>
            <a:ext cx="2752726" cy="1441451"/>
          </a:xfrm>
        </p:spPr>
        <p:txBody>
          <a:bodyPr lIns="0" tIns="0" rIns="0" bIns="0" anchor="t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pt-BR" dirty="0"/>
              <a:t>Texto corrido 12pt. Exemplo: </a:t>
            </a:r>
            <a:r>
              <a:rPr lang="pt-BR" dirty="0" err="1"/>
              <a:t>Lorem</a:t>
            </a:r>
            <a:r>
              <a:rPr lang="pt-BR" dirty="0"/>
              <a:t> ipsum </a:t>
            </a:r>
            <a:r>
              <a:rPr lang="pt-BR" dirty="0" err="1"/>
              <a:t>dol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amet</a:t>
            </a:r>
            <a:r>
              <a:rPr lang="pt-BR" dirty="0"/>
              <a:t>, </a:t>
            </a:r>
            <a:r>
              <a:rPr lang="pt-BR" dirty="0" err="1"/>
              <a:t>consectetur</a:t>
            </a:r>
            <a:r>
              <a:rPr lang="pt-BR" dirty="0"/>
              <a:t> </a:t>
            </a:r>
            <a:r>
              <a:rPr lang="pt-BR" dirty="0" err="1"/>
              <a:t>adipiscing</a:t>
            </a:r>
            <a:r>
              <a:rPr lang="pt-BR" dirty="0"/>
              <a:t> </a:t>
            </a:r>
            <a:r>
              <a:rPr lang="pt-BR" dirty="0" err="1"/>
              <a:t>elit</a:t>
            </a:r>
            <a:r>
              <a:rPr lang="pt-BR" dirty="0"/>
              <a:t>, </a:t>
            </a:r>
            <a:r>
              <a:rPr lang="pt-BR" dirty="0" err="1"/>
              <a:t>sed</a:t>
            </a:r>
            <a:r>
              <a:rPr lang="pt-BR" dirty="0"/>
              <a:t> do </a:t>
            </a:r>
            <a:r>
              <a:rPr lang="pt-BR" dirty="0" err="1"/>
              <a:t>eiusmod</a:t>
            </a:r>
            <a:r>
              <a:rPr lang="pt-BR" dirty="0"/>
              <a:t> </a:t>
            </a:r>
            <a:r>
              <a:rPr lang="pt-BR" dirty="0" err="1"/>
              <a:t>tempor</a:t>
            </a:r>
            <a:r>
              <a:rPr lang="pt-BR" dirty="0"/>
              <a:t> </a:t>
            </a:r>
            <a:r>
              <a:rPr lang="pt-BR" dirty="0" err="1"/>
              <a:t>incididunt</a:t>
            </a:r>
            <a:r>
              <a:rPr lang="pt-BR" dirty="0"/>
              <a:t> ut labore et </a:t>
            </a:r>
            <a:r>
              <a:rPr lang="pt-BR" dirty="0" err="1"/>
              <a:t>dolore</a:t>
            </a:r>
            <a:r>
              <a:rPr lang="pt-BR" dirty="0"/>
              <a:t> magna </a:t>
            </a:r>
            <a:r>
              <a:rPr lang="pt-BR" dirty="0" err="1"/>
              <a:t>aliqua</a:t>
            </a:r>
            <a:r>
              <a:rPr lang="pt-BR" dirty="0"/>
              <a:t>.</a:t>
            </a:r>
          </a:p>
        </p:txBody>
      </p:sp>
      <p:sp>
        <p:nvSpPr>
          <p:cNvPr id="11" name="Espaço Reservado para Texto 6">
            <a:extLst>
              <a:ext uri="{FF2B5EF4-FFF2-40B4-BE49-F238E27FC236}">
                <a16:creationId xmlns:a16="http://schemas.microsoft.com/office/drawing/2014/main" id="{37A44F36-B2D6-4AB2-8D1B-1CD4B3AC9C9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19637" y="4702172"/>
            <a:ext cx="2752726" cy="1441452"/>
          </a:xfrm>
        </p:spPr>
        <p:txBody>
          <a:bodyPr lIns="0" tIns="0" rIns="0" bIns="0" anchor="t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pt-BR" dirty="0"/>
              <a:t>Texto corrido 12pt. Exemplo: </a:t>
            </a:r>
            <a:r>
              <a:rPr lang="pt-BR" dirty="0" err="1"/>
              <a:t>Lorem</a:t>
            </a:r>
            <a:r>
              <a:rPr lang="pt-BR" dirty="0"/>
              <a:t> ipsum </a:t>
            </a:r>
            <a:r>
              <a:rPr lang="pt-BR" dirty="0" err="1"/>
              <a:t>dol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amet</a:t>
            </a:r>
            <a:r>
              <a:rPr lang="pt-BR" dirty="0"/>
              <a:t>, </a:t>
            </a:r>
            <a:r>
              <a:rPr lang="pt-BR" dirty="0" err="1"/>
              <a:t>consectetur</a:t>
            </a:r>
            <a:r>
              <a:rPr lang="pt-BR" dirty="0"/>
              <a:t> </a:t>
            </a:r>
            <a:r>
              <a:rPr lang="pt-BR" dirty="0" err="1"/>
              <a:t>adipiscing</a:t>
            </a:r>
            <a:r>
              <a:rPr lang="pt-BR" dirty="0"/>
              <a:t> </a:t>
            </a:r>
            <a:r>
              <a:rPr lang="pt-BR" dirty="0" err="1"/>
              <a:t>elit</a:t>
            </a:r>
            <a:r>
              <a:rPr lang="pt-BR" dirty="0"/>
              <a:t>, </a:t>
            </a:r>
            <a:r>
              <a:rPr lang="pt-BR" dirty="0" err="1"/>
              <a:t>sed</a:t>
            </a:r>
            <a:r>
              <a:rPr lang="pt-BR" dirty="0"/>
              <a:t> do </a:t>
            </a:r>
            <a:r>
              <a:rPr lang="pt-BR" dirty="0" err="1"/>
              <a:t>eiusmod</a:t>
            </a:r>
            <a:r>
              <a:rPr lang="pt-BR" dirty="0"/>
              <a:t> </a:t>
            </a:r>
            <a:r>
              <a:rPr lang="pt-BR" dirty="0" err="1"/>
              <a:t>tempor</a:t>
            </a:r>
            <a:r>
              <a:rPr lang="pt-BR" dirty="0"/>
              <a:t> </a:t>
            </a:r>
            <a:r>
              <a:rPr lang="pt-BR" dirty="0" err="1"/>
              <a:t>incididunt</a:t>
            </a:r>
            <a:r>
              <a:rPr lang="pt-BR" dirty="0"/>
              <a:t> ut labore et </a:t>
            </a:r>
            <a:r>
              <a:rPr lang="pt-BR" dirty="0" err="1"/>
              <a:t>dolore</a:t>
            </a:r>
            <a:r>
              <a:rPr lang="pt-BR" dirty="0"/>
              <a:t> magna </a:t>
            </a:r>
            <a:r>
              <a:rPr lang="pt-BR" dirty="0" err="1"/>
              <a:t>aliqua</a:t>
            </a:r>
            <a:r>
              <a:rPr lang="pt-BR" dirty="0"/>
              <a:t>.</a:t>
            </a:r>
          </a:p>
        </p:txBody>
      </p:sp>
      <p:pic>
        <p:nvPicPr>
          <p:cNvPr id="12" name="Imagem 11" descr="Uma imagem contendo edifício&#10;&#10;Descrição gerada automaticamente">
            <a:extLst>
              <a:ext uri="{FF2B5EF4-FFF2-40B4-BE49-F238E27FC236}">
                <a16:creationId xmlns:a16="http://schemas.microsoft.com/office/drawing/2014/main" id="{566079CD-F2D0-4ED1-B85C-BEA6FC1F40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25224" y="6486790"/>
            <a:ext cx="581026" cy="365125"/>
          </a:xfrm>
          <a:prstGeom prst="rect">
            <a:avLst/>
          </a:prstGeom>
        </p:spPr>
      </p:pic>
      <p:sp>
        <p:nvSpPr>
          <p:cNvPr id="13" name="Espaço Reservado para Número de Slide 2">
            <a:extLst>
              <a:ext uri="{FF2B5EF4-FFF2-40B4-BE49-F238E27FC236}">
                <a16:creationId xmlns:a16="http://schemas.microsoft.com/office/drawing/2014/main" id="{DF32549D-200C-4677-9BC3-0441A2813A1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25225" y="6489700"/>
            <a:ext cx="581025" cy="365125"/>
          </a:xfrm>
        </p:spPr>
        <p:txBody>
          <a:bodyPr/>
          <a:lstStyle/>
          <a:p>
            <a:fld id="{4D11D262-DD36-4C3A-9581-B03EDCFD2EDD}" type="slidenum">
              <a:rPr lang="pt-BR" smtClean="0"/>
              <a:pPr/>
              <a:t>‹nº›</a:t>
            </a:fld>
            <a:endParaRPr lang="pt-BR"/>
          </a:p>
        </p:txBody>
      </p:sp>
      <p:pic>
        <p:nvPicPr>
          <p:cNvPr id="15" name="Imagem 14" descr="Uma imagem contendo edifício&#10;&#10;Descrição gerada automaticamente">
            <a:extLst>
              <a:ext uri="{FF2B5EF4-FFF2-40B4-BE49-F238E27FC236}">
                <a16:creationId xmlns:a16="http://schemas.microsoft.com/office/drawing/2014/main" id="{2269429C-83B2-4A74-9F3E-64B508072F0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668" y="820361"/>
            <a:ext cx="919566" cy="1341814"/>
          </a:xfrm>
          <a:prstGeom prst="rect">
            <a:avLst/>
          </a:prstGeom>
        </p:spPr>
      </p:pic>
      <p:pic>
        <p:nvPicPr>
          <p:cNvPr id="14" name="Imagem 13">
            <a:extLst>
              <a:ext uri="{FF2B5EF4-FFF2-40B4-BE49-F238E27FC236}">
                <a16:creationId xmlns:a16="http://schemas.microsoft.com/office/drawing/2014/main" id="{05FB16FF-7432-431B-ADE7-E8B7B76F50B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07281" y="371209"/>
            <a:ext cx="857249" cy="619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96442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Layout Personaliza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ço Reservado para Imagem 2">
            <a:extLst>
              <a:ext uri="{FF2B5EF4-FFF2-40B4-BE49-F238E27FC236}">
                <a16:creationId xmlns:a16="http://schemas.microsoft.com/office/drawing/2014/main" id="{55399709-69AF-4625-AE16-40145BFB5CE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-1"/>
            <a:ext cx="12192000" cy="2727703"/>
          </a:xfrm>
          <a:solidFill>
            <a:srgbClr val="CC2362">
              <a:alpha val="20000"/>
            </a:srgbClr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accent2"/>
                </a:solidFill>
              </a:defRPr>
            </a:lvl1pPr>
          </a:lstStyle>
          <a:p>
            <a:endParaRPr lang="pt-BR"/>
          </a:p>
        </p:txBody>
      </p:sp>
      <p:sp>
        <p:nvSpPr>
          <p:cNvPr id="4" name="Título 6">
            <a:extLst>
              <a:ext uri="{FF2B5EF4-FFF2-40B4-BE49-F238E27FC236}">
                <a16:creationId xmlns:a16="http://schemas.microsoft.com/office/drawing/2014/main" id="{8AA79B1B-C358-4999-9B3B-7A108B4730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12264" y="1241211"/>
            <a:ext cx="7677150" cy="4333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 dirty="0"/>
              <a:t>Título do slide 24pt </a:t>
            </a:r>
            <a:r>
              <a:rPr lang="pt-BR" dirty="0" err="1"/>
              <a:t>bold</a:t>
            </a:r>
            <a:endParaRPr lang="pt-BR" dirty="0"/>
          </a:p>
        </p:txBody>
      </p:sp>
      <p:sp>
        <p:nvSpPr>
          <p:cNvPr id="5" name="Espaço Reservado para Texto 6">
            <a:extLst>
              <a:ext uri="{FF2B5EF4-FFF2-40B4-BE49-F238E27FC236}">
                <a16:creationId xmlns:a16="http://schemas.microsoft.com/office/drawing/2014/main" id="{8F232A95-8CBC-4C04-AAA0-9C4AE4426B2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12264" y="1753180"/>
            <a:ext cx="7677150" cy="152400"/>
          </a:xfrm>
        </p:spPr>
        <p:txBody>
          <a:bodyPr lIns="0" tIns="0" rIns="0" bIns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accent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Subtítulo do slide 12pt</a:t>
            </a:r>
          </a:p>
        </p:txBody>
      </p:sp>
      <p:sp>
        <p:nvSpPr>
          <p:cNvPr id="6" name="Espaço Reservado para Imagem 8">
            <a:extLst>
              <a:ext uri="{FF2B5EF4-FFF2-40B4-BE49-F238E27FC236}">
                <a16:creationId xmlns:a16="http://schemas.microsoft.com/office/drawing/2014/main" id="{90F4B0A9-C84D-40AC-9FC9-1F996EC33D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295900" y="3225000"/>
            <a:ext cx="1600200" cy="1176338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1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pt-BR"/>
          </a:p>
        </p:txBody>
      </p:sp>
      <p:sp>
        <p:nvSpPr>
          <p:cNvPr id="7" name="Espaço Reservado para Imagem 8">
            <a:extLst>
              <a:ext uri="{FF2B5EF4-FFF2-40B4-BE49-F238E27FC236}">
                <a16:creationId xmlns:a16="http://schemas.microsoft.com/office/drawing/2014/main" id="{AF42DD30-BF25-4319-BCAA-6BE07860F18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148762" y="3224999"/>
            <a:ext cx="1600200" cy="1176338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1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pt-BR" dirty="0"/>
          </a:p>
        </p:txBody>
      </p:sp>
      <p:sp>
        <p:nvSpPr>
          <p:cNvPr id="8" name="Espaço Reservado para Imagem 8">
            <a:extLst>
              <a:ext uri="{FF2B5EF4-FFF2-40B4-BE49-F238E27FC236}">
                <a16:creationId xmlns:a16="http://schemas.microsoft.com/office/drawing/2014/main" id="{85BB6221-C41E-4EB4-A154-009880EF6C2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393031" y="3228178"/>
            <a:ext cx="1600200" cy="1176338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1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pt-BR" dirty="0"/>
          </a:p>
        </p:txBody>
      </p:sp>
      <p:sp>
        <p:nvSpPr>
          <p:cNvPr id="9" name="Espaço Reservado para Texto 6">
            <a:extLst>
              <a:ext uri="{FF2B5EF4-FFF2-40B4-BE49-F238E27FC236}">
                <a16:creationId xmlns:a16="http://schemas.microsoft.com/office/drawing/2014/main" id="{D0A7D6CA-5E85-4A3C-B1B7-71E4348CCB4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8668" y="4702171"/>
            <a:ext cx="2752726" cy="1441453"/>
          </a:xfrm>
        </p:spPr>
        <p:txBody>
          <a:bodyPr lIns="0" tIns="0" rIns="0" bIns="0" anchor="t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pt-BR" dirty="0"/>
              <a:t>Texto corrido 12pt. Exemplo: </a:t>
            </a:r>
            <a:r>
              <a:rPr lang="pt-BR" dirty="0" err="1"/>
              <a:t>Lorem</a:t>
            </a:r>
            <a:r>
              <a:rPr lang="pt-BR" dirty="0"/>
              <a:t> ipsum </a:t>
            </a:r>
            <a:r>
              <a:rPr lang="pt-BR" dirty="0" err="1"/>
              <a:t>dol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amet</a:t>
            </a:r>
            <a:r>
              <a:rPr lang="pt-BR" dirty="0"/>
              <a:t>, </a:t>
            </a:r>
            <a:r>
              <a:rPr lang="pt-BR" dirty="0" err="1"/>
              <a:t>consectetur</a:t>
            </a:r>
            <a:r>
              <a:rPr lang="pt-BR" dirty="0"/>
              <a:t> </a:t>
            </a:r>
            <a:r>
              <a:rPr lang="pt-BR" dirty="0" err="1"/>
              <a:t>adipiscing</a:t>
            </a:r>
            <a:r>
              <a:rPr lang="pt-BR" dirty="0"/>
              <a:t> </a:t>
            </a:r>
            <a:r>
              <a:rPr lang="pt-BR" dirty="0" err="1"/>
              <a:t>elit</a:t>
            </a:r>
            <a:r>
              <a:rPr lang="pt-BR" dirty="0"/>
              <a:t>, </a:t>
            </a:r>
            <a:r>
              <a:rPr lang="pt-BR" dirty="0" err="1"/>
              <a:t>sed</a:t>
            </a:r>
            <a:r>
              <a:rPr lang="pt-BR" dirty="0"/>
              <a:t> do </a:t>
            </a:r>
            <a:r>
              <a:rPr lang="pt-BR" dirty="0" err="1"/>
              <a:t>eiusmod</a:t>
            </a:r>
            <a:r>
              <a:rPr lang="pt-BR" dirty="0"/>
              <a:t> </a:t>
            </a:r>
            <a:r>
              <a:rPr lang="pt-BR" dirty="0" err="1"/>
              <a:t>tempor</a:t>
            </a:r>
            <a:r>
              <a:rPr lang="pt-BR" dirty="0"/>
              <a:t> </a:t>
            </a:r>
            <a:r>
              <a:rPr lang="pt-BR" dirty="0" err="1"/>
              <a:t>incididunt</a:t>
            </a:r>
            <a:r>
              <a:rPr lang="pt-BR" dirty="0"/>
              <a:t> ut labore et </a:t>
            </a:r>
            <a:r>
              <a:rPr lang="pt-BR" dirty="0" err="1"/>
              <a:t>dolore</a:t>
            </a:r>
            <a:r>
              <a:rPr lang="pt-BR" dirty="0"/>
              <a:t> magna </a:t>
            </a:r>
            <a:r>
              <a:rPr lang="pt-BR" dirty="0" err="1"/>
              <a:t>aliqua</a:t>
            </a:r>
            <a:r>
              <a:rPr lang="pt-BR" dirty="0"/>
              <a:t>.</a:t>
            </a:r>
          </a:p>
        </p:txBody>
      </p:sp>
      <p:sp>
        <p:nvSpPr>
          <p:cNvPr id="10" name="Espaço Reservado para Texto 6">
            <a:extLst>
              <a:ext uri="{FF2B5EF4-FFF2-40B4-BE49-F238E27FC236}">
                <a16:creationId xmlns:a16="http://schemas.microsoft.com/office/drawing/2014/main" id="{7367E656-3BF6-4787-8CFA-5267AD159E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72499" y="4702171"/>
            <a:ext cx="2752726" cy="1441451"/>
          </a:xfrm>
        </p:spPr>
        <p:txBody>
          <a:bodyPr lIns="0" tIns="0" rIns="0" bIns="0" anchor="t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pt-BR" dirty="0"/>
              <a:t>Texto corrido 12pt. Exemplo: </a:t>
            </a:r>
            <a:r>
              <a:rPr lang="pt-BR" dirty="0" err="1"/>
              <a:t>Lorem</a:t>
            </a:r>
            <a:r>
              <a:rPr lang="pt-BR" dirty="0"/>
              <a:t> ipsum </a:t>
            </a:r>
            <a:r>
              <a:rPr lang="pt-BR" dirty="0" err="1"/>
              <a:t>dol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amet</a:t>
            </a:r>
            <a:r>
              <a:rPr lang="pt-BR" dirty="0"/>
              <a:t>, </a:t>
            </a:r>
            <a:r>
              <a:rPr lang="pt-BR" dirty="0" err="1"/>
              <a:t>consectetur</a:t>
            </a:r>
            <a:r>
              <a:rPr lang="pt-BR" dirty="0"/>
              <a:t> </a:t>
            </a:r>
            <a:r>
              <a:rPr lang="pt-BR" dirty="0" err="1"/>
              <a:t>adipiscing</a:t>
            </a:r>
            <a:r>
              <a:rPr lang="pt-BR" dirty="0"/>
              <a:t> </a:t>
            </a:r>
            <a:r>
              <a:rPr lang="pt-BR" dirty="0" err="1"/>
              <a:t>elit</a:t>
            </a:r>
            <a:r>
              <a:rPr lang="pt-BR" dirty="0"/>
              <a:t>, </a:t>
            </a:r>
            <a:r>
              <a:rPr lang="pt-BR" dirty="0" err="1"/>
              <a:t>sed</a:t>
            </a:r>
            <a:r>
              <a:rPr lang="pt-BR" dirty="0"/>
              <a:t> do </a:t>
            </a:r>
            <a:r>
              <a:rPr lang="pt-BR" dirty="0" err="1"/>
              <a:t>eiusmod</a:t>
            </a:r>
            <a:r>
              <a:rPr lang="pt-BR" dirty="0"/>
              <a:t> </a:t>
            </a:r>
            <a:r>
              <a:rPr lang="pt-BR" dirty="0" err="1"/>
              <a:t>tempor</a:t>
            </a:r>
            <a:r>
              <a:rPr lang="pt-BR" dirty="0"/>
              <a:t> </a:t>
            </a:r>
            <a:r>
              <a:rPr lang="pt-BR" dirty="0" err="1"/>
              <a:t>incididunt</a:t>
            </a:r>
            <a:r>
              <a:rPr lang="pt-BR" dirty="0"/>
              <a:t> ut labore et </a:t>
            </a:r>
            <a:r>
              <a:rPr lang="pt-BR" dirty="0" err="1"/>
              <a:t>dolore</a:t>
            </a:r>
            <a:r>
              <a:rPr lang="pt-BR" dirty="0"/>
              <a:t> magna </a:t>
            </a:r>
            <a:r>
              <a:rPr lang="pt-BR" dirty="0" err="1"/>
              <a:t>aliqua</a:t>
            </a:r>
            <a:r>
              <a:rPr lang="pt-BR" dirty="0"/>
              <a:t>.</a:t>
            </a:r>
          </a:p>
        </p:txBody>
      </p:sp>
      <p:sp>
        <p:nvSpPr>
          <p:cNvPr id="11" name="Espaço Reservado para Texto 6">
            <a:extLst>
              <a:ext uri="{FF2B5EF4-FFF2-40B4-BE49-F238E27FC236}">
                <a16:creationId xmlns:a16="http://schemas.microsoft.com/office/drawing/2014/main" id="{37A44F36-B2D6-4AB2-8D1B-1CD4B3AC9C9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19637" y="4702172"/>
            <a:ext cx="2752726" cy="1441452"/>
          </a:xfrm>
        </p:spPr>
        <p:txBody>
          <a:bodyPr lIns="0" tIns="0" rIns="0" bIns="0" anchor="t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pt-BR" dirty="0"/>
              <a:t>Texto corrido 12pt. Exemplo: </a:t>
            </a:r>
            <a:r>
              <a:rPr lang="pt-BR" dirty="0" err="1"/>
              <a:t>Lorem</a:t>
            </a:r>
            <a:r>
              <a:rPr lang="pt-BR" dirty="0"/>
              <a:t> ipsum </a:t>
            </a:r>
            <a:r>
              <a:rPr lang="pt-BR" dirty="0" err="1"/>
              <a:t>dol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amet</a:t>
            </a:r>
            <a:r>
              <a:rPr lang="pt-BR" dirty="0"/>
              <a:t>, </a:t>
            </a:r>
            <a:r>
              <a:rPr lang="pt-BR" dirty="0" err="1"/>
              <a:t>consectetur</a:t>
            </a:r>
            <a:r>
              <a:rPr lang="pt-BR" dirty="0"/>
              <a:t> </a:t>
            </a:r>
            <a:r>
              <a:rPr lang="pt-BR" dirty="0" err="1"/>
              <a:t>adipiscing</a:t>
            </a:r>
            <a:r>
              <a:rPr lang="pt-BR" dirty="0"/>
              <a:t> </a:t>
            </a:r>
            <a:r>
              <a:rPr lang="pt-BR" dirty="0" err="1"/>
              <a:t>elit</a:t>
            </a:r>
            <a:r>
              <a:rPr lang="pt-BR" dirty="0"/>
              <a:t>, </a:t>
            </a:r>
            <a:r>
              <a:rPr lang="pt-BR" dirty="0" err="1"/>
              <a:t>sed</a:t>
            </a:r>
            <a:r>
              <a:rPr lang="pt-BR" dirty="0"/>
              <a:t> do </a:t>
            </a:r>
            <a:r>
              <a:rPr lang="pt-BR" dirty="0" err="1"/>
              <a:t>eiusmod</a:t>
            </a:r>
            <a:r>
              <a:rPr lang="pt-BR" dirty="0"/>
              <a:t> </a:t>
            </a:r>
            <a:r>
              <a:rPr lang="pt-BR" dirty="0" err="1"/>
              <a:t>tempor</a:t>
            </a:r>
            <a:r>
              <a:rPr lang="pt-BR" dirty="0"/>
              <a:t> </a:t>
            </a:r>
            <a:r>
              <a:rPr lang="pt-BR" dirty="0" err="1"/>
              <a:t>incididunt</a:t>
            </a:r>
            <a:r>
              <a:rPr lang="pt-BR" dirty="0"/>
              <a:t> ut labore et </a:t>
            </a:r>
            <a:r>
              <a:rPr lang="pt-BR" dirty="0" err="1"/>
              <a:t>dolore</a:t>
            </a:r>
            <a:r>
              <a:rPr lang="pt-BR" dirty="0"/>
              <a:t> magna </a:t>
            </a:r>
            <a:r>
              <a:rPr lang="pt-BR" dirty="0" err="1"/>
              <a:t>aliqua</a:t>
            </a:r>
            <a:r>
              <a:rPr lang="pt-BR" dirty="0"/>
              <a:t>.</a:t>
            </a:r>
          </a:p>
        </p:txBody>
      </p:sp>
      <p:pic>
        <p:nvPicPr>
          <p:cNvPr id="12" name="Imagem 11" descr="Uma imagem contendo edifício&#10;&#10;Descrição gerada automaticamente">
            <a:extLst>
              <a:ext uri="{FF2B5EF4-FFF2-40B4-BE49-F238E27FC236}">
                <a16:creationId xmlns:a16="http://schemas.microsoft.com/office/drawing/2014/main" id="{566079CD-F2D0-4ED1-B85C-BEA6FC1F40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25224" y="6486790"/>
            <a:ext cx="581026" cy="365125"/>
          </a:xfrm>
          <a:prstGeom prst="rect">
            <a:avLst/>
          </a:prstGeom>
        </p:spPr>
      </p:pic>
      <p:sp>
        <p:nvSpPr>
          <p:cNvPr id="13" name="Espaço Reservado para Número de Slide 2">
            <a:extLst>
              <a:ext uri="{FF2B5EF4-FFF2-40B4-BE49-F238E27FC236}">
                <a16:creationId xmlns:a16="http://schemas.microsoft.com/office/drawing/2014/main" id="{DF32549D-200C-4677-9BC3-0441A2813A1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25225" y="6489700"/>
            <a:ext cx="581025" cy="365125"/>
          </a:xfrm>
        </p:spPr>
        <p:txBody>
          <a:bodyPr/>
          <a:lstStyle/>
          <a:p>
            <a:fld id="{4D11D262-DD36-4C3A-9581-B03EDCFD2EDD}" type="slidenum">
              <a:rPr lang="pt-BR" smtClean="0"/>
              <a:pPr/>
              <a:t>‹nº›</a:t>
            </a:fld>
            <a:endParaRPr lang="pt-BR"/>
          </a:p>
        </p:txBody>
      </p:sp>
      <p:pic>
        <p:nvPicPr>
          <p:cNvPr id="15" name="Imagem 14" descr="Uma imagem contendo edifício&#10;&#10;Descrição gerada automaticamente">
            <a:extLst>
              <a:ext uri="{FF2B5EF4-FFF2-40B4-BE49-F238E27FC236}">
                <a16:creationId xmlns:a16="http://schemas.microsoft.com/office/drawing/2014/main" id="{2269429C-83B2-4A74-9F3E-64B508072F0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668" y="820361"/>
            <a:ext cx="919566" cy="1341814"/>
          </a:xfrm>
          <a:prstGeom prst="rect">
            <a:avLst/>
          </a:prstGeom>
        </p:spPr>
      </p:pic>
      <p:pic>
        <p:nvPicPr>
          <p:cNvPr id="17" name="Imagem 16">
            <a:extLst>
              <a:ext uri="{FF2B5EF4-FFF2-40B4-BE49-F238E27FC236}">
                <a16:creationId xmlns:a16="http://schemas.microsoft.com/office/drawing/2014/main" id="{5A305866-70C9-4DF6-93F7-6B1B5C2E2CD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07281" y="371209"/>
            <a:ext cx="857249" cy="619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771453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4_Layout Personalizado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6">
            <a:extLst>
              <a:ext uri="{FF2B5EF4-FFF2-40B4-BE49-F238E27FC236}">
                <a16:creationId xmlns:a16="http://schemas.microsoft.com/office/drawing/2014/main" id="{F86FEFD7-C670-45CE-963C-B9FF2EAA30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2925" y="354806"/>
            <a:ext cx="7877175" cy="43338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Título do slide 24pt </a:t>
            </a:r>
            <a:r>
              <a:rPr lang="pt-BR" dirty="0" err="1"/>
              <a:t>bold</a:t>
            </a:r>
            <a:endParaRPr lang="pt-BR" dirty="0"/>
          </a:p>
        </p:txBody>
      </p:sp>
      <p:sp>
        <p:nvSpPr>
          <p:cNvPr id="5" name="Espaço Reservado para Texto 6">
            <a:extLst>
              <a:ext uri="{FF2B5EF4-FFF2-40B4-BE49-F238E27FC236}">
                <a16:creationId xmlns:a16="http://schemas.microsoft.com/office/drawing/2014/main" id="{ADA23CD6-797E-4F00-88C3-0EBDAAE846E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2925" y="866775"/>
            <a:ext cx="7877175" cy="152400"/>
          </a:xfrm>
        </p:spPr>
        <p:txBody>
          <a:bodyPr lIns="0" tIns="0" rIns="0" bIns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accent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Subtítulo do slide 12pt</a:t>
            </a:r>
          </a:p>
        </p:txBody>
      </p:sp>
      <p:sp>
        <p:nvSpPr>
          <p:cNvPr id="6" name="Espaço Reservado para Conteúdo 15">
            <a:extLst>
              <a:ext uri="{FF2B5EF4-FFF2-40B4-BE49-F238E27FC236}">
                <a16:creationId xmlns:a16="http://schemas.microsoft.com/office/drawing/2014/main" id="{EC021B56-57FF-4C22-B392-4CC166E8ED83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42925" y="1524000"/>
            <a:ext cx="4486275" cy="4629149"/>
          </a:xfrm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1pPr>
            <a:lvl2pPr marL="0" indent="0" algn="ctr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2pPr>
            <a:lvl3pPr marL="0" indent="0" algn="ctr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3pPr>
            <a:lvl4pPr marL="0" indent="0" algn="ctr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4pPr>
            <a:lvl5pPr marL="0" indent="0" algn="ctr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pt-BR" dirty="0"/>
              <a:t>Adicione um gráfico, uma tabela ou uma imagem.</a:t>
            </a:r>
          </a:p>
        </p:txBody>
      </p:sp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1587A431-5172-40BE-BAC8-AE4D3AF851E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448300" y="1524000"/>
            <a:ext cx="6076950" cy="4629149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pt-BR" dirty="0"/>
              <a:t>Texto corrido 14pt. </a:t>
            </a:r>
            <a:r>
              <a:rPr lang="pt-BR" dirty="0" err="1"/>
              <a:t>Lorem</a:t>
            </a:r>
            <a:r>
              <a:rPr lang="pt-BR" dirty="0"/>
              <a:t> ipsum </a:t>
            </a:r>
            <a:r>
              <a:rPr lang="pt-BR" dirty="0" err="1"/>
              <a:t>dol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amet</a:t>
            </a:r>
            <a:r>
              <a:rPr lang="pt-BR" dirty="0"/>
              <a:t>, </a:t>
            </a:r>
            <a:r>
              <a:rPr lang="pt-BR" dirty="0" err="1"/>
              <a:t>consectetuer</a:t>
            </a:r>
            <a:r>
              <a:rPr lang="pt-BR" dirty="0"/>
              <a:t> </a:t>
            </a:r>
            <a:r>
              <a:rPr lang="pt-BR" dirty="0" err="1"/>
              <a:t>adipiscing</a:t>
            </a:r>
            <a:r>
              <a:rPr lang="pt-BR" dirty="0"/>
              <a:t> </a:t>
            </a:r>
            <a:r>
              <a:rPr lang="pt-BR" dirty="0" err="1"/>
              <a:t>elit</a:t>
            </a:r>
            <a:r>
              <a:rPr lang="pt-BR" dirty="0"/>
              <a:t>, </a:t>
            </a:r>
            <a:r>
              <a:rPr lang="pt-BR" dirty="0" err="1"/>
              <a:t>sed</a:t>
            </a:r>
            <a:r>
              <a:rPr lang="pt-BR" dirty="0"/>
              <a:t> </a:t>
            </a:r>
            <a:r>
              <a:rPr lang="pt-BR" dirty="0" err="1"/>
              <a:t>diam</a:t>
            </a:r>
            <a:r>
              <a:rPr lang="pt-BR" dirty="0"/>
              <a:t> </a:t>
            </a:r>
            <a:r>
              <a:rPr lang="pt-BR" dirty="0" err="1"/>
              <a:t>nonummy</a:t>
            </a:r>
            <a:r>
              <a:rPr lang="pt-BR" dirty="0"/>
              <a:t> </a:t>
            </a:r>
            <a:r>
              <a:rPr lang="pt-BR" dirty="0" err="1"/>
              <a:t>nibh</a:t>
            </a:r>
            <a:r>
              <a:rPr lang="pt-BR" dirty="0"/>
              <a:t> </a:t>
            </a:r>
            <a:r>
              <a:rPr lang="pt-BR" dirty="0" err="1"/>
              <a:t>euismod</a:t>
            </a:r>
            <a:r>
              <a:rPr lang="pt-BR" dirty="0"/>
              <a:t> </a:t>
            </a:r>
            <a:r>
              <a:rPr lang="pt-BR" dirty="0" err="1"/>
              <a:t>tincidunt</a:t>
            </a:r>
            <a:r>
              <a:rPr lang="pt-BR" dirty="0"/>
              <a:t> ut </a:t>
            </a:r>
            <a:r>
              <a:rPr lang="pt-BR" dirty="0" err="1"/>
              <a:t>laoreet</a:t>
            </a:r>
            <a:r>
              <a:rPr lang="pt-BR" dirty="0"/>
              <a:t> </a:t>
            </a:r>
            <a:r>
              <a:rPr lang="pt-BR" dirty="0" err="1"/>
              <a:t>dolore</a:t>
            </a:r>
            <a:r>
              <a:rPr lang="pt-BR" dirty="0"/>
              <a:t> magna </a:t>
            </a:r>
            <a:r>
              <a:rPr lang="pt-BR" dirty="0" err="1"/>
              <a:t>aliquam</a:t>
            </a:r>
            <a:r>
              <a:rPr lang="pt-BR" dirty="0"/>
              <a:t> erat </a:t>
            </a:r>
            <a:r>
              <a:rPr lang="pt-BR" dirty="0" err="1"/>
              <a:t>volutpat</a:t>
            </a:r>
            <a:r>
              <a:rPr lang="pt-BR" dirty="0"/>
              <a:t>. </a:t>
            </a:r>
          </a:p>
          <a:p>
            <a:r>
              <a:rPr lang="pt-BR" dirty="0" err="1"/>
              <a:t>Amet</a:t>
            </a:r>
            <a:r>
              <a:rPr lang="pt-BR" dirty="0"/>
              <a:t>, </a:t>
            </a:r>
            <a:r>
              <a:rPr lang="pt-BR" dirty="0" err="1"/>
              <a:t>consectetuer</a:t>
            </a:r>
            <a:r>
              <a:rPr lang="pt-BR" dirty="0"/>
              <a:t> </a:t>
            </a:r>
            <a:r>
              <a:rPr lang="pt-BR" dirty="0" err="1"/>
              <a:t>adipiscing</a:t>
            </a:r>
            <a:r>
              <a:rPr lang="pt-BR" dirty="0"/>
              <a:t> </a:t>
            </a:r>
            <a:r>
              <a:rPr lang="pt-BR" dirty="0" err="1"/>
              <a:t>elit</a:t>
            </a:r>
            <a:r>
              <a:rPr lang="pt-BR" dirty="0"/>
              <a:t>, </a:t>
            </a:r>
            <a:r>
              <a:rPr lang="pt-BR" dirty="0" err="1"/>
              <a:t>sed</a:t>
            </a:r>
            <a:r>
              <a:rPr lang="pt-BR" dirty="0"/>
              <a:t> </a:t>
            </a:r>
            <a:r>
              <a:rPr lang="pt-BR" dirty="0" err="1"/>
              <a:t>diam</a:t>
            </a:r>
            <a:r>
              <a:rPr lang="pt-BR" dirty="0"/>
              <a:t> </a:t>
            </a:r>
            <a:r>
              <a:rPr lang="pt-BR" dirty="0" err="1"/>
              <a:t>nonummy</a:t>
            </a:r>
            <a:r>
              <a:rPr lang="pt-BR" dirty="0"/>
              <a:t> </a:t>
            </a:r>
            <a:r>
              <a:rPr lang="pt-BR" dirty="0" err="1"/>
              <a:t>nibh</a:t>
            </a:r>
            <a:r>
              <a:rPr lang="pt-BR" dirty="0"/>
              <a:t> </a:t>
            </a:r>
            <a:r>
              <a:rPr lang="pt-BR" dirty="0" err="1"/>
              <a:t>euismod</a:t>
            </a:r>
            <a:r>
              <a:rPr lang="pt-BR" dirty="0"/>
              <a:t> </a:t>
            </a:r>
            <a:r>
              <a:rPr lang="pt-BR" dirty="0" err="1"/>
              <a:t>tincidunt</a:t>
            </a:r>
            <a:r>
              <a:rPr lang="pt-BR" dirty="0"/>
              <a:t> ut </a:t>
            </a:r>
            <a:r>
              <a:rPr lang="pt-BR" dirty="0" err="1"/>
              <a:t>laoreet</a:t>
            </a:r>
            <a:r>
              <a:rPr lang="pt-BR" dirty="0"/>
              <a:t> </a:t>
            </a:r>
            <a:r>
              <a:rPr lang="pt-BR" dirty="0" err="1"/>
              <a:t>dolore</a:t>
            </a:r>
            <a:r>
              <a:rPr lang="pt-BR" dirty="0"/>
              <a:t> magna </a:t>
            </a:r>
            <a:r>
              <a:rPr lang="pt-BR" dirty="0" err="1"/>
              <a:t>aliquam</a:t>
            </a:r>
            <a:r>
              <a:rPr lang="pt-BR" dirty="0"/>
              <a:t> erat </a:t>
            </a:r>
            <a:r>
              <a:rPr lang="pt-BR" dirty="0" err="1"/>
              <a:t>volutpat</a:t>
            </a:r>
            <a:r>
              <a:rPr lang="pt-BR" dirty="0"/>
              <a:t>. </a:t>
            </a:r>
            <a:r>
              <a:rPr lang="pt-BR" dirty="0" err="1"/>
              <a:t>Lorem</a:t>
            </a:r>
            <a:r>
              <a:rPr lang="pt-BR" dirty="0"/>
              <a:t> ipsum </a:t>
            </a:r>
            <a:r>
              <a:rPr lang="pt-BR" dirty="0" err="1"/>
              <a:t>dol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amet</a:t>
            </a:r>
            <a:r>
              <a:rPr lang="pt-BR" dirty="0"/>
              <a:t>, </a:t>
            </a:r>
            <a:r>
              <a:rPr lang="pt-BR" dirty="0" err="1"/>
              <a:t>consectetuer</a:t>
            </a:r>
            <a:r>
              <a:rPr lang="pt-BR" dirty="0"/>
              <a:t> </a:t>
            </a:r>
            <a:r>
              <a:rPr lang="pt-BR" dirty="0" err="1"/>
              <a:t>adipiscing</a:t>
            </a:r>
            <a:r>
              <a:rPr lang="pt-BR" dirty="0"/>
              <a:t> </a:t>
            </a:r>
            <a:r>
              <a:rPr lang="pt-BR" dirty="0" err="1"/>
              <a:t>elit</a:t>
            </a:r>
            <a:r>
              <a:rPr lang="pt-BR" dirty="0"/>
              <a:t>, </a:t>
            </a:r>
            <a:r>
              <a:rPr lang="pt-BR" dirty="0" err="1"/>
              <a:t>sed</a:t>
            </a:r>
            <a:r>
              <a:rPr lang="pt-BR" dirty="0"/>
              <a:t> </a:t>
            </a:r>
            <a:r>
              <a:rPr lang="pt-BR" dirty="0" err="1"/>
              <a:t>diam</a:t>
            </a:r>
            <a:r>
              <a:rPr lang="pt-BR" dirty="0"/>
              <a:t> </a:t>
            </a:r>
            <a:r>
              <a:rPr lang="pt-BR" dirty="0" err="1"/>
              <a:t>nonummy</a:t>
            </a:r>
            <a:r>
              <a:rPr lang="pt-BR" dirty="0"/>
              <a:t> </a:t>
            </a:r>
            <a:r>
              <a:rPr lang="pt-BR" dirty="0" err="1"/>
              <a:t>nibh</a:t>
            </a:r>
            <a:r>
              <a:rPr lang="pt-BR" dirty="0"/>
              <a:t> </a:t>
            </a:r>
            <a:r>
              <a:rPr lang="pt-BR" dirty="0" err="1"/>
              <a:t>euismod</a:t>
            </a:r>
            <a:r>
              <a:rPr lang="pt-BR" dirty="0"/>
              <a:t> </a:t>
            </a:r>
            <a:r>
              <a:rPr lang="pt-BR" dirty="0" err="1"/>
              <a:t>tincidunt</a:t>
            </a:r>
            <a:r>
              <a:rPr lang="pt-BR" dirty="0"/>
              <a:t> ut </a:t>
            </a:r>
            <a:r>
              <a:rPr lang="pt-BR" dirty="0" err="1"/>
              <a:t>laoreet</a:t>
            </a:r>
            <a:r>
              <a:rPr lang="pt-BR" dirty="0"/>
              <a:t> </a:t>
            </a:r>
            <a:r>
              <a:rPr lang="pt-BR" dirty="0" err="1"/>
              <a:t>dolore</a:t>
            </a:r>
            <a:r>
              <a:rPr lang="pt-BR" dirty="0"/>
              <a:t> magna </a:t>
            </a:r>
            <a:r>
              <a:rPr lang="pt-BR" dirty="0" err="1"/>
              <a:t>aliquam</a:t>
            </a:r>
            <a:r>
              <a:rPr lang="pt-BR" dirty="0"/>
              <a:t> erat </a:t>
            </a:r>
            <a:r>
              <a:rPr lang="pt-BR" dirty="0" err="1"/>
              <a:t>volutpat</a:t>
            </a:r>
            <a:r>
              <a:rPr lang="pt-BR" dirty="0"/>
              <a:t> ut </a:t>
            </a:r>
            <a:r>
              <a:rPr lang="pt-BR" dirty="0" err="1"/>
              <a:t>laoreet</a:t>
            </a:r>
            <a:r>
              <a:rPr lang="pt-BR" dirty="0"/>
              <a:t> </a:t>
            </a:r>
            <a:r>
              <a:rPr lang="pt-BR" dirty="0" err="1"/>
              <a:t>dolore</a:t>
            </a:r>
            <a:r>
              <a:rPr lang="pt-BR" dirty="0"/>
              <a:t> magna </a:t>
            </a:r>
            <a:r>
              <a:rPr lang="pt-BR" dirty="0" err="1"/>
              <a:t>aliquam</a:t>
            </a:r>
            <a:r>
              <a:rPr lang="pt-BR" dirty="0"/>
              <a:t> erat </a:t>
            </a:r>
            <a:r>
              <a:rPr lang="pt-BR" dirty="0" err="1"/>
              <a:t>volutpat</a:t>
            </a:r>
            <a:r>
              <a:rPr lang="pt-BR" dirty="0"/>
              <a:t>. </a:t>
            </a:r>
          </a:p>
          <a:p>
            <a:r>
              <a:rPr lang="pt-BR" dirty="0" err="1"/>
              <a:t>Lorem</a:t>
            </a:r>
            <a:r>
              <a:rPr lang="pt-BR" dirty="0"/>
              <a:t> ipsum </a:t>
            </a:r>
            <a:r>
              <a:rPr lang="pt-BR" dirty="0" err="1"/>
              <a:t>dol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amet</a:t>
            </a:r>
            <a:r>
              <a:rPr lang="pt-BR" dirty="0"/>
              <a:t>, </a:t>
            </a:r>
            <a:r>
              <a:rPr lang="pt-BR" dirty="0" err="1"/>
              <a:t>consectetuer</a:t>
            </a:r>
            <a:r>
              <a:rPr lang="pt-BR" dirty="0"/>
              <a:t> </a:t>
            </a:r>
            <a:r>
              <a:rPr lang="pt-BR" dirty="0" err="1"/>
              <a:t>adipiscing</a:t>
            </a:r>
            <a:r>
              <a:rPr lang="pt-BR" dirty="0"/>
              <a:t> </a:t>
            </a:r>
            <a:r>
              <a:rPr lang="pt-BR" dirty="0" err="1"/>
              <a:t>elit</a:t>
            </a:r>
            <a:r>
              <a:rPr lang="pt-BR" dirty="0"/>
              <a:t>, </a:t>
            </a:r>
            <a:r>
              <a:rPr lang="pt-BR" dirty="0" err="1"/>
              <a:t>sed</a:t>
            </a:r>
            <a:r>
              <a:rPr lang="pt-BR" dirty="0"/>
              <a:t> </a:t>
            </a:r>
            <a:r>
              <a:rPr lang="pt-BR" dirty="0" err="1"/>
              <a:t>diam</a:t>
            </a:r>
            <a:r>
              <a:rPr lang="pt-BR" dirty="0"/>
              <a:t> </a:t>
            </a:r>
            <a:r>
              <a:rPr lang="pt-BR" dirty="0" err="1"/>
              <a:t>nonummy</a:t>
            </a:r>
            <a:r>
              <a:rPr lang="pt-BR" dirty="0"/>
              <a:t> </a:t>
            </a:r>
            <a:r>
              <a:rPr lang="pt-BR" dirty="0" err="1"/>
              <a:t>nibh</a:t>
            </a:r>
            <a:r>
              <a:rPr lang="pt-BR" dirty="0"/>
              <a:t> </a:t>
            </a:r>
            <a:r>
              <a:rPr lang="pt-BR" dirty="0" err="1"/>
              <a:t>euismod</a:t>
            </a:r>
            <a:r>
              <a:rPr lang="pt-BR" dirty="0"/>
              <a:t> </a:t>
            </a:r>
            <a:r>
              <a:rPr lang="pt-BR" dirty="0" err="1"/>
              <a:t>tincidunt</a:t>
            </a:r>
            <a:r>
              <a:rPr lang="pt-BR" dirty="0"/>
              <a:t> ut </a:t>
            </a:r>
            <a:r>
              <a:rPr lang="pt-BR" dirty="0" err="1"/>
              <a:t>laoreet</a:t>
            </a:r>
            <a:r>
              <a:rPr lang="pt-BR" dirty="0"/>
              <a:t> </a:t>
            </a:r>
            <a:r>
              <a:rPr lang="pt-BR" dirty="0" err="1"/>
              <a:t>dolore</a:t>
            </a:r>
            <a:r>
              <a:rPr lang="pt-BR" dirty="0"/>
              <a:t>.</a:t>
            </a:r>
          </a:p>
          <a:p>
            <a:r>
              <a:rPr lang="pt-BR" dirty="0"/>
              <a:t>Ut </a:t>
            </a:r>
            <a:r>
              <a:rPr lang="pt-BR" dirty="0" err="1"/>
              <a:t>laoreet</a:t>
            </a:r>
            <a:r>
              <a:rPr lang="pt-BR" dirty="0"/>
              <a:t> </a:t>
            </a:r>
            <a:r>
              <a:rPr lang="pt-BR" dirty="0" err="1"/>
              <a:t>dolore</a:t>
            </a:r>
            <a:r>
              <a:rPr lang="pt-BR" dirty="0"/>
              <a:t> magna </a:t>
            </a:r>
            <a:r>
              <a:rPr lang="pt-BR" dirty="0" err="1"/>
              <a:t>aliquam</a:t>
            </a:r>
            <a:r>
              <a:rPr lang="pt-BR" dirty="0"/>
              <a:t> erat </a:t>
            </a:r>
            <a:r>
              <a:rPr lang="pt-BR" dirty="0" err="1"/>
              <a:t>volutpat</a:t>
            </a:r>
            <a:r>
              <a:rPr lang="pt-BR" dirty="0"/>
              <a:t> ipsum </a:t>
            </a:r>
            <a:r>
              <a:rPr lang="pt-BR" dirty="0" err="1"/>
              <a:t>dol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amet</a:t>
            </a:r>
            <a:r>
              <a:rPr lang="pt-BR" dirty="0"/>
              <a:t>, </a:t>
            </a:r>
            <a:r>
              <a:rPr lang="pt-BR" dirty="0" err="1"/>
              <a:t>consectetuer</a:t>
            </a:r>
            <a:r>
              <a:rPr lang="pt-BR" dirty="0"/>
              <a:t> </a:t>
            </a:r>
            <a:r>
              <a:rPr lang="pt-BR" dirty="0" err="1"/>
              <a:t>adipiscing</a:t>
            </a:r>
            <a:r>
              <a:rPr lang="pt-BR" dirty="0"/>
              <a:t> </a:t>
            </a:r>
            <a:r>
              <a:rPr lang="pt-BR" dirty="0" err="1"/>
              <a:t>elit</a:t>
            </a:r>
            <a:r>
              <a:rPr lang="pt-BR" dirty="0"/>
              <a:t>, </a:t>
            </a:r>
            <a:r>
              <a:rPr lang="pt-BR" dirty="0" err="1"/>
              <a:t>sed</a:t>
            </a:r>
            <a:r>
              <a:rPr lang="pt-BR" dirty="0"/>
              <a:t> </a:t>
            </a:r>
            <a:r>
              <a:rPr lang="pt-BR" dirty="0" err="1"/>
              <a:t>diam</a:t>
            </a:r>
            <a:r>
              <a:rPr lang="pt-BR" dirty="0"/>
              <a:t> </a:t>
            </a:r>
            <a:r>
              <a:rPr lang="pt-BR" dirty="0" err="1"/>
              <a:t>nonummy</a:t>
            </a:r>
            <a:r>
              <a:rPr lang="pt-BR" dirty="0"/>
              <a:t> </a:t>
            </a:r>
            <a:r>
              <a:rPr lang="pt-BR" dirty="0" err="1"/>
              <a:t>nibh</a:t>
            </a:r>
            <a:r>
              <a:rPr lang="pt-BR" dirty="0"/>
              <a:t> </a:t>
            </a:r>
            <a:r>
              <a:rPr lang="pt-BR" dirty="0" err="1"/>
              <a:t>euismod</a:t>
            </a:r>
            <a:r>
              <a:rPr lang="pt-BR" dirty="0"/>
              <a:t> </a:t>
            </a:r>
            <a:r>
              <a:rPr lang="pt-BR" dirty="0" err="1"/>
              <a:t>tincidunt</a:t>
            </a:r>
            <a:r>
              <a:rPr lang="pt-BR" dirty="0"/>
              <a:t>.</a:t>
            </a:r>
          </a:p>
        </p:txBody>
      </p:sp>
      <p:pic>
        <p:nvPicPr>
          <p:cNvPr id="8" name="Imagem 7" descr="Fundo preto com letras brancas&#10;&#10;Descrição gerada automaticamente">
            <a:extLst>
              <a:ext uri="{FF2B5EF4-FFF2-40B4-BE49-F238E27FC236}">
                <a16:creationId xmlns:a16="http://schemas.microsoft.com/office/drawing/2014/main" id="{ABB80B02-5E1E-4355-9F42-A1454453292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27464" y="-1"/>
            <a:ext cx="2016885" cy="1303021"/>
          </a:xfrm>
          <a:prstGeom prst="rect">
            <a:avLst/>
          </a:prstGeom>
        </p:spPr>
      </p:pic>
      <p:pic>
        <p:nvPicPr>
          <p:cNvPr id="9" name="Imagem 8">
            <a:extLst>
              <a:ext uri="{FF2B5EF4-FFF2-40B4-BE49-F238E27FC236}">
                <a16:creationId xmlns:a16="http://schemas.microsoft.com/office/drawing/2014/main" id="{053EDF8F-CF87-4130-85EE-8BB25ED8364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07281" y="371209"/>
            <a:ext cx="857249" cy="619656"/>
          </a:xfrm>
          <a:prstGeom prst="rect">
            <a:avLst/>
          </a:prstGeom>
        </p:spPr>
      </p:pic>
      <p:pic>
        <p:nvPicPr>
          <p:cNvPr id="10" name="Imagem 9" descr="Uma imagem contendo edifício&#10;&#10;Descrição gerada automaticamente">
            <a:extLst>
              <a:ext uri="{FF2B5EF4-FFF2-40B4-BE49-F238E27FC236}">
                <a16:creationId xmlns:a16="http://schemas.microsoft.com/office/drawing/2014/main" id="{2321EDF4-2A66-45DF-9C55-F2031F4256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25224" y="6486790"/>
            <a:ext cx="581026" cy="365125"/>
          </a:xfrm>
          <a:prstGeom prst="rect">
            <a:avLst/>
          </a:prstGeom>
        </p:spPr>
      </p:pic>
      <p:sp>
        <p:nvSpPr>
          <p:cNvPr id="11" name="Espaço Reservado para Número de Slide 2">
            <a:extLst>
              <a:ext uri="{FF2B5EF4-FFF2-40B4-BE49-F238E27FC236}">
                <a16:creationId xmlns:a16="http://schemas.microsoft.com/office/drawing/2014/main" id="{7B190DBB-EC89-45AB-B603-8D4B1FF1668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25225" y="6489700"/>
            <a:ext cx="581025" cy="365125"/>
          </a:xfrm>
        </p:spPr>
        <p:txBody>
          <a:bodyPr/>
          <a:lstStyle/>
          <a:p>
            <a:fld id="{4D11D262-DD36-4C3A-9581-B03EDCFD2EDD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0540146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5_Layout Personaliza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1961125A-5A0D-4542-ADA3-F74C0273CC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753" y="1755193"/>
            <a:ext cx="2793299" cy="4074107"/>
          </a:xfrm>
          <a:prstGeom prst="rect">
            <a:avLst/>
          </a:prstGeom>
        </p:spPr>
      </p:pic>
      <p:sp>
        <p:nvSpPr>
          <p:cNvPr id="4" name="Título 1">
            <a:extLst>
              <a:ext uri="{FF2B5EF4-FFF2-40B4-BE49-F238E27FC236}">
                <a16:creationId xmlns:a16="http://schemas.microsoft.com/office/drawing/2014/main" id="{A5180AFD-C1B6-4D8A-8F55-4017DF1A68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2500" y="511968"/>
            <a:ext cx="8048625" cy="43338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Título do slide 24pt </a:t>
            </a:r>
            <a:r>
              <a:rPr lang="pt-BR" dirty="0" err="1"/>
              <a:t>bold</a:t>
            </a:r>
            <a:endParaRPr lang="pt-BR" dirty="0"/>
          </a:p>
        </p:txBody>
      </p:sp>
      <p:sp>
        <p:nvSpPr>
          <p:cNvPr id="5" name="Espaço Reservado para Texto 6">
            <a:extLst>
              <a:ext uri="{FF2B5EF4-FFF2-40B4-BE49-F238E27FC236}">
                <a16:creationId xmlns:a16="http://schemas.microsoft.com/office/drawing/2014/main" id="{78B3F457-B5C4-44DC-86F8-4184BD4ED6B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05572" y="1524001"/>
            <a:ext cx="7619677" cy="876300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pt-BR" dirty="0"/>
              <a:t>Texto corrido 14pt. </a:t>
            </a:r>
            <a:r>
              <a:rPr lang="pt-BR" dirty="0" err="1"/>
              <a:t>Amet</a:t>
            </a:r>
            <a:r>
              <a:rPr lang="pt-BR" dirty="0"/>
              <a:t>, </a:t>
            </a:r>
            <a:r>
              <a:rPr lang="pt-BR" dirty="0" err="1"/>
              <a:t>consectetuer</a:t>
            </a:r>
            <a:r>
              <a:rPr lang="pt-BR" dirty="0"/>
              <a:t> </a:t>
            </a:r>
            <a:r>
              <a:rPr lang="pt-BR" dirty="0" err="1"/>
              <a:t>adipiscing</a:t>
            </a:r>
            <a:r>
              <a:rPr lang="pt-BR" dirty="0"/>
              <a:t> </a:t>
            </a:r>
            <a:r>
              <a:rPr lang="pt-BR" dirty="0" err="1"/>
              <a:t>elit</a:t>
            </a:r>
            <a:r>
              <a:rPr lang="pt-BR" dirty="0"/>
              <a:t>, </a:t>
            </a:r>
            <a:r>
              <a:rPr lang="pt-BR" dirty="0" err="1"/>
              <a:t>sed</a:t>
            </a:r>
            <a:r>
              <a:rPr lang="pt-BR" dirty="0"/>
              <a:t> </a:t>
            </a:r>
            <a:r>
              <a:rPr lang="pt-BR" dirty="0" err="1"/>
              <a:t>diam</a:t>
            </a:r>
            <a:r>
              <a:rPr lang="pt-BR" dirty="0"/>
              <a:t> </a:t>
            </a:r>
            <a:r>
              <a:rPr lang="pt-BR" dirty="0" err="1"/>
              <a:t>nonummy</a:t>
            </a:r>
            <a:r>
              <a:rPr lang="pt-BR" dirty="0"/>
              <a:t> </a:t>
            </a:r>
            <a:r>
              <a:rPr lang="pt-BR" dirty="0" err="1"/>
              <a:t>nibh</a:t>
            </a:r>
            <a:r>
              <a:rPr lang="pt-BR" dirty="0"/>
              <a:t> </a:t>
            </a:r>
            <a:r>
              <a:rPr lang="pt-BR" dirty="0" err="1"/>
              <a:t>euismod</a:t>
            </a:r>
            <a:r>
              <a:rPr lang="pt-BR" dirty="0"/>
              <a:t> </a:t>
            </a:r>
            <a:r>
              <a:rPr lang="pt-BR" dirty="0" err="1"/>
              <a:t>tincidunt</a:t>
            </a:r>
            <a:r>
              <a:rPr lang="pt-BR" dirty="0"/>
              <a:t> ut </a:t>
            </a:r>
            <a:r>
              <a:rPr lang="pt-BR" dirty="0" err="1"/>
              <a:t>laoreet</a:t>
            </a:r>
            <a:r>
              <a:rPr lang="pt-BR" dirty="0"/>
              <a:t> </a:t>
            </a:r>
            <a:r>
              <a:rPr lang="pt-BR" dirty="0" err="1"/>
              <a:t>dolore</a:t>
            </a:r>
            <a:r>
              <a:rPr lang="pt-BR" dirty="0"/>
              <a:t> magna </a:t>
            </a:r>
            <a:r>
              <a:rPr lang="pt-BR" dirty="0" err="1"/>
              <a:t>aliquam</a:t>
            </a:r>
            <a:r>
              <a:rPr lang="pt-BR" dirty="0"/>
              <a:t> erat </a:t>
            </a:r>
            <a:r>
              <a:rPr lang="pt-BR" dirty="0" err="1"/>
              <a:t>volutpat</a:t>
            </a:r>
            <a:r>
              <a:rPr lang="pt-BR" dirty="0"/>
              <a:t>. </a:t>
            </a:r>
            <a:r>
              <a:rPr lang="pt-BR" dirty="0" err="1"/>
              <a:t>Lorem</a:t>
            </a:r>
            <a:r>
              <a:rPr lang="pt-BR" dirty="0"/>
              <a:t> ipsum </a:t>
            </a:r>
            <a:r>
              <a:rPr lang="pt-BR" dirty="0" err="1"/>
              <a:t>dol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amet</a:t>
            </a:r>
            <a:r>
              <a:rPr lang="pt-BR" dirty="0"/>
              <a:t>, </a:t>
            </a:r>
            <a:r>
              <a:rPr lang="pt-BR" dirty="0" err="1"/>
              <a:t>consectetuer</a:t>
            </a:r>
            <a:r>
              <a:rPr lang="pt-BR" dirty="0"/>
              <a:t> </a:t>
            </a:r>
            <a:r>
              <a:rPr lang="pt-BR" dirty="0" err="1"/>
              <a:t>adipiscing</a:t>
            </a:r>
            <a:r>
              <a:rPr lang="pt-BR" dirty="0"/>
              <a:t> </a:t>
            </a:r>
            <a:r>
              <a:rPr lang="pt-BR" dirty="0" err="1"/>
              <a:t>elit</a:t>
            </a:r>
            <a:r>
              <a:rPr lang="pt-BR" dirty="0"/>
              <a:t>, </a:t>
            </a:r>
            <a:r>
              <a:rPr lang="pt-BR" dirty="0" err="1"/>
              <a:t>sed</a:t>
            </a:r>
            <a:r>
              <a:rPr lang="pt-BR" dirty="0"/>
              <a:t> </a:t>
            </a:r>
            <a:r>
              <a:rPr lang="pt-BR" dirty="0" err="1"/>
              <a:t>diam</a:t>
            </a:r>
            <a:r>
              <a:rPr lang="pt-BR" dirty="0"/>
              <a:t> </a:t>
            </a:r>
            <a:r>
              <a:rPr lang="pt-BR" dirty="0" err="1"/>
              <a:t>nonummy</a:t>
            </a:r>
            <a:r>
              <a:rPr lang="pt-BR" dirty="0"/>
              <a:t> </a:t>
            </a:r>
            <a:r>
              <a:rPr lang="pt-BR" dirty="0" err="1"/>
              <a:t>nibh</a:t>
            </a:r>
            <a:r>
              <a:rPr lang="pt-BR" dirty="0"/>
              <a:t> </a:t>
            </a:r>
            <a:r>
              <a:rPr lang="pt-BR" dirty="0" err="1"/>
              <a:t>euismod</a:t>
            </a:r>
            <a:r>
              <a:rPr lang="pt-BR" dirty="0"/>
              <a:t> </a:t>
            </a:r>
            <a:r>
              <a:rPr lang="pt-BR" dirty="0" err="1"/>
              <a:t>tincidunt</a:t>
            </a:r>
            <a:r>
              <a:rPr lang="pt-BR" dirty="0"/>
              <a:t> ut </a:t>
            </a:r>
            <a:r>
              <a:rPr lang="pt-BR" dirty="0" err="1"/>
              <a:t>laoreet</a:t>
            </a:r>
            <a:r>
              <a:rPr lang="pt-BR" dirty="0"/>
              <a:t> </a:t>
            </a:r>
            <a:r>
              <a:rPr lang="pt-BR" dirty="0" err="1"/>
              <a:t>dolore</a:t>
            </a:r>
            <a:r>
              <a:rPr lang="pt-BR" dirty="0"/>
              <a:t> magna </a:t>
            </a:r>
            <a:r>
              <a:rPr lang="pt-BR" dirty="0" err="1"/>
              <a:t>aliquam</a:t>
            </a:r>
            <a:r>
              <a:rPr lang="pt-BR" dirty="0"/>
              <a:t> erat </a:t>
            </a:r>
            <a:r>
              <a:rPr lang="pt-BR" dirty="0" err="1"/>
              <a:t>volutpat</a:t>
            </a:r>
            <a:r>
              <a:rPr lang="pt-BR" dirty="0"/>
              <a:t> ut </a:t>
            </a:r>
            <a:r>
              <a:rPr lang="pt-BR" dirty="0" err="1"/>
              <a:t>laoreet</a:t>
            </a:r>
            <a:r>
              <a:rPr lang="pt-BR" dirty="0"/>
              <a:t> </a:t>
            </a:r>
            <a:r>
              <a:rPr lang="pt-BR" dirty="0" err="1"/>
              <a:t>dolore</a:t>
            </a:r>
            <a:r>
              <a:rPr lang="pt-BR" dirty="0"/>
              <a:t> magna </a:t>
            </a:r>
            <a:r>
              <a:rPr lang="pt-BR" dirty="0" err="1"/>
              <a:t>aliquam</a:t>
            </a:r>
            <a:r>
              <a:rPr lang="pt-BR" dirty="0"/>
              <a:t> erat </a:t>
            </a:r>
            <a:r>
              <a:rPr lang="pt-BR" dirty="0" err="1"/>
              <a:t>volutpat</a:t>
            </a:r>
            <a:r>
              <a:rPr lang="pt-BR" dirty="0"/>
              <a:t>. </a:t>
            </a:r>
          </a:p>
        </p:txBody>
      </p:sp>
      <p:sp>
        <p:nvSpPr>
          <p:cNvPr id="6" name="Espaço Reservado para Conteúdo 15">
            <a:extLst>
              <a:ext uri="{FF2B5EF4-FFF2-40B4-BE49-F238E27FC236}">
                <a16:creationId xmlns:a16="http://schemas.microsoft.com/office/drawing/2014/main" id="{7164B631-891B-4A0C-9583-3C16244E345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905572" y="2752725"/>
            <a:ext cx="7619677" cy="3043641"/>
          </a:xfrm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1pPr>
            <a:lvl2pPr marL="0" indent="0" algn="ctr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2pPr>
            <a:lvl3pPr marL="0" indent="0" algn="ctr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3pPr>
            <a:lvl4pPr marL="0" indent="0" algn="ctr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4pPr>
            <a:lvl5pPr marL="0" indent="0" algn="ctr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pt-BR" dirty="0"/>
              <a:t>Adicione um gráfico, uma tabela ou uma imagem.</a:t>
            </a: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24966B46-77A0-44A5-BA7A-0DB310A8A314}"/>
              </a:ext>
            </a:extLst>
          </p:cNvPr>
          <p:cNvSpPr/>
          <p:nvPr userDrawn="1"/>
        </p:nvSpPr>
        <p:spPr>
          <a:xfrm>
            <a:off x="0" y="6315075"/>
            <a:ext cx="12192000" cy="5429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latin typeface="Roboto" panose="02000000000000000000" pitchFamily="2" charset="0"/>
            </a:endParaRPr>
          </a:p>
        </p:txBody>
      </p:sp>
      <p:pic>
        <p:nvPicPr>
          <p:cNvPr id="9" name="Imagem 8" descr="Tela de celular com texto preto sobre fundo branco&#10;&#10;Descrição gerada automaticamente">
            <a:extLst>
              <a:ext uri="{FF2B5EF4-FFF2-40B4-BE49-F238E27FC236}">
                <a16:creationId xmlns:a16="http://schemas.microsoft.com/office/drawing/2014/main" id="{31BFAA6A-BC9D-4810-AE13-A17658BB42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25224" y="6489701"/>
            <a:ext cx="581025" cy="368300"/>
          </a:xfrm>
          <a:prstGeom prst="rect">
            <a:avLst/>
          </a:prstGeom>
        </p:spPr>
      </p:pic>
      <p:sp>
        <p:nvSpPr>
          <p:cNvPr id="10" name="Espaço Reservado para Número de Slide 2">
            <a:extLst>
              <a:ext uri="{FF2B5EF4-FFF2-40B4-BE49-F238E27FC236}">
                <a16:creationId xmlns:a16="http://schemas.microsoft.com/office/drawing/2014/main" id="{9FFB9B5C-BA29-4D36-8C2C-2F3891FE33E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25225" y="6489700"/>
            <a:ext cx="581025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D11D262-DD36-4C3A-9581-B03EDCFD2EDD}" type="slidenum">
              <a:rPr lang="pt-BR" smtClean="0"/>
              <a:pPr/>
              <a:t>‹nº›</a:t>
            </a:fld>
            <a:endParaRPr lang="pt-BR" dirty="0"/>
          </a:p>
        </p:txBody>
      </p:sp>
      <p:pic>
        <p:nvPicPr>
          <p:cNvPr id="11" name="Imagem 10" descr="Uma imagem contendo edifício&#10;&#10;Descrição gerada automaticamente">
            <a:extLst>
              <a:ext uri="{FF2B5EF4-FFF2-40B4-BE49-F238E27FC236}">
                <a16:creationId xmlns:a16="http://schemas.microsoft.com/office/drawing/2014/main" id="{BF23ACB4-F25C-444E-A064-9EEAE73621F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5753" y="350847"/>
            <a:ext cx="407426" cy="594509"/>
          </a:xfrm>
          <a:prstGeom prst="rect">
            <a:avLst/>
          </a:prstGeom>
        </p:spPr>
      </p:pic>
      <p:pic>
        <p:nvPicPr>
          <p:cNvPr id="12" name="Imagem 11" descr="Uma imagem contendo relógio, placar&#10;&#10;Descrição gerada automaticamente">
            <a:extLst>
              <a:ext uri="{FF2B5EF4-FFF2-40B4-BE49-F238E27FC236}">
                <a16:creationId xmlns:a16="http://schemas.microsoft.com/office/drawing/2014/main" id="{DA12AF91-939F-45AD-96FD-98086988807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20401" y="389993"/>
            <a:ext cx="857250" cy="619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33566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lide de Títul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>
            <a:extLst>
              <a:ext uri="{FF2B5EF4-FFF2-40B4-BE49-F238E27FC236}">
                <a16:creationId xmlns:a16="http://schemas.microsoft.com/office/drawing/2014/main" id="{C521766B-81AA-48E4-866D-1CB4F4A86655}"/>
              </a:ext>
            </a:extLst>
          </p:cNvPr>
          <p:cNvSpPr/>
          <p:nvPr userDrawn="1"/>
        </p:nvSpPr>
        <p:spPr>
          <a:xfrm>
            <a:off x="1" y="2355742"/>
            <a:ext cx="12191999" cy="21542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latin typeface="Roboto" panose="02000000000000000000" pitchFamily="2" charset="0"/>
            </a:endParaRP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41AED26C-10AB-4405-BE52-EFFFB0E7F9A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485736"/>
            <a:ext cx="12191999" cy="2372263"/>
          </a:xfrm>
          <a:prstGeom prst="rect">
            <a:avLst/>
          </a:prstGeom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id="{62134EBD-6152-4D20-B19D-A28F610B3E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1999" cy="2412786"/>
          </a:xfrm>
          <a:prstGeom prst="rect">
            <a:avLst/>
          </a:prstGeom>
        </p:spPr>
      </p:pic>
      <p:sp>
        <p:nvSpPr>
          <p:cNvPr id="7" name="Título 6">
            <a:extLst>
              <a:ext uri="{FF2B5EF4-FFF2-40B4-BE49-F238E27FC236}">
                <a16:creationId xmlns:a16="http://schemas.microsoft.com/office/drawing/2014/main" id="{D75A5E86-6513-4879-B8FF-C35A52F070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8750" y="3159728"/>
            <a:ext cx="7877175" cy="43338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Título da apresentação 24pt </a:t>
            </a:r>
            <a:r>
              <a:rPr lang="pt-BR" dirty="0" err="1"/>
              <a:t>bold</a:t>
            </a:r>
            <a:endParaRPr lang="pt-BR" dirty="0"/>
          </a:p>
        </p:txBody>
      </p:sp>
      <p:pic>
        <p:nvPicPr>
          <p:cNvPr id="6" name="Imagem 5" descr="Uma imagem contendo edifício&#10;&#10;Descrição gerada automaticamente">
            <a:extLst>
              <a:ext uri="{FF2B5EF4-FFF2-40B4-BE49-F238E27FC236}">
                <a16:creationId xmlns:a16="http://schemas.microsoft.com/office/drawing/2014/main" id="{02AEB864-C0CF-45E0-A125-C3CECA250E0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1134" y="3022169"/>
            <a:ext cx="557616" cy="813662"/>
          </a:xfrm>
          <a:prstGeom prst="rect">
            <a:avLst/>
          </a:prstGeom>
        </p:spPr>
      </p:pic>
      <p:pic>
        <p:nvPicPr>
          <p:cNvPr id="10" name="Imagem 9" descr="Uma imagem contendo relógio, placar&#10;&#10;Descrição gerada automaticamente">
            <a:extLst>
              <a:ext uri="{FF2B5EF4-FFF2-40B4-BE49-F238E27FC236}">
                <a16:creationId xmlns:a16="http://schemas.microsoft.com/office/drawing/2014/main" id="{7E017C81-8D44-4A2F-BAC7-E3C73C1C57D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0925" y="2989050"/>
            <a:ext cx="1217278" cy="879900"/>
          </a:xfrm>
          <a:prstGeom prst="rect">
            <a:avLst/>
          </a:prstGeom>
        </p:spPr>
      </p:pic>
      <p:sp>
        <p:nvSpPr>
          <p:cNvPr id="11" name="Espaço Reservado para Texto 8">
            <a:extLst>
              <a:ext uri="{FF2B5EF4-FFF2-40B4-BE49-F238E27FC236}">
                <a16:creationId xmlns:a16="http://schemas.microsoft.com/office/drawing/2014/main" id="{F5E894C7-F6B6-47F6-A424-8ADC14F9A25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28750" y="3555338"/>
            <a:ext cx="1952625" cy="319088"/>
          </a:xfrm>
        </p:spPr>
        <p:txBody>
          <a:bodyPr lIns="0" tIns="0" rIns="0" bIns="0"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4pPr>
            <a:lvl5pPr marL="0" indent="0" algn="l"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  <a:latin typeface="Roboto" panose="02000000000000000000" pitchFamily="2" charset="0"/>
              </a:defRPr>
            </a:lvl5pPr>
          </a:lstStyle>
          <a:p>
            <a:pPr lvl="4"/>
            <a:r>
              <a:rPr lang="pt-BR" dirty="0"/>
              <a:t>Coloque a data 12pt </a:t>
            </a:r>
            <a:r>
              <a:rPr lang="pt-BR" dirty="0" err="1"/>
              <a:t>bold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18227388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3_Layout Personaliza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>
            <a:extLst>
              <a:ext uri="{FF2B5EF4-FFF2-40B4-BE49-F238E27FC236}">
                <a16:creationId xmlns:a16="http://schemas.microsoft.com/office/drawing/2014/main" id="{24966B46-77A0-44A5-BA7A-0DB310A8A314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latin typeface="Roboto" panose="02000000000000000000" pitchFamily="2" charset="0"/>
            </a:endParaRPr>
          </a:p>
        </p:txBody>
      </p:sp>
      <p:pic>
        <p:nvPicPr>
          <p:cNvPr id="13" name="Gráfico 12">
            <a:extLst>
              <a:ext uri="{FF2B5EF4-FFF2-40B4-BE49-F238E27FC236}">
                <a16:creationId xmlns:a16="http://schemas.microsoft.com/office/drawing/2014/main" id="{521C1A88-80CE-4E7C-AF31-6F65377DC0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753" y="1755193"/>
            <a:ext cx="2793299" cy="4074107"/>
          </a:xfrm>
          <a:prstGeom prst="rect">
            <a:avLst/>
          </a:prstGeom>
        </p:spPr>
      </p:pic>
      <p:sp>
        <p:nvSpPr>
          <p:cNvPr id="4" name="Título 1">
            <a:extLst>
              <a:ext uri="{FF2B5EF4-FFF2-40B4-BE49-F238E27FC236}">
                <a16:creationId xmlns:a16="http://schemas.microsoft.com/office/drawing/2014/main" id="{A5180AFD-C1B6-4D8A-8F55-4017DF1A68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2500" y="511968"/>
            <a:ext cx="8048625" cy="4333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 dirty="0"/>
              <a:t>Título do slide 24pt </a:t>
            </a:r>
            <a:r>
              <a:rPr lang="pt-BR" dirty="0" err="1"/>
              <a:t>bold</a:t>
            </a:r>
            <a:endParaRPr lang="pt-BR" dirty="0"/>
          </a:p>
        </p:txBody>
      </p:sp>
      <p:sp>
        <p:nvSpPr>
          <p:cNvPr id="5" name="Espaço Reservado para Texto 6">
            <a:extLst>
              <a:ext uri="{FF2B5EF4-FFF2-40B4-BE49-F238E27FC236}">
                <a16:creationId xmlns:a16="http://schemas.microsoft.com/office/drawing/2014/main" id="{78B3F457-B5C4-44DC-86F8-4184BD4ED6B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05572" y="1524001"/>
            <a:ext cx="7619677" cy="876300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pt-BR" dirty="0"/>
              <a:t>Texto corrido 14pt. </a:t>
            </a:r>
            <a:r>
              <a:rPr lang="pt-BR" dirty="0" err="1"/>
              <a:t>Amet</a:t>
            </a:r>
            <a:r>
              <a:rPr lang="pt-BR" dirty="0"/>
              <a:t>, </a:t>
            </a:r>
            <a:r>
              <a:rPr lang="pt-BR" dirty="0" err="1"/>
              <a:t>consectetuer</a:t>
            </a:r>
            <a:r>
              <a:rPr lang="pt-BR" dirty="0"/>
              <a:t> </a:t>
            </a:r>
            <a:r>
              <a:rPr lang="pt-BR" dirty="0" err="1"/>
              <a:t>adipiscing</a:t>
            </a:r>
            <a:r>
              <a:rPr lang="pt-BR" dirty="0"/>
              <a:t> </a:t>
            </a:r>
            <a:r>
              <a:rPr lang="pt-BR" dirty="0" err="1"/>
              <a:t>elit</a:t>
            </a:r>
            <a:r>
              <a:rPr lang="pt-BR" dirty="0"/>
              <a:t>, </a:t>
            </a:r>
            <a:r>
              <a:rPr lang="pt-BR" dirty="0" err="1"/>
              <a:t>sed</a:t>
            </a:r>
            <a:r>
              <a:rPr lang="pt-BR" dirty="0"/>
              <a:t> </a:t>
            </a:r>
            <a:r>
              <a:rPr lang="pt-BR" dirty="0" err="1"/>
              <a:t>diam</a:t>
            </a:r>
            <a:r>
              <a:rPr lang="pt-BR" dirty="0"/>
              <a:t> </a:t>
            </a:r>
            <a:r>
              <a:rPr lang="pt-BR" dirty="0" err="1"/>
              <a:t>nonummy</a:t>
            </a:r>
            <a:r>
              <a:rPr lang="pt-BR" dirty="0"/>
              <a:t> </a:t>
            </a:r>
            <a:r>
              <a:rPr lang="pt-BR" dirty="0" err="1"/>
              <a:t>nibh</a:t>
            </a:r>
            <a:r>
              <a:rPr lang="pt-BR" dirty="0"/>
              <a:t> </a:t>
            </a:r>
            <a:r>
              <a:rPr lang="pt-BR" dirty="0" err="1"/>
              <a:t>euismod</a:t>
            </a:r>
            <a:r>
              <a:rPr lang="pt-BR" dirty="0"/>
              <a:t> </a:t>
            </a:r>
            <a:r>
              <a:rPr lang="pt-BR" dirty="0" err="1"/>
              <a:t>tincidunt</a:t>
            </a:r>
            <a:r>
              <a:rPr lang="pt-BR" dirty="0"/>
              <a:t> ut </a:t>
            </a:r>
            <a:r>
              <a:rPr lang="pt-BR" dirty="0" err="1"/>
              <a:t>laoreet</a:t>
            </a:r>
            <a:r>
              <a:rPr lang="pt-BR" dirty="0"/>
              <a:t> </a:t>
            </a:r>
            <a:r>
              <a:rPr lang="pt-BR" dirty="0" err="1"/>
              <a:t>dolore</a:t>
            </a:r>
            <a:r>
              <a:rPr lang="pt-BR" dirty="0"/>
              <a:t> magna </a:t>
            </a:r>
            <a:r>
              <a:rPr lang="pt-BR" dirty="0" err="1"/>
              <a:t>aliquam</a:t>
            </a:r>
            <a:r>
              <a:rPr lang="pt-BR" dirty="0"/>
              <a:t> erat </a:t>
            </a:r>
            <a:r>
              <a:rPr lang="pt-BR" dirty="0" err="1"/>
              <a:t>volutpat</a:t>
            </a:r>
            <a:r>
              <a:rPr lang="pt-BR" dirty="0"/>
              <a:t>. </a:t>
            </a:r>
            <a:r>
              <a:rPr lang="pt-BR" dirty="0" err="1"/>
              <a:t>Lorem</a:t>
            </a:r>
            <a:r>
              <a:rPr lang="pt-BR" dirty="0"/>
              <a:t> ipsum </a:t>
            </a:r>
            <a:r>
              <a:rPr lang="pt-BR" dirty="0" err="1"/>
              <a:t>dol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amet</a:t>
            </a:r>
            <a:r>
              <a:rPr lang="pt-BR" dirty="0"/>
              <a:t>, </a:t>
            </a:r>
            <a:r>
              <a:rPr lang="pt-BR" dirty="0" err="1"/>
              <a:t>consectetuer</a:t>
            </a:r>
            <a:r>
              <a:rPr lang="pt-BR" dirty="0"/>
              <a:t> </a:t>
            </a:r>
            <a:r>
              <a:rPr lang="pt-BR" dirty="0" err="1"/>
              <a:t>adipiscing</a:t>
            </a:r>
            <a:r>
              <a:rPr lang="pt-BR" dirty="0"/>
              <a:t> </a:t>
            </a:r>
            <a:r>
              <a:rPr lang="pt-BR" dirty="0" err="1"/>
              <a:t>elit</a:t>
            </a:r>
            <a:r>
              <a:rPr lang="pt-BR" dirty="0"/>
              <a:t>, </a:t>
            </a:r>
            <a:r>
              <a:rPr lang="pt-BR" dirty="0" err="1"/>
              <a:t>sed</a:t>
            </a:r>
            <a:r>
              <a:rPr lang="pt-BR" dirty="0"/>
              <a:t> </a:t>
            </a:r>
            <a:r>
              <a:rPr lang="pt-BR" dirty="0" err="1"/>
              <a:t>diam</a:t>
            </a:r>
            <a:r>
              <a:rPr lang="pt-BR" dirty="0"/>
              <a:t> </a:t>
            </a:r>
            <a:r>
              <a:rPr lang="pt-BR" dirty="0" err="1"/>
              <a:t>nonummy</a:t>
            </a:r>
            <a:r>
              <a:rPr lang="pt-BR" dirty="0"/>
              <a:t> </a:t>
            </a:r>
            <a:r>
              <a:rPr lang="pt-BR" dirty="0" err="1"/>
              <a:t>nibh</a:t>
            </a:r>
            <a:r>
              <a:rPr lang="pt-BR" dirty="0"/>
              <a:t> </a:t>
            </a:r>
            <a:r>
              <a:rPr lang="pt-BR" dirty="0" err="1"/>
              <a:t>euismod</a:t>
            </a:r>
            <a:r>
              <a:rPr lang="pt-BR" dirty="0"/>
              <a:t> </a:t>
            </a:r>
            <a:r>
              <a:rPr lang="pt-BR" dirty="0" err="1"/>
              <a:t>tincidunt</a:t>
            </a:r>
            <a:r>
              <a:rPr lang="pt-BR" dirty="0"/>
              <a:t> ut </a:t>
            </a:r>
            <a:r>
              <a:rPr lang="pt-BR" dirty="0" err="1"/>
              <a:t>laoreet</a:t>
            </a:r>
            <a:r>
              <a:rPr lang="pt-BR" dirty="0"/>
              <a:t> </a:t>
            </a:r>
            <a:r>
              <a:rPr lang="pt-BR" dirty="0" err="1"/>
              <a:t>dolore</a:t>
            </a:r>
            <a:r>
              <a:rPr lang="pt-BR" dirty="0"/>
              <a:t> magna </a:t>
            </a:r>
            <a:r>
              <a:rPr lang="pt-BR" dirty="0" err="1"/>
              <a:t>aliquam</a:t>
            </a:r>
            <a:r>
              <a:rPr lang="pt-BR" dirty="0"/>
              <a:t> erat </a:t>
            </a:r>
            <a:r>
              <a:rPr lang="pt-BR" dirty="0" err="1"/>
              <a:t>volutpat</a:t>
            </a:r>
            <a:r>
              <a:rPr lang="pt-BR" dirty="0"/>
              <a:t> ut </a:t>
            </a:r>
            <a:r>
              <a:rPr lang="pt-BR" dirty="0" err="1"/>
              <a:t>laoreet</a:t>
            </a:r>
            <a:r>
              <a:rPr lang="pt-BR" dirty="0"/>
              <a:t> </a:t>
            </a:r>
            <a:r>
              <a:rPr lang="pt-BR" dirty="0" err="1"/>
              <a:t>dolore</a:t>
            </a:r>
            <a:r>
              <a:rPr lang="pt-BR" dirty="0"/>
              <a:t> magna </a:t>
            </a:r>
            <a:r>
              <a:rPr lang="pt-BR" dirty="0" err="1"/>
              <a:t>aliquam</a:t>
            </a:r>
            <a:r>
              <a:rPr lang="pt-BR" dirty="0"/>
              <a:t> erat </a:t>
            </a:r>
            <a:r>
              <a:rPr lang="pt-BR" dirty="0" err="1"/>
              <a:t>volutpat</a:t>
            </a:r>
            <a:r>
              <a:rPr lang="pt-BR" dirty="0"/>
              <a:t>. </a:t>
            </a:r>
          </a:p>
        </p:txBody>
      </p:sp>
      <p:sp>
        <p:nvSpPr>
          <p:cNvPr id="6" name="Espaço Reservado para Conteúdo 15">
            <a:extLst>
              <a:ext uri="{FF2B5EF4-FFF2-40B4-BE49-F238E27FC236}">
                <a16:creationId xmlns:a16="http://schemas.microsoft.com/office/drawing/2014/main" id="{7164B631-891B-4A0C-9583-3C16244E345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905572" y="2752725"/>
            <a:ext cx="7619677" cy="3043641"/>
          </a:xfrm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1pPr>
            <a:lvl2pPr marL="0" indent="0" algn="ctr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2pPr>
            <a:lvl3pPr marL="0" indent="0" algn="ctr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3pPr>
            <a:lvl4pPr marL="0" indent="0" algn="ctr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4pPr>
            <a:lvl5pPr marL="0" indent="0" algn="ctr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pt-BR" dirty="0"/>
              <a:t>Adicione um gráfico, uma tabela ou uma imagem.</a:t>
            </a:r>
          </a:p>
        </p:txBody>
      </p:sp>
      <p:pic>
        <p:nvPicPr>
          <p:cNvPr id="9" name="Imagem 8" descr="Tela de celular com texto preto sobre fundo branco&#10;&#10;Descrição gerada automaticamente">
            <a:extLst>
              <a:ext uri="{FF2B5EF4-FFF2-40B4-BE49-F238E27FC236}">
                <a16:creationId xmlns:a16="http://schemas.microsoft.com/office/drawing/2014/main" id="{31BFAA6A-BC9D-4810-AE13-A17658BB42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25224" y="6489701"/>
            <a:ext cx="581025" cy="368300"/>
          </a:xfrm>
          <a:prstGeom prst="rect">
            <a:avLst/>
          </a:prstGeom>
        </p:spPr>
      </p:pic>
      <p:sp>
        <p:nvSpPr>
          <p:cNvPr id="10" name="Espaço Reservado para Número de Slide 2">
            <a:extLst>
              <a:ext uri="{FF2B5EF4-FFF2-40B4-BE49-F238E27FC236}">
                <a16:creationId xmlns:a16="http://schemas.microsoft.com/office/drawing/2014/main" id="{9FFB9B5C-BA29-4D36-8C2C-2F3891FE33E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25225" y="6489700"/>
            <a:ext cx="581025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D11D262-DD36-4C3A-9581-B03EDCFD2EDD}" type="slidenum">
              <a:rPr lang="pt-BR" smtClean="0"/>
              <a:pPr/>
              <a:t>‹nº›</a:t>
            </a:fld>
            <a:endParaRPr lang="pt-BR" dirty="0"/>
          </a:p>
        </p:txBody>
      </p:sp>
      <p:pic>
        <p:nvPicPr>
          <p:cNvPr id="11" name="Imagem 10" descr="Uma imagem contendo edifício&#10;&#10;Descrição gerada automaticamente">
            <a:extLst>
              <a:ext uri="{FF2B5EF4-FFF2-40B4-BE49-F238E27FC236}">
                <a16:creationId xmlns:a16="http://schemas.microsoft.com/office/drawing/2014/main" id="{BF23ACB4-F25C-444E-A064-9EEAE73621F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5753" y="350847"/>
            <a:ext cx="407426" cy="594509"/>
          </a:xfrm>
          <a:prstGeom prst="rect">
            <a:avLst/>
          </a:prstGeom>
        </p:spPr>
      </p:pic>
      <p:pic>
        <p:nvPicPr>
          <p:cNvPr id="12" name="Imagem 11">
            <a:extLst>
              <a:ext uri="{FF2B5EF4-FFF2-40B4-BE49-F238E27FC236}">
                <a16:creationId xmlns:a16="http://schemas.microsoft.com/office/drawing/2014/main" id="{DA12AF91-939F-45AD-96FD-98086988807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20401" y="389993"/>
            <a:ext cx="857249" cy="619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672795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6_Layout Personaliza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>
            <a:extLst>
              <a:ext uri="{FF2B5EF4-FFF2-40B4-BE49-F238E27FC236}">
                <a16:creationId xmlns:a16="http://schemas.microsoft.com/office/drawing/2014/main" id="{A5180AFD-C1B6-4D8A-8F55-4017DF1A68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2500" y="511968"/>
            <a:ext cx="8048625" cy="43338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Título do slide 24pt </a:t>
            </a:r>
            <a:r>
              <a:rPr lang="pt-BR" dirty="0" err="1"/>
              <a:t>bold</a:t>
            </a:r>
            <a:endParaRPr lang="pt-BR" dirty="0"/>
          </a:p>
        </p:txBody>
      </p:sp>
      <p:sp>
        <p:nvSpPr>
          <p:cNvPr id="5" name="Espaço Reservado para Texto 6">
            <a:extLst>
              <a:ext uri="{FF2B5EF4-FFF2-40B4-BE49-F238E27FC236}">
                <a16:creationId xmlns:a16="http://schemas.microsoft.com/office/drawing/2014/main" id="{78B3F457-B5C4-44DC-86F8-4184BD4ED6B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05572" y="1524001"/>
            <a:ext cx="7619677" cy="876300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pt-BR" dirty="0"/>
              <a:t>Texto corrido 14pt. </a:t>
            </a:r>
            <a:r>
              <a:rPr lang="pt-BR" dirty="0" err="1"/>
              <a:t>Amet</a:t>
            </a:r>
            <a:r>
              <a:rPr lang="pt-BR" dirty="0"/>
              <a:t>, </a:t>
            </a:r>
            <a:r>
              <a:rPr lang="pt-BR" dirty="0" err="1"/>
              <a:t>consectetuer</a:t>
            </a:r>
            <a:r>
              <a:rPr lang="pt-BR" dirty="0"/>
              <a:t> </a:t>
            </a:r>
            <a:r>
              <a:rPr lang="pt-BR" dirty="0" err="1"/>
              <a:t>adipiscing</a:t>
            </a:r>
            <a:r>
              <a:rPr lang="pt-BR" dirty="0"/>
              <a:t> </a:t>
            </a:r>
            <a:r>
              <a:rPr lang="pt-BR" dirty="0" err="1"/>
              <a:t>elit</a:t>
            </a:r>
            <a:r>
              <a:rPr lang="pt-BR" dirty="0"/>
              <a:t>, </a:t>
            </a:r>
            <a:r>
              <a:rPr lang="pt-BR" dirty="0" err="1"/>
              <a:t>sed</a:t>
            </a:r>
            <a:r>
              <a:rPr lang="pt-BR" dirty="0"/>
              <a:t> </a:t>
            </a:r>
            <a:r>
              <a:rPr lang="pt-BR" dirty="0" err="1"/>
              <a:t>diam</a:t>
            </a:r>
            <a:r>
              <a:rPr lang="pt-BR" dirty="0"/>
              <a:t> </a:t>
            </a:r>
            <a:r>
              <a:rPr lang="pt-BR" dirty="0" err="1"/>
              <a:t>nonummy</a:t>
            </a:r>
            <a:r>
              <a:rPr lang="pt-BR" dirty="0"/>
              <a:t> </a:t>
            </a:r>
            <a:r>
              <a:rPr lang="pt-BR" dirty="0" err="1"/>
              <a:t>nibh</a:t>
            </a:r>
            <a:r>
              <a:rPr lang="pt-BR" dirty="0"/>
              <a:t> </a:t>
            </a:r>
            <a:r>
              <a:rPr lang="pt-BR" dirty="0" err="1"/>
              <a:t>euismod</a:t>
            </a:r>
            <a:r>
              <a:rPr lang="pt-BR" dirty="0"/>
              <a:t> </a:t>
            </a:r>
            <a:r>
              <a:rPr lang="pt-BR" dirty="0" err="1"/>
              <a:t>tincidunt</a:t>
            </a:r>
            <a:r>
              <a:rPr lang="pt-BR" dirty="0"/>
              <a:t> ut </a:t>
            </a:r>
            <a:r>
              <a:rPr lang="pt-BR" dirty="0" err="1"/>
              <a:t>laoreet</a:t>
            </a:r>
            <a:r>
              <a:rPr lang="pt-BR" dirty="0"/>
              <a:t> </a:t>
            </a:r>
            <a:r>
              <a:rPr lang="pt-BR" dirty="0" err="1"/>
              <a:t>dolore</a:t>
            </a:r>
            <a:r>
              <a:rPr lang="pt-BR" dirty="0"/>
              <a:t> magna </a:t>
            </a:r>
            <a:r>
              <a:rPr lang="pt-BR" dirty="0" err="1"/>
              <a:t>aliquam</a:t>
            </a:r>
            <a:r>
              <a:rPr lang="pt-BR" dirty="0"/>
              <a:t> erat </a:t>
            </a:r>
            <a:r>
              <a:rPr lang="pt-BR" dirty="0" err="1"/>
              <a:t>volutpat</a:t>
            </a:r>
            <a:r>
              <a:rPr lang="pt-BR" dirty="0"/>
              <a:t>. </a:t>
            </a:r>
            <a:r>
              <a:rPr lang="pt-BR" dirty="0" err="1"/>
              <a:t>Lorem</a:t>
            </a:r>
            <a:r>
              <a:rPr lang="pt-BR" dirty="0"/>
              <a:t> ipsum </a:t>
            </a:r>
            <a:r>
              <a:rPr lang="pt-BR" dirty="0" err="1"/>
              <a:t>dol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amet</a:t>
            </a:r>
            <a:r>
              <a:rPr lang="pt-BR" dirty="0"/>
              <a:t>, </a:t>
            </a:r>
            <a:r>
              <a:rPr lang="pt-BR" dirty="0" err="1"/>
              <a:t>consectetuer</a:t>
            </a:r>
            <a:r>
              <a:rPr lang="pt-BR" dirty="0"/>
              <a:t> </a:t>
            </a:r>
            <a:r>
              <a:rPr lang="pt-BR" dirty="0" err="1"/>
              <a:t>adipiscing</a:t>
            </a:r>
            <a:r>
              <a:rPr lang="pt-BR" dirty="0"/>
              <a:t> </a:t>
            </a:r>
            <a:r>
              <a:rPr lang="pt-BR" dirty="0" err="1"/>
              <a:t>elit</a:t>
            </a:r>
            <a:r>
              <a:rPr lang="pt-BR" dirty="0"/>
              <a:t>, </a:t>
            </a:r>
            <a:r>
              <a:rPr lang="pt-BR" dirty="0" err="1"/>
              <a:t>sed</a:t>
            </a:r>
            <a:r>
              <a:rPr lang="pt-BR" dirty="0"/>
              <a:t> </a:t>
            </a:r>
            <a:r>
              <a:rPr lang="pt-BR" dirty="0" err="1"/>
              <a:t>diam</a:t>
            </a:r>
            <a:r>
              <a:rPr lang="pt-BR" dirty="0"/>
              <a:t> </a:t>
            </a:r>
            <a:r>
              <a:rPr lang="pt-BR" dirty="0" err="1"/>
              <a:t>nonummy</a:t>
            </a:r>
            <a:r>
              <a:rPr lang="pt-BR" dirty="0"/>
              <a:t> </a:t>
            </a:r>
            <a:r>
              <a:rPr lang="pt-BR" dirty="0" err="1"/>
              <a:t>nibh</a:t>
            </a:r>
            <a:r>
              <a:rPr lang="pt-BR" dirty="0"/>
              <a:t> </a:t>
            </a:r>
            <a:r>
              <a:rPr lang="pt-BR" dirty="0" err="1"/>
              <a:t>euismod</a:t>
            </a:r>
            <a:r>
              <a:rPr lang="pt-BR" dirty="0"/>
              <a:t> </a:t>
            </a:r>
            <a:r>
              <a:rPr lang="pt-BR" dirty="0" err="1"/>
              <a:t>tincidunt</a:t>
            </a:r>
            <a:r>
              <a:rPr lang="pt-BR" dirty="0"/>
              <a:t> ut </a:t>
            </a:r>
            <a:r>
              <a:rPr lang="pt-BR" dirty="0" err="1"/>
              <a:t>laoreet</a:t>
            </a:r>
            <a:r>
              <a:rPr lang="pt-BR" dirty="0"/>
              <a:t> </a:t>
            </a:r>
            <a:r>
              <a:rPr lang="pt-BR" dirty="0" err="1"/>
              <a:t>dolore</a:t>
            </a:r>
            <a:r>
              <a:rPr lang="pt-BR" dirty="0"/>
              <a:t> magna </a:t>
            </a:r>
            <a:r>
              <a:rPr lang="pt-BR" dirty="0" err="1"/>
              <a:t>aliquam</a:t>
            </a:r>
            <a:r>
              <a:rPr lang="pt-BR" dirty="0"/>
              <a:t> erat </a:t>
            </a:r>
            <a:r>
              <a:rPr lang="pt-BR" dirty="0" err="1"/>
              <a:t>volutpat</a:t>
            </a:r>
            <a:r>
              <a:rPr lang="pt-BR" dirty="0"/>
              <a:t> ut </a:t>
            </a:r>
            <a:r>
              <a:rPr lang="pt-BR" dirty="0" err="1"/>
              <a:t>laoreet</a:t>
            </a:r>
            <a:r>
              <a:rPr lang="pt-BR" dirty="0"/>
              <a:t> </a:t>
            </a:r>
            <a:r>
              <a:rPr lang="pt-BR" dirty="0" err="1"/>
              <a:t>dolore</a:t>
            </a:r>
            <a:r>
              <a:rPr lang="pt-BR" dirty="0"/>
              <a:t> magna </a:t>
            </a:r>
            <a:r>
              <a:rPr lang="pt-BR" dirty="0" err="1"/>
              <a:t>aliquam</a:t>
            </a:r>
            <a:r>
              <a:rPr lang="pt-BR" dirty="0"/>
              <a:t> erat </a:t>
            </a:r>
            <a:r>
              <a:rPr lang="pt-BR" dirty="0" err="1"/>
              <a:t>volutpat</a:t>
            </a:r>
            <a:r>
              <a:rPr lang="pt-BR" dirty="0"/>
              <a:t>. </a:t>
            </a:r>
          </a:p>
        </p:txBody>
      </p:sp>
      <p:sp>
        <p:nvSpPr>
          <p:cNvPr id="6" name="Espaço Reservado para Conteúdo 15">
            <a:extLst>
              <a:ext uri="{FF2B5EF4-FFF2-40B4-BE49-F238E27FC236}">
                <a16:creationId xmlns:a16="http://schemas.microsoft.com/office/drawing/2014/main" id="{7164B631-891B-4A0C-9583-3C16244E345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905572" y="2752725"/>
            <a:ext cx="7619677" cy="3043641"/>
          </a:xfrm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1pPr>
            <a:lvl2pPr marL="0" indent="0" algn="ctr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2pPr>
            <a:lvl3pPr marL="0" indent="0" algn="ctr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3pPr>
            <a:lvl4pPr marL="0" indent="0" algn="ctr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4pPr>
            <a:lvl5pPr marL="0" indent="0" algn="ctr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pt-BR" dirty="0"/>
              <a:t>Adicione um gráfico, uma tabela ou uma imagem.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BA5AEED6-B6B9-4BD7-9D0B-4B340DC68C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2954" y="1751307"/>
            <a:ext cx="2762018" cy="4030286"/>
          </a:xfrm>
          <a:prstGeom prst="rect">
            <a:avLst/>
          </a:prstGeom>
        </p:spPr>
      </p:pic>
      <p:sp>
        <p:nvSpPr>
          <p:cNvPr id="8" name="Retângulo 7">
            <a:extLst>
              <a:ext uri="{FF2B5EF4-FFF2-40B4-BE49-F238E27FC236}">
                <a16:creationId xmlns:a16="http://schemas.microsoft.com/office/drawing/2014/main" id="{24966B46-77A0-44A5-BA7A-0DB310A8A314}"/>
              </a:ext>
            </a:extLst>
          </p:cNvPr>
          <p:cNvSpPr/>
          <p:nvPr userDrawn="1"/>
        </p:nvSpPr>
        <p:spPr>
          <a:xfrm>
            <a:off x="0" y="6315075"/>
            <a:ext cx="12192000" cy="5429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latin typeface="Roboto" panose="02000000000000000000" pitchFamily="2" charset="0"/>
            </a:endParaRPr>
          </a:p>
        </p:txBody>
      </p:sp>
      <p:pic>
        <p:nvPicPr>
          <p:cNvPr id="9" name="Imagem 8" descr="Tela de celular com texto preto sobre fundo branco&#10;&#10;Descrição gerada automaticamente">
            <a:extLst>
              <a:ext uri="{FF2B5EF4-FFF2-40B4-BE49-F238E27FC236}">
                <a16:creationId xmlns:a16="http://schemas.microsoft.com/office/drawing/2014/main" id="{31BFAA6A-BC9D-4810-AE13-A17658BB42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25224" y="6489701"/>
            <a:ext cx="581025" cy="368300"/>
          </a:xfrm>
          <a:prstGeom prst="rect">
            <a:avLst/>
          </a:prstGeom>
        </p:spPr>
      </p:pic>
      <p:sp>
        <p:nvSpPr>
          <p:cNvPr id="10" name="Espaço Reservado para Número de Slide 2">
            <a:extLst>
              <a:ext uri="{FF2B5EF4-FFF2-40B4-BE49-F238E27FC236}">
                <a16:creationId xmlns:a16="http://schemas.microsoft.com/office/drawing/2014/main" id="{9FFB9B5C-BA29-4D36-8C2C-2F3891FE33E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25225" y="6489700"/>
            <a:ext cx="581025" cy="3651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4D11D262-DD36-4C3A-9581-B03EDCFD2EDD}" type="slidenum">
              <a:rPr lang="pt-BR" smtClean="0"/>
              <a:pPr/>
              <a:t>‹nº›</a:t>
            </a:fld>
            <a:endParaRPr lang="pt-BR" dirty="0"/>
          </a:p>
        </p:txBody>
      </p:sp>
      <p:pic>
        <p:nvPicPr>
          <p:cNvPr id="11" name="Imagem 10" descr="Uma imagem contendo edifício&#10;&#10;Descrição gerada automaticamente">
            <a:extLst>
              <a:ext uri="{FF2B5EF4-FFF2-40B4-BE49-F238E27FC236}">
                <a16:creationId xmlns:a16="http://schemas.microsoft.com/office/drawing/2014/main" id="{BF23ACB4-F25C-444E-A064-9EEAE73621F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5753" y="350847"/>
            <a:ext cx="407426" cy="594509"/>
          </a:xfrm>
          <a:prstGeom prst="rect">
            <a:avLst/>
          </a:prstGeom>
        </p:spPr>
      </p:pic>
      <p:pic>
        <p:nvPicPr>
          <p:cNvPr id="12" name="Imagem 11" descr="Uma imagem contendo relógio, placar&#10;&#10;Descrição gerada automaticamente">
            <a:extLst>
              <a:ext uri="{FF2B5EF4-FFF2-40B4-BE49-F238E27FC236}">
                <a16:creationId xmlns:a16="http://schemas.microsoft.com/office/drawing/2014/main" id="{DA12AF91-939F-45AD-96FD-98086988807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20401" y="389993"/>
            <a:ext cx="857250" cy="619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99244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9_Layout Personaliza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>
            <a:extLst>
              <a:ext uri="{FF2B5EF4-FFF2-40B4-BE49-F238E27FC236}">
                <a16:creationId xmlns:a16="http://schemas.microsoft.com/office/drawing/2014/main" id="{9AC5B091-48E6-4564-B41E-74802F4208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2500" y="511968"/>
            <a:ext cx="8048625" cy="43338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Título do slide 24pt </a:t>
            </a:r>
            <a:r>
              <a:rPr lang="pt-BR" dirty="0" err="1"/>
              <a:t>bold</a:t>
            </a:r>
            <a:endParaRPr lang="pt-BR" dirty="0"/>
          </a:p>
        </p:txBody>
      </p:sp>
      <p:sp>
        <p:nvSpPr>
          <p:cNvPr id="5" name="Espaço Reservado para Texto 6">
            <a:extLst>
              <a:ext uri="{FF2B5EF4-FFF2-40B4-BE49-F238E27FC236}">
                <a16:creationId xmlns:a16="http://schemas.microsoft.com/office/drawing/2014/main" id="{815154F8-3498-4F5F-B5C8-900530ECFF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43024" y="1566862"/>
            <a:ext cx="9505952" cy="485776"/>
          </a:xfrm>
        </p:spPr>
        <p:txBody>
          <a:bodyPr lIns="0" tIns="0" rIns="0" bIns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Citação de destaque, ou chamada de destaque 16pt.</a:t>
            </a:r>
          </a:p>
        </p:txBody>
      </p:sp>
      <p:sp>
        <p:nvSpPr>
          <p:cNvPr id="6" name="Espaço Reservado para Imagem 8">
            <a:extLst>
              <a:ext uri="{FF2B5EF4-FFF2-40B4-BE49-F238E27FC236}">
                <a16:creationId xmlns:a16="http://schemas.microsoft.com/office/drawing/2014/main" id="{988805E3-B83E-4241-ACAB-4BC6756C933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83419" y="2674540"/>
            <a:ext cx="709612" cy="709612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1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pt-BR"/>
          </a:p>
        </p:txBody>
      </p:sp>
      <p:sp>
        <p:nvSpPr>
          <p:cNvPr id="7" name="Espaço Reservado para Imagem 8">
            <a:extLst>
              <a:ext uri="{FF2B5EF4-FFF2-40B4-BE49-F238E27FC236}">
                <a16:creationId xmlns:a16="http://schemas.microsoft.com/office/drawing/2014/main" id="{90402733-A9C4-4C73-B852-0EB4AB28E48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83419" y="3912195"/>
            <a:ext cx="709612" cy="709612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1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pt-BR" dirty="0"/>
          </a:p>
        </p:txBody>
      </p:sp>
      <p:sp>
        <p:nvSpPr>
          <p:cNvPr id="8" name="Espaço Reservado para Imagem 8">
            <a:extLst>
              <a:ext uri="{FF2B5EF4-FFF2-40B4-BE49-F238E27FC236}">
                <a16:creationId xmlns:a16="http://schemas.microsoft.com/office/drawing/2014/main" id="{D1A60260-DE7A-4E50-AE0C-03D02CE02CF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83419" y="5149849"/>
            <a:ext cx="709612" cy="709612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1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pt-BR"/>
          </a:p>
        </p:txBody>
      </p:sp>
      <p:sp>
        <p:nvSpPr>
          <p:cNvPr id="9" name="Espaço Reservado para Texto 6">
            <a:extLst>
              <a:ext uri="{FF2B5EF4-FFF2-40B4-BE49-F238E27FC236}">
                <a16:creationId xmlns:a16="http://schemas.microsoft.com/office/drawing/2014/main" id="{EF35FACA-2621-47E6-8C03-E00C85AEEF8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3525" y="2674540"/>
            <a:ext cx="3343275" cy="709612"/>
          </a:xfrm>
        </p:spPr>
        <p:txBody>
          <a:bodyPr lIns="0" tIns="0" rIns="0" bIns="0" anchor="ctr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pt-BR" dirty="0"/>
              <a:t>Texto corrido 12pt. Exemplo: </a:t>
            </a:r>
            <a:r>
              <a:rPr lang="pt-BR" dirty="0" err="1"/>
              <a:t>Lorem</a:t>
            </a:r>
            <a:r>
              <a:rPr lang="pt-BR" dirty="0"/>
              <a:t> ipsum </a:t>
            </a:r>
            <a:r>
              <a:rPr lang="pt-BR" dirty="0" err="1"/>
              <a:t>dol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amet</a:t>
            </a:r>
            <a:r>
              <a:rPr lang="pt-BR" dirty="0"/>
              <a:t>, </a:t>
            </a:r>
            <a:r>
              <a:rPr lang="pt-BR" dirty="0" err="1"/>
              <a:t>consectetur</a:t>
            </a:r>
            <a:r>
              <a:rPr lang="pt-BR" dirty="0"/>
              <a:t> </a:t>
            </a:r>
            <a:r>
              <a:rPr lang="pt-BR" dirty="0" err="1"/>
              <a:t>adipiscing</a:t>
            </a:r>
            <a:r>
              <a:rPr lang="pt-BR" dirty="0"/>
              <a:t> </a:t>
            </a:r>
            <a:r>
              <a:rPr lang="pt-BR" dirty="0" err="1"/>
              <a:t>elit</a:t>
            </a:r>
            <a:r>
              <a:rPr lang="pt-BR" dirty="0"/>
              <a:t>, </a:t>
            </a:r>
            <a:r>
              <a:rPr lang="pt-BR" dirty="0" err="1"/>
              <a:t>sed</a:t>
            </a:r>
            <a:r>
              <a:rPr lang="pt-BR" dirty="0"/>
              <a:t> do </a:t>
            </a:r>
            <a:r>
              <a:rPr lang="pt-BR" dirty="0" err="1"/>
              <a:t>eiusmod</a:t>
            </a:r>
            <a:r>
              <a:rPr lang="pt-BR" dirty="0"/>
              <a:t> </a:t>
            </a:r>
            <a:r>
              <a:rPr lang="pt-BR" dirty="0" err="1"/>
              <a:t>tempor</a:t>
            </a:r>
            <a:r>
              <a:rPr lang="pt-BR" dirty="0"/>
              <a:t> </a:t>
            </a:r>
            <a:r>
              <a:rPr lang="pt-BR" dirty="0" err="1"/>
              <a:t>incididunt</a:t>
            </a:r>
            <a:r>
              <a:rPr lang="pt-BR" dirty="0"/>
              <a:t> ut labore et </a:t>
            </a:r>
            <a:r>
              <a:rPr lang="pt-BR" dirty="0" err="1"/>
              <a:t>dolore</a:t>
            </a:r>
            <a:r>
              <a:rPr lang="pt-BR" dirty="0"/>
              <a:t> magna </a:t>
            </a:r>
            <a:r>
              <a:rPr lang="pt-BR" dirty="0" err="1"/>
              <a:t>aliqua</a:t>
            </a:r>
            <a:r>
              <a:rPr lang="pt-BR" dirty="0"/>
              <a:t>.</a:t>
            </a:r>
          </a:p>
        </p:txBody>
      </p:sp>
      <p:sp>
        <p:nvSpPr>
          <p:cNvPr id="10" name="Espaço Reservado para Texto 6">
            <a:extLst>
              <a:ext uri="{FF2B5EF4-FFF2-40B4-BE49-F238E27FC236}">
                <a16:creationId xmlns:a16="http://schemas.microsoft.com/office/drawing/2014/main" id="{02A48AF1-2A4F-42FA-BD04-B33020CE22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33525" y="3912195"/>
            <a:ext cx="3343275" cy="709612"/>
          </a:xfrm>
        </p:spPr>
        <p:txBody>
          <a:bodyPr lIns="0" tIns="0" rIns="0" bIns="0" anchor="ctr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pt-BR" dirty="0"/>
              <a:t>Texto corrido 12pt. Exemplo: </a:t>
            </a:r>
            <a:r>
              <a:rPr lang="pt-BR" dirty="0" err="1"/>
              <a:t>Lorem</a:t>
            </a:r>
            <a:r>
              <a:rPr lang="pt-BR" dirty="0"/>
              <a:t> ipsum </a:t>
            </a:r>
            <a:r>
              <a:rPr lang="pt-BR" dirty="0" err="1"/>
              <a:t>dol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amet</a:t>
            </a:r>
            <a:r>
              <a:rPr lang="pt-BR" dirty="0"/>
              <a:t>, </a:t>
            </a:r>
            <a:r>
              <a:rPr lang="pt-BR" dirty="0" err="1"/>
              <a:t>consectetur</a:t>
            </a:r>
            <a:r>
              <a:rPr lang="pt-BR" dirty="0"/>
              <a:t> </a:t>
            </a:r>
            <a:r>
              <a:rPr lang="pt-BR" dirty="0" err="1"/>
              <a:t>adipiscing</a:t>
            </a:r>
            <a:r>
              <a:rPr lang="pt-BR" dirty="0"/>
              <a:t> </a:t>
            </a:r>
            <a:r>
              <a:rPr lang="pt-BR" dirty="0" err="1"/>
              <a:t>elit</a:t>
            </a:r>
            <a:r>
              <a:rPr lang="pt-BR" dirty="0"/>
              <a:t>, </a:t>
            </a:r>
            <a:r>
              <a:rPr lang="pt-BR" dirty="0" err="1"/>
              <a:t>sed</a:t>
            </a:r>
            <a:r>
              <a:rPr lang="pt-BR" dirty="0"/>
              <a:t> do </a:t>
            </a:r>
            <a:r>
              <a:rPr lang="pt-BR" dirty="0" err="1"/>
              <a:t>eiusmod</a:t>
            </a:r>
            <a:r>
              <a:rPr lang="pt-BR" dirty="0"/>
              <a:t> </a:t>
            </a:r>
            <a:r>
              <a:rPr lang="pt-BR" dirty="0" err="1"/>
              <a:t>tempor</a:t>
            </a:r>
            <a:r>
              <a:rPr lang="pt-BR" dirty="0"/>
              <a:t> </a:t>
            </a:r>
            <a:r>
              <a:rPr lang="pt-BR" dirty="0" err="1"/>
              <a:t>incididunt</a:t>
            </a:r>
            <a:r>
              <a:rPr lang="pt-BR" dirty="0"/>
              <a:t> ut labore et </a:t>
            </a:r>
            <a:r>
              <a:rPr lang="pt-BR" dirty="0" err="1"/>
              <a:t>dolore</a:t>
            </a:r>
            <a:r>
              <a:rPr lang="pt-BR" dirty="0"/>
              <a:t> magna </a:t>
            </a:r>
            <a:r>
              <a:rPr lang="pt-BR" dirty="0" err="1"/>
              <a:t>aliqua</a:t>
            </a:r>
            <a:r>
              <a:rPr lang="pt-BR" dirty="0"/>
              <a:t>.</a:t>
            </a:r>
          </a:p>
        </p:txBody>
      </p:sp>
      <p:sp>
        <p:nvSpPr>
          <p:cNvPr id="11" name="Espaço Reservado para Texto 6">
            <a:extLst>
              <a:ext uri="{FF2B5EF4-FFF2-40B4-BE49-F238E27FC236}">
                <a16:creationId xmlns:a16="http://schemas.microsoft.com/office/drawing/2014/main" id="{D7128572-D2D6-4C9F-962D-8D82C61EF1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33525" y="5149849"/>
            <a:ext cx="3343275" cy="709612"/>
          </a:xfrm>
        </p:spPr>
        <p:txBody>
          <a:bodyPr lIns="0" tIns="0" rIns="0" bIns="0" anchor="ctr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pt-BR" dirty="0"/>
              <a:t>Texto corrido 12pt. Exemplo: </a:t>
            </a:r>
            <a:r>
              <a:rPr lang="pt-BR" dirty="0" err="1"/>
              <a:t>Lorem</a:t>
            </a:r>
            <a:r>
              <a:rPr lang="pt-BR" dirty="0"/>
              <a:t> ipsum </a:t>
            </a:r>
            <a:r>
              <a:rPr lang="pt-BR" dirty="0" err="1"/>
              <a:t>dol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amet</a:t>
            </a:r>
            <a:r>
              <a:rPr lang="pt-BR" dirty="0"/>
              <a:t>, </a:t>
            </a:r>
            <a:r>
              <a:rPr lang="pt-BR" dirty="0" err="1"/>
              <a:t>consectetur</a:t>
            </a:r>
            <a:r>
              <a:rPr lang="pt-BR" dirty="0"/>
              <a:t> </a:t>
            </a:r>
            <a:r>
              <a:rPr lang="pt-BR" dirty="0" err="1"/>
              <a:t>adipiscing</a:t>
            </a:r>
            <a:r>
              <a:rPr lang="pt-BR" dirty="0"/>
              <a:t> </a:t>
            </a:r>
            <a:r>
              <a:rPr lang="pt-BR" dirty="0" err="1"/>
              <a:t>elit</a:t>
            </a:r>
            <a:r>
              <a:rPr lang="pt-BR" dirty="0"/>
              <a:t>, </a:t>
            </a:r>
            <a:r>
              <a:rPr lang="pt-BR" dirty="0" err="1"/>
              <a:t>sed</a:t>
            </a:r>
            <a:r>
              <a:rPr lang="pt-BR" dirty="0"/>
              <a:t> do </a:t>
            </a:r>
            <a:r>
              <a:rPr lang="pt-BR" dirty="0" err="1"/>
              <a:t>eiusmod</a:t>
            </a:r>
            <a:r>
              <a:rPr lang="pt-BR" dirty="0"/>
              <a:t> </a:t>
            </a:r>
            <a:r>
              <a:rPr lang="pt-BR" dirty="0" err="1"/>
              <a:t>tempor</a:t>
            </a:r>
            <a:r>
              <a:rPr lang="pt-BR" dirty="0"/>
              <a:t> </a:t>
            </a:r>
            <a:r>
              <a:rPr lang="pt-BR" dirty="0" err="1"/>
              <a:t>incididunt</a:t>
            </a:r>
            <a:r>
              <a:rPr lang="pt-BR" dirty="0"/>
              <a:t> ut labore et </a:t>
            </a:r>
            <a:r>
              <a:rPr lang="pt-BR" dirty="0" err="1"/>
              <a:t>dolore</a:t>
            </a:r>
            <a:r>
              <a:rPr lang="pt-BR" dirty="0"/>
              <a:t> magna </a:t>
            </a:r>
            <a:r>
              <a:rPr lang="pt-BR" dirty="0" err="1"/>
              <a:t>aliqua</a:t>
            </a:r>
            <a:r>
              <a:rPr lang="pt-BR" dirty="0"/>
              <a:t>.</a:t>
            </a:r>
          </a:p>
        </p:txBody>
      </p:sp>
      <p:sp>
        <p:nvSpPr>
          <p:cNvPr id="12" name="Espaço Reservado para Conteúdo 15">
            <a:extLst>
              <a:ext uri="{FF2B5EF4-FFF2-40B4-BE49-F238E27FC236}">
                <a16:creationId xmlns:a16="http://schemas.microsoft.com/office/drawing/2014/main" id="{1A5C72EB-7869-4A58-8589-3223BD5967E3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438775" y="2674144"/>
            <a:ext cx="6162675" cy="3184525"/>
          </a:xfrm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1pPr>
            <a:lvl2pPr marL="0" indent="0" algn="ctr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2pPr>
            <a:lvl3pPr marL="0" indent="0" algn="ctr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3pPr>
            <a:lvl4pPr marL="0" indent="0" algn="ctr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4pPr>
            <a:lvl5pPr marL="0" indent="0" algn="ctr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pt-BR" dirty="0"/>
              <a:t>Adicione um gráfico, uma tabela ou uma imagem.</a:t>
            </a:r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97572C39-933E-4BAD-8D4B-712065AAEDD3}"/>
              </a:ext>
            </a:extLst>
          </p:cNvPr>
          <p:cNvSpPr/>
          <p:nvPr userDrawn="1"/>
        </p:nvSpPr>
        <p:spPr>
          <a:xfrm>
            <a:off x="0" y="6315075"/>
            <a:ext cx="12192000" cy="5429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latin typeface="Roboto" panose="02000000000000000000" pitchFamily="2" charset="0"/>
            </a:endParaRPr>
          </a:p>
        </p:txBody>
      </p:sp>
      <p:pic>
        <p:nvPicPr>
          <p:cNvPr id="14" name="Imagem 13" descr="Tela de celular com texto preto sobre fundo branco&#10;&#10;Descrição gerada automaticamente">
            <a:extLst>
              <a:ext uri="{FF2B5EF4-FFF2-40B4-BE49-F238E27FC236}">
                <a16:creationId xmlns:a16="http://schemas.microsoft.com/office/drawing/2014/main" id="{4F5F5EA5-A5D1-4C0D-B1F0-58F682C1CF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25224" y="6489701"/>
            <a:ext cx="581025" cy="368300"/>
          </a:xfrm>
          <a:prstGeom prst="rect">
            <a:avLst/>
          </a:prstGeom>
        </p:spPr>
      </p:pic>
      <p:sp>
        <p:nvSpPr>
          <p:cNvPr id="15" name="Espaço Reservado para Número de Slide 2">
            <a:extLst>
              <a:ext uri="{FF2B5EF4-FFF2-40B4-BE49-F238E27FC236}">
                <a16:creationId xmlns:a16="http://schemas.microsoft.com/office/drawing/2014/main" id="{62B61848-3831-4985-8755-86878CEA7EB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25225" y="6489700"/>
            <a:ext cx="581025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D11D262-DD36-4C3A-9581-B03EDCFD2EDD}" type="slidenum">
              <a:rPr lang="pt-BR" smtClean="0"/>
              <a:pPr/>
              <a:t>‹nº›</a:t>
            </a:fld>
            <a:endParaRPr lang="pt-BR" dirty="0"/>
          </a:p>
        </p:txBody>
      </p:sp>
      <p:pic>
        <p:nvPicPr>
          <p:cNvPr id="16" name="Imagem 15" descr="Uma imagem contendo edifício&#10;&#10;Descrição gerada automaticamente">
            <a:extLst>
              <a:ext uri="{FF2B5EF4-FFF2-40B4-BE49-F238E27FC236}">
                <a16:creationId xmlns:a16="http://schemas.microsoft.com/office/drawing/2014/main" id="{2799E4DE-222F-4D80-9F9B-9C6F23C8587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5753" y="350847"/>
            <a:ext cx="407426" cy="594509"/>
          </a:xfrm>
          <a:prstGeom prst="rect">
            <a:avLst/>
          </a:prstGeom>
        </p:spPr>
      </p:pic>
      <p:pic>
        <p:nvPicPr>
          <p:cNvPr id="17" name="Imagem 16" descr="Uma imagem contendo relógio, placar&#10;&#10;Descrição gerada automaticamente">
            <a:extLst>
              <a:ext uri="{FF2B5EF4-FFF2-40B4-BE49-F238E27FC236}">
                <a16:creationId xmlns:a16="http://schemas.microsoft.com/office/drawing/2014/main" id="{24380DB7-F919-4EE0-9C2F-ED5FD300181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20401" y="389993"/>
            <a:ext cx="857250" cy="619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980065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Layout Personaliza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ângulo 8">
            <a:extLst>
              <a:ext uri="{FF2B5EF4-FFF2-40B4-BE49-F238E27FC236}">
                <a16:creationId xmlns:a16="http://schemas.microsoft.com/office/drawing/2014/main" id="{4778F774-8E23-41B7-A07E-D2598341746B}"/>
              </a:ext>
            </a:extLst>
          </p:cNvPr>
          <p:cNvSpPr/>
          <p:nvPr userDrawn="1"/>
        </p:nvSpPr>
        <p:spPr>
          <a:xfrm>
            <a:off x="0" y="6315075"/>
            <a:ext cx="12192000" cy="5429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latin typeface="Roboto" panose="02000000000000000000" pitchFamily="2" charset="0"/>
            </a:endParaRPr>
          </a:p>
        </p:txBody>
      </p:sp>
      <p:pic>
        <p:nvPicPr>
          <p:cNvPr id="10" name="Imagem 9" descr="Tela de celular com texto preto sobre fundo branco&#10;&#10;Descrição gerada automaticamente">
            <a:extLst>
              <a:ext uri="{FF2B5EF4-FFF2-40B4-BE49-F238E27FC236}">
                <a16:creationId xmlns:a16="http://schemas.microsoft.com/office/drawing/2014/main" id="{0513DEAB-C981-4CB9-AA5E-3AF697197D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25224" y="6489701"/>
            <a:ext cx="581025" cy="368300"/>
          </a:xfrm>
          <a:prstGeom prst="rect">
            <a:avLst/>
          </a:prstGeom>
        </p:spPr>
      </p:pic>
      <p:pic>
        <p:nvPicPr>
          <p:cNvPr id="4" name="Imagem 3" descr="Uma imagem contendo pássaro&#10;&#10;Descrição gerada automaticamente">
            <a:extLst>
              <a:ext uri="{FF2B5EF4-FFF2-40B4-BE49-F238E27FC236}">
                <a16:creationId xmlns:a16="http://schemas.microsoft.com/office/drawing/2014/main" id="{D4A17D0D-C7EE-4F55-80A9-66A1B9CCA79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0073898" cy="1542294"/>
          </a:xfrm>
          <a:prstGeom prst="rect">
            <a:avLst/>
          </a:prstGeom>
        </p:spPr>
      </p:pic>
      <p:pic>
        <p:nvPicPr>
          <p:cNvPr id="5" name="Imagem 4" descr="Uma imagem contendo relógio, placar&#10;&#10;Descrição gerada automaticamente">
            <a:extLst>
              <a:ext uri="{FF2B5EF4-FFF2-40B4-BE49-F238E27FC236}">
                <a16:creationId xmlns:a16="http://schemas.microsoft.com/office/drawing/2014/main" id="{579D99C4-2B8F-43DA-ABA2-24B98F7B437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20401" y="389993"/>
            <a:ext cx="857250" cy="619656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A4B98EA8-1C47-4769-98B4-0867FAA717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925" y="389993"/>
            <a:ext cx="8372475" cy="433388"/>
          </a:xfrm>
        </p:spPr>
        <p:txBody>
          <a:bodyPr/>
          <a:lstStyle/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5E37F0E9-0443-4FE6-AE89-E40E70461E3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D11D262-DD36-4C3A-9581-B03EDCFD2EDD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8" name="Espaço Reservado para Texto 6">
            <a:extLst>
              <a:ext uri="{FF2B5EF4-FFF2-40B4-BE49-F238E27FC236}">
                <a16:creationId xmlns:a16="http://schemas.microsoft.com/office/drawing/2014/main" id="{1F631F07-AA1A-4AE0-B52D-B12EAFF0B7D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2925" y="866775"/>
            <a:ext cx="7877175" cy="152400"/>
          </a:xfrm>
        </p:spPr>
        <p:txBody>
          <a:bodyPr lIns="0" tIns="0" rIns="0" bIns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Subtítulo do slide 12pt</a:t>
            </a:r>
          </a:p>
        </p:txBody>
      </p:sp>
      <p:cxnSp>
        <p:nvCxnSpPr>
          <p:cNvPr id="12" name="Conector reto 11">
            <a:extLst>
              <a:ext uri="{FF2B5EF4-FFF2-40B4-BE49-F238E27FC236}">
                <a16:creationId xmlns:a16="http://schemas.microsoft.com/office/drawing/2014/main" id="{99180392-E361-4326-A6BC-166C2EA68F9C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762125"/>
            <a:ext cx="0" cy="4152900"/>
          </a:xfrm>
          <a:prstGeom prst="line">
            <a:avLst/>
          </a:prstGeom>
          <a:ln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8595388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Layout Personaliza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ângulo 8">
            <a:extLst>
              <a:ext uri="{FF2B5EF4-FFF2-40B4-BE49-F238E27FC236}">
                <a16:creationId xmlns:a16="http://schemas.microsoft.com/office/drawing/2014/main" id="{4778F774-8E23-41B7-A07E-D2598341746B}"/>
              </a:ext>
            </a:extLst>
          </p:cNvPr>
          <p:cNvSpPr/>
          <p:nvPr userDrawn="1"/>
        </p:nvSpPr>
        <p:spPr>
          <a:xfrm>
            <a:off x="0" y="6315075"/>
            <a:ext cx="12192000" cy="5429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latin typeface="Roboto" panose="02000000000000000000" pitchFamily="2" charset="0"/>
            </a:endParaRPr>
          </a:p>
        </p:txBody>
      </p:sp>
      <p:pic>
        <p:nvPicPr>
          <p:cNvPr id="10" name="Imagem 9" descr="Tela de celular com texto preto sobre fundo branco&#10;&#10;Descrição gerada automaticamente">
            <a:extLst>
              <a:ext uri="{FF2B5EF4-FFF2-40B4-BE49-F238E27FC236}">
                <a16:creationId xmlns:a16="http://schemas.microsoft.com/office/drawing/2014/main" id="{0513DEAB-C981-4CB9-AA5E-3AF697197D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25224" y="6489701"/>
            <a:ext cx="581025" cy="368300"/>
          </a:xfrm>
          <a:prstGeom prst="rect">
            <a:avLst/>
          </a:prstGeom>
        </p:spPr>
      </p:pic>
      <p:pic>
        <p:nvPicPr>
          <p:cNvPr id="4" name="Imagem 3" descr="Uma imagem contendo pássaro&#10;&#10;Descrição gerada automaticamente">
            <a:extLst>
              <a:ext uri="{FF2B5EF4-FFF2-40B4-BE49-F238E27FC236}">
                <a16:creationId xmlns:a16="http://schemas.microsoft.com/office/drawing/2014/main" id="{D4A17D0D-C7EE-4F55-80A9-66A1B9CCA79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0073898" cy="1542294"/>
          </a:xfrm>
          <a:prstGeom prst="rect">
            <a:avLst/>
          </a:prstGeom>
        </p:spPr>
      </p:pic>
      <p:pic>
        <p:nvPicPr>
          <p:cNvPr id="5" name="Imagem 4" descr="Uma imagem contendo relógio, placar&#10;&#10;Descrição gerada automaticamente">
            <a:extLst>
              <a:ext uri="{FF2B5EF4-FFF2-40B4-BE49-F238E27FC236}">
                <a16:creationId xmlns:a16="http://schemas.microsoft.com/office/drawing/2014/main" id="{579D99C4-2B8F-43DA-ABA2-24B98F7B437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20401" y="389993"/>
            <a:ext cx="857250" cy="619656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A4B98EA8-1C47-4769-98B4-0867FAA717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925" y="389993"/>
            <a:ext cx="8372475" cy="433388"/>
          </a:xfrm>
        </p:spPr>
        <p:txBody>
          <a:bodyPr/>
          <a:lstStyle/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5E37F0E9-0443-4FE6-AE89-E40E70461E3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D11D262-DD36-4C3A-9581-B03EDCFD2EDD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8" name="Espaço Reservado para Texto 6">
            <a:extLst>
              <a:ext uri="{FF2B5EF4-FFF2-40B4-BE49-F238E27FC236}">
                <a16:creationId xmlns:a16="http://schemas.microsoft.com/office/drawing/2014/main" id="{1F631F07-AA1A-4AE0-B52D-B12EAFF0B7D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2925" y="866775"/>
            <a:ext cx="7877175" cy="152400"/>
          </a:xfrm>
        </p:spPr>
        <p:txBody>
          <a:bodyPr lIns="0" tIns="0" rIns="0" bIns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Subtítulo do slide 12pt</a:t>
            </a:r>
          </a:p>
        </p:txBody>
      </p:sp>
      <p:cxnSp>
        <p:nvCxnSpPr>
          <p:cNvPr id="12" name="Conector reto 11">
            <a:extLst>
              <a:ext uri="{FF2B5EF4-FFF2-40B4-BE49-F238E27FC236}">
                <a16:creationId xmlns:a16="http://schemas.microsoft.com/office/drawing/2014/main" id="{99180392-E361-4326-A6BC-166C2EA68F9C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762125"/>
            <a:ext cx="0" cy="4152900"/>
          </a:xfrm>
          <a:prstGeom prst="line">
            <a:avLst/>
          </a:prstGeom>
          <a:ln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ço Reservado para Conteúdo 15">
            <a:extLst>
              <a:ext uri="{FF2B5EF4-FFF2-40B4-BE49-F238E27FC236}">
                <a16:creationId xmlns:a16="http://schemas.microsoft.com/office/drawing/2014/main" id="{59CBCA83-8791-48E4-9A7C-7910EEEDC99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664477" y="4552950"/>
            <a:ext cx="4702079" cy="1666874"/>
          </a:xfrm>
        </p:spPr>
        <p:txBody>
          <a:bodyPr anchor="ctr" anchorCtr="1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048">
                <a:solidFill>
                  <a:schemeClr val="accent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Adicione um gráfico, tabela ou imagem.</a:t>
            </a:r>
          </a:p>
        </p:txBody>
      </p:sp>
      <p:sp>
        <p:nvSpPr>
          <p:cNvPr id="13" name="Espaço Reservado para Conteúdo 15">
            <a:extLst>
              <a:ext uri="{FF2B5EF4-FFF2-40B4-BE49-F238E27FC236}">
                <a16:creationId xmlns:a16="http://schemas.microsoft.com/office/drawing/2014/main" id="{5C440596-DAC4-489D-A28B-82E992645FA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825449" y="4552950"/>
            <a:ext cx="4702079" cy="1666874"/>
          </a:xfrm>
        </p:spPr>
        <p:txBody>
          <a:bodyPr anchor="ctr" anchorCtr="1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048">
                <a:solidFill>
                  <a:schemeClr val="accent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Adicione um gráfico, tabela ou imagem.</a:t>
            </a:r>
          </a:p>
        </p:txBody>
      </p:sp>
      <p:sp>
        <p:nvSpPr>
          <p:cNvPr id="14" name="Espaço Reservado para Conteúdo 15">
            <a:extLst>
              <a:ext uri="{FF2B5EF4-FFF2-40B4-BE49-F238E27FC236}">
                <a16:creationId xmlns:a16="http://schemas.microsoft.com/office/drawing/2014/main" id="{B2698F2E-7335-46D5-86B4-C1DE44ADF007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664477" y="2060577"/>
            <a:ext cx="4702079" cy="1666874"/>
          </a:xfrm>
        </p:spPr>
        <p:txBody>
          <a:bodyPr anchor="ctr" anchorCtr="1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048">
                <a:solidFill>
                  <a:schemeClr val="accent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Adicione um gráfico, tabela ou imagem.</a:t>
            </a:r>
          </a:p>
        </p:txBody>
      </p:sp>
      <p:sp>
        <p:nvSpPr>
          <p:cNvPr id="15" name="Espaço Reservado para Conteúdo 15">
            <a:extLst>
              <a:ext uri="{FF2B5EF4-FFF2-40B4-BE49-F238E27FC236}">
                <a16:creationId xmlns:a16="http://schemas.microsoft.com/office/drawing/2014/main" id="{C04AF241-59D4-4A31-8E4A-557D5EA0B42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25449" y="2060577"/>
            <a:ext cx="4702079" cy="1666874"/>
          </a:xfrm>
        </p:spPr>
        <p:txBody>
          <a:bodyPr anchor="ctr" anchorCtr="1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048">
                <a:solidFill>
                  <a:schemeClr val="accent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Adicione um gráfico, tabela ou imagem.</a:t>
            </a:r>
          </a:p>
        </p:txBody>
      </p:sp>
      <p:sp>
        <p:nvSpPr>
          <p:cNvPr id="16" name="Espaço Reservado para Texto 9">
            <a:extLst>
              <a:ext uri="{FF2B5EF4-FFF2-40B4-BE49-F238E27FC236}">
                <a16:creationId xmlns:a16="http://schemas.microsoft.com/office/drawing/2014/main" id="{115223A8-BD84-41BA-98A1-B52CB537912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73512" y="1575165"/>
            <a:ext cx="4454017" cy="233362"/>
          </a:xfrm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524" b="1">
                <a:solidFill>
                  <a:schemeClr val="tx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/>
              <a:t>Titulo do gráfico 16 </a:t>
            </a:r>
            <a:r>
              <a:rPr lang="pt-BR" dirty="0" err="1"/>
              <a:t>pt</a:t>
            </a:r>
            <a:r>
              <a:rPr lang="pt-BR" dirty="0"/>
              <a:t> </a:t>
            </a:r>
            <a:r>
              <a:rPr lang="pt-BR" dirty="0" err="1"/>
              <a:t>bold</a:t>
            </a:r>
            <a:endParaRPr lang="pt-BR" dirty="0"/>
          </a:p>
        </p:txBody>
      </p:sp>
      <p:sp>
        <p:nvSpPr>
          <p:cNvPr id="17" name="Espaço Reservado para Texto 9">
            <a:extLst>
              <a:ext uri="{FF2B5EF4-FFF2-40B4-BE49-F238E27FC236}">
                <a16:creationId xmlns:a16="http://schemas.microsoft.com/office/drawing/2014/main" id="{0A06B313-BD70-482B-ACBC-8574F929DEC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675" y="1575165"/>
            <a:ext cx="4368210" cy="233362"/>
          </a:xfrm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524" b="1">
                <a:solidFill>
                  <a:schemeClr val="tx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/>
              <a:t>Titulo do gráfico 16 </a:t>
            </a:r>
            <a:r>
              <a:rPr lang="pt-BR" dirty="0" err="1"/>
              <a:t>pt</a:t>
            </a:r>
            <a:r>
              <a:rPr lang="pt-BR" dirty="0"/>
              <a:t> </a:t>
            </a:r>
            <a:r>
              <a:rPr lang="pt-BR" dirty="0" err="1"/>
              <a:t>bold</a:t>
            </a:r>
            <a:endParaRPr lang="pt-BR" dirty="0"/>
          </a:p>
        </p:txBody>
      </p:sp>
      <p:sp>
        <p:nvSpPr>
          <p:cNvPr id="18" name="Espaço Reservado para Texto 9">
            <a:extLst>
              <a:ext uri="{FF2B5EF4-FFF2-40B4-BE49-F238E27FC236}">
                <a16:creationId xmlns:a16="http://schemas.microsoft.com/office/drawing/2014/main" id="{F2E92AE6-CD84-4E71-B747-F8FC3E6C700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73512" y="4053829"/>
            <a:ext cx="4454017" cy="233362"/>
          </a:xfrm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524" b="1">
                <a:solidFill>
                  <a:schemeClr val="tx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/>
              <a:t>Titulo do gráfico 16 </a:t>
            </a:r>
            <a:r>
              <a:rPr lang="pt-BR" dirty="0" err="1"/>
              <a:t>pt</a:t>
            </a:r>
            <a:r>
              <a:rPr lang="pt-BR" dirty="0"/>
              <a:t> </a:t>
            </a:r>
            <a:r>
              <a:rPr lang="pt-BR" dirty="0" err="1"/>
              <a:t>bold</a:t>
            </a:r>
            <a:endParaRPr lang="pt-BR" dirty="0"/>
          </a:p>
        </p:txBody>
      </p:sp>
      <p:sp>
        <p:nvSpPr>
          <p:cNvPr id="19" name="Espaço Reservado para Texto 9">
            <a:extLst>
              <a:ext uri="{FF2B5EF4-FFF2-40B4-BE49-F238E27FC236}">
                <a16:creationId xmlns:a16="http://schemas.microsoft.com/office/drawing/2014/main" id="{A3D27ECF-BDAC-4C09-BE21-662B507E0F3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010675" y="4053829"/>
            <a:ext cx="4368210" cy="233362"/>
          </a:xfrm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524" b="1">
                <a:solidFill>
                  <a:schemeClr val="tx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/>
              <a:t>Titulo do gráfico 16 </a:t>
            </a:r>
            <a:r>
              <a:rPr lang="pt-BR" dirty="0" err="1"/>
              <a:t>pt</a:t>
            </a:r>
            <a:r>
              <a:rPr lang="pt-BR" dirty="0"/>
              <a:t> </a:t>
            </a:r>
            <a:r>
              <a:rPr lang="pt-BR" dirty="0" err="1"/>
              <a:t>bold</a:t>
            </a:r>
            <a:endParaRPr lang="pt-BR" dirty="0"/>
          </a:p>
        </p:txBody>
      </p:sp>
      <p:pic>
        <p:nvPicPr>
          <p:cNvPr id="20" name="Imagem 19">
            <a:extLst>
              <a:ext uri="{FF2B5EF4-FFF2-40B4-BE49-F238E27FC236}">
                <a16:creationId xmlns:a16="http://schemas.microsoft.com/office/drawing/2014/main" id="{C4A1D23A-D688-4E63-8AF3-38E73EA4C8F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3948" y="1542295"/>
            <a:ext cx="196638" cy="286930"/>
          </a:xfrm>
          <a:prstGeom prst="rect">
            <a:avLst/>
          </a:prstGeom>
        </p:spPr>
      </p:pic>
      <p:pic>
        <p:nvPicPr>
          <p:cNvPr id="21" name="Imagem 20">
            <a:extLst>
              <a:ext uri="{FF2B5EF4-FFF2-40B4-BE49-F238E27FC236}">
                <a16:creationId xmlns:a16="http://schemas.microsoft.com/office/drawing/2014/main" id="{2C170B2E-0E00-4275-915B-1438E39051D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52160" y="1542295"/>
            <a:ext cx="196638" cy="286930"/>
          </a:xfrm>
          <a:prstGeom prst="rect">
            <a:avLst/>
          </a:prstGeom>
        </p:spPr>
      </p:pic>
      <p:pic>
        <p:nvPicPr>
          <p:cNvPr id="22" name="Imagem 21">
            <a:extLst>
              <a:ext uri="{FF2B5EF4-FFF2-40B4-BE49-F238E27FC236}">
                <a16:creationId xmlns:a16="http://schemas.microsoft.com/office/drawing/2014/main" id="{36BCD090-C2FB-424B-9AD0-44170D4C39B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52160" y="4027045"/>
            <a:ext cx="196638" cy="286930"/>
          </a:xfrm>
          <a:prstGeom prst="rect">
            <a:avLst/>
          </a:prstGeom>
        </p:spPr>
      </p:pic>
      <p:pic>
        <p:nvPicPr>
          <p:cNvPr id="23" name="Imagem 22">
            <a:extLst>
              <a:ext uri="{FF2B5EF4-FFF2-40B4-BE49-F238E27FC236}">
                <a16:creationId xmlns:a16="http://schemas.microsoft.com/office/drawing/2014/main" id="{6A2A3CDF-A854-4C1A-864A-7D97C0D886A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3948" y="4027045"/>
            <a:ext cx="196638" cy="286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281584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a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Uma imagem contendo edifício&#10;&#10;Descrição gerada automaticamente">
            <a:extLst>
              <a:ext uri="{FF2B5EF4-FFF2-40B4-BE49-F238E27FC236}">
                <a16:creationId xmlns:a16="http://schemas.microsoft.com/office/drawing/2014/main" id="{9798FE61-97A7-4D37-A153-0054D1112C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5975" y="3137128"/>
            <a:ext cx="400050" cy="583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22529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Layout Personaliza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5873370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Layout Personaliza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58BB4F42-F0C0-4B8C-876B-E522E95CDF3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309354"/>
            <a:ext cx="12192000" cy="2548647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4D35D1E4-7270-4B2B-88C5-2971B0E6FF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382" y="3235074"/>
            <a:ext cx="7950569" cy="477711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5" name="Espaço Reservado para Texto 4" descr="Coloque a data desejada.">
            <a:extLst>
              <a:ext uri="{FF2B5EF4-FFF2-40B4-BE49-F238E27FC236}">
                <a16:creationId xmlns:a16="http://schemas.microsoft.com/office/drawing/2014/main" id="{06C43354-434C-4160-847B-D8AA2BEFC1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619" y="6018342"/>
            <a:ext cx="1463524" cy="257175"/>
          </a:xfrm>
        </p:spPr>
        <p:txBody>
          <a:bodyPr>
            <a:noAutofit/>
          </a:bodyPr>
          <a:lstStyle>
            <a:lvl1pPr marL="0" indent="0">
              <a:buNone/>
              <a:defRPr sz="1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BR" dirty="0"/>
              <a:t>Insira a data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48F04902-A2D7-415A-B6EB-686BA7ED8A1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2548647"/>
          </a:xfrm>
          <a:prstGeom prst="rect">
            <a:avLst/>
          </a:prstGeom>
        </p:spPr>
      </p:pic>
      <p:pic>
        <p:nvPicPr>
          <p:cNvPr id="8" name="Imagem 7" descr="Uma imagem contendo desenho, placar&#10;&#10;Descrição gerada automaticamente">
            <a:extLst>
              <a:ext uri="{FF2B5EF4-FFF2-40B4-BE49-F238E27FC236}">
                <a16:creationId xmlns:a16="http://schemas.microsoft.com/office/drawing/2014/main" id="{C04BF0EF-3921-4A23-A7CC-11486AF591DE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97853" y="3029265"/>
            <a:ext cx="1423799" cy="854947"/>
          </a:xfrm>
          <a:prstGeom prst="rect">
            <a:avLst/>
          </a:prstGeom>
        </p:spPr>
      </p:pic>
      <p:pic>
        <p:nvPicPr>
          <p:cNvPr id="10" name="Imagem 9" descr="Uma imagem contendo edifício, ponte, luz&#10;&#10;Descrição gerada automaticamente">
            <a:extLst>
              <a:ext uri="{FF2B5EF4-FFF2-40B4-BE49-F238E27FC236}">
                <a16:creationId xmlns:a16="http://schemas.microsoft.com/office/drawing/2014/main" id="{6EA85B3A-1B61-48DA-BE1C-A0555AFD1089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9905" y="3145216"/>
            <a:ext cx="494697" cy="567864"/>
          </a:xfrm>
          <a:prstGeom prst="rect">
            <a:avLst/>
          </a:prstGeom>
        </p:spPr>
      </p:pic>
      <p:pic>
        <p:nvPicPr>
          <p:cNvPr id="9" name="Imagem 8">
            <a:extLst>
              <a:ext uri="{FF2B5EF4-FFF2-40B4-BE49-F238E27FC236}">
                <a16:creationId xmlns:a16="http://schemas.microsoft.com/office/drawing/2014/main" id="{B7020AB8-69F2-47B3-9EAF-1B62581BD3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309354"/>
            <a:ext cx="12192000" cy="2548647"/>
          </a:xfrm>
          <a:prstGeom prst="rect">
            <a:avLst/>
          </a:prstGeom>
        </p:spPr>
      </p:pic>
      <p:pic>
        <p:nvPicPr>
          <p:cNvPr id="11" name="Imagem 10">
            <a:extLst>
              <a:ext uri="{FF2B5EF4-FFF2-40B4-BE49-F238E27FC236}">
                <a16:creationId xmlns:a16="http://schemas.microsoft.com/office/drawing/2014/main" id="{E3BE78DF-8BAD-4868-A304-B3AE01B1A2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2548647"/>
          </a:xfrm>
          <a:prstGeom prst="rect">
            <a:avLst/>
          </a:prstGeom>
        </p:spPr>
      </p:pic>
      <p:pic>
        <p:nvPicPr>
          <p:cNvPr id="12" name="Imagem 11" descr="Uma imagem contendo desenho, placar&#10;&#10;Descrição gerada automaticamente">
            <a:extLst>
              <a:ext uri="{FF2B5EF4-FFF2-40B4-BE49-F238E27FC236}">
                <a16:creationId xmlns:a16="http://schemas.microsoft.com/office/drawing/2014/main" id="{D9F73D4D-3F4C-42FB-9B73-7F6ABB308FA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97853" y="3029265"/>
            <a:ext cx="1423799" cy="854947"/>
          </a:xfrm>
          <a:prstGeom prst="rect">
            <a:avLst/>
          </a:prstGeom>
        </p:spPr>
      </p:pic>
      <p:pic>
        <p:nvPicPr>
          <p:cNvPr id="13" name="Imagem 12" descr="Uma imagem contendo edifício, ponte, luz&#10;&#10;Descrição gerada automaticamente">
            <a:extLst>
              <a:ext uri="{FF2B5EF4-FFF2-40B4-BE49-F238E27FC236}">
                <a16:creationId xmlns:a16="http://schemas.microsoft.com/office/drawing/2014/main" id="{65FF3A17-AD47-4104-9379-04EB0078DA8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9905" y="3145216"/>
            <a:ext cx="494697" cy="567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46796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4_Layout Personaliza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Uma imagem contendo objeto, relógio, céu noturno&#10;&#10;Descrição gerada automaticamente">
            <a:extLst>
              <a:ext uri="{FF2B5EF4-FFF2-40B4-BE49-F238E27FC236}">
                <a16:creationId xmlns:a16="http://schemas.microsoft.com/office/drawing/2014/main" id="{D038DB4C-EE64-4A89-A1EB-4DBD886C26E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038726"/>
            <a:ext cx="12192000" cy="1819275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4D35D1E4-7270-4B2B-88C5-2971B0E6FF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382" y="3959693"/>
            <a:ext cx="7950569" cy="477711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5" name="Espaço Reservado para Texto 4" descr="Coloque a data desejada.">
            <a:extLst>
              <a:ext uri="{FF2B5EF4-FFF2-40B4-BE49-F238E27FC236}">
                <a16:creationId xmlns:a16="http://schemas.microsoft.com/office/drawing/2014/main" id="{06C43354-434C-4160-847B-D8AA2BEFC1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619" y="6018342"/>
            <a:ext cx="1463524" cy="257175"/>
          </a:xfrm>
        </p:spPr>
        <p:txBody>
          <a:bodyPr>
            <a:noAutofit/>
          </a:bodyPr>
          <a:lstStyle>
            <a:lvl1pPr marL="0" indent="0">
              <a:buNone/>
              <a:defRPr sz="1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BR" dirty="0"/>
              <a:t>Insira a data</a:t>
            </a:r>
          </a:p>
        </p:txBody>
      </p:sp>
      <p:sp>
        <p:nvSpPr>
          <p:cNvPr id="6" name="Espaço Reservado para Imagem 6">
            <a:extLst>
              <a:ext uri="{FF2B5EF4-FFF2-40B4-BE49-F238E27FC236}">
                <a16:creationId xmlns:a16="http://schemas.microsoft.com/office/drawing/2014/main" id="{D6A0A68E-83C7-4B89-8137-3A1F442ED64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2000" cy="3257551"/>
          </a:xfrm>
          <a:solidFill>
            <a:srgbClr val="CC2362">
              <a:alpha val="20000"/>
            </a:srgbClr>
          </a:solidFill>
        </p:spPr>
        <p:txBody>
          <a:bodyPr anchor="ctr" anchorCtr="0"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pt-BR"/>
              <a:t>Clique no ícone para adicionar uma imagem</a:t>
            </a:r>
          </a:p>
        </p:txBody>
      </p:sp>
      <p:pic>
        <p:nvPicPr>
          <p:cNvPr id="8" name="Imagem 7" descr="Uma imagem contendo edifício, ponte, luz&#10;&#10;Descrição gerada automaticamente">
            <a:extLst>
              <a:ext uri="{FF2B5EF4-FFF2-40B4-BE49-F238E27FC236}">
                <a16:creationId xmlns:a16="http://schemas.microsoft.com/office/drawing/2014/main" id="{83A11609-DA6B-46C5-83B7-A180B518889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8750" y="3858872"/>
            <a:ext cx="490462" cy="563003"/>
          </a:xfrm>
          <a:prstGeom prst="rect">
            <a:avLst/>
          </a:prstGeom>
        </p:spPr>
      </p:pic>
      <p:pic>
        <p:nvPicPr>
          <p:cNvPr id="10" name="Imagem 9" descr="Uma imagem contendo desenho, placar&#10;&#10;Descrição gerada automaticamente">
            <a:extLst>
              <a:ext uri="{FF2B5EF4-FFF2-40B4-BE49-F238E27FC236}">
                <a16:creationId xmlns:a16="http://schemas.microsoft.com/office/drawing/2014/main" id="{45B0A3D2-E67D-4B42-9D15-997ADBC0497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01108" y="3742332"/>
            <a:ext cx="1420286" cy="852837"/>
          </a:xfrm>
          <a:prstGeom prst="rect">
            <a:avLst/>
          </a:prstGeom>
        </p:spPr>
      </p:pic>
      <p:pic>
        <p:nvPicPr>
          <p:cNvPr id="9" name="Imagem 8" descr="Uma imagem contendo objeto, relógio, céu noturno&#10;&#10;Descrição gerada automaticamente">
            <a:extLst>
              <a:ext uri="{FF2B5EF4-FFF2-40B4-BE49-F238E27FC236}">
                <a16:creationId xmlns:a16="http://schemas.microsoft.com/office/drawing/2014/main" id="{8E723A12-7A51-4BA9-9A06-26266792DD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038726"/>
            <a:ext cx="12192000" cy="1819275"/>
          </a:xfrm>
          <a:prstGeom prst="rect">
            <a:avLst/>
          </a:prstGeom>
        </p:spPr>
      </p:pic>
      <p:pic>
        <p:nvPicPr>
          <p:cNvPr id="11" name="Imagem 10" descr="Uma imagem contendo edifício, ponte, luz&#10;&#10;Descrição gerada automaticamente">
            <a:extLst>
              <a:ext uri="{FF2B5EF4-FFF2-40B4-BE49-F238E27FC236}">
                <a16:creationId xmlns:a16="http://schemas.microsoft.com/office/drawing/2014/main" id="{BD394A50-D705-42FA-9FB1-E3AF5FB8B5D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8750" y="3858872"/>
            <a:ext cx="490462" cy="563003"/>
          </a:xfrm>
          <a:prstGeom prst="rect">
            <a:avLst/>
          </a:prstGeom>
        </p:spPr>
      </p:pic>
      <p:pic>
        <p:nvPicPr>
          <p:cNvPr id="12" name="Imagem 11" descr="Uma imagem contendo desenho, placar&#10;&#10;Descrição gerada automaticamente">
            <a:extLst>
              <a:ext uri="{FF2B5EF4-FFF2-40B4-BE49-F238E27FC236}">
                <a16:creationId xmlns:a16="http://schemas.microsoft.com/office/drawing/2014/main" id="{E0C1C488-17EE-46C2-AA37-48B3B38D8E7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01108" y="3742332"/>
            <a:ext cx="1420286" cy="852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968756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8_Layout Personalizad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D7ED92B8-3F9F-8F43-A246-AC5CA0D1C895}"/>
              </a:ext>
            </a:extLst>
          </p:cNvPr>
          <p:cNvSpPr/>
          <p:nvPr userDrawn="1"/>
        </p:nvSpPr>
        <p:spPr>
          <a:xfrm>
            <a:off x="4223868" y="0"/>
            <a:ext cx="7968132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8A2135AE-87FB-4BF1-9D93-AA6037E36C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11251" y="719934"/>
            <a:ext cx="5706936" cy="5418137"/>
          </a:xfrm>
        </p:spPr>
        <p:txBody>
          <a:bodyPr anchor="ctr"/>
          <a:lstStyle>
            <a:lvl1pPr marL="217719" indent="-217719">
              <a:spcAft>
                <a:spcPts val="1714"/>
              </a:spcAft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1pPr>
            <a:lvl2pPr marL="217719" indent="-217719">
              <a:spcAft>
                <a:spcPts val="1714"/>
              </a:spcAft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2pPr>
            <a:lvl3pPr marL="217719" indent="-217719">
              <a:spcAft>
                <a:spcPts val="1714"/>
              </a:spcAft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3pPr>
            <a:lvl4pPr marL="217719" indent="-217719">
              <a:spcAft>
                <a:spcPts val="1714"/>
              </a:spcAft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4pPr>
            <a:lvl5pPr marL="217719" indent="-217719">
              <a:spcAft>
                <a:spcPts val="1714"/>
              </a:spcAft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pic>
        <p:nvPicPr>
          <p:cNvPr id="6" name="Imagem 10" descr="Uma imagem contendo edifício, ponte, luz&#10;&#10;Descrição gerada automaticamente">
            <a:extLst>
              <a:ext uri="{FF2B5EF4-FFF2-40B4-BE49-F238E27FC236}">
                <a16:creationId xmlns:a16="http://schemas.microsoft.com/office/drawing/2014/main" id="{122F5C4E-A135-044D-AD59-93B5F59C58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2727" t="-3119" r="-5002" b="15204"/>
          <a:stretch/>
        </p:blipFill>
        <p:spPr>
          <a:xfrm>
            <a:off x="0" y="1255143"/>
            <a:ext cx="2902270" cy="5602857"/>
          </a:xfrm>
          <a:prstGeom prst="rect">
            <a:avLst/>
          </a:prstGeom>
        </p:spPr>
      </p:pic>
      <p:sp>
        <p:nvSpPr>
          <p:cNvPr id="7" name="Título 3">
            <a:extLst>
              <a:ext uri="{FF2B5EF4-FFF2-40B4-BE49-F238E27FC236}">
                <a16:creationId xmlns:a16="http://schemas.microsoft.com/office/drawing/2014/main" id="{900C3CFB-378C-D84D-A1B2-E1AE72EE5C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8153" y="719933"/>
            <a:ext cx="1461492" cy="477711"/>
          </a:xfrm>
        </p:spPr>
        <p:txBody>
          <a:bodyPr>
            <a:normAutofit/>
          </a:bodyPr>
          <a:lstStyle>
            <a:lvl1pPr>
              <a:defRPr sz="2800" b="0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Índice</a:t>
            </a:r>
          </a:p>
        </p:txBody>
      </p:sp>
    </p:spTree>
    <p:extLst>
      <p:ext uri="{BB962C8B-B14F-4D97-AF65-F5344CB8AC3E}">
        <p14:creationId xmlns:p14="http://schemas.microsoft.com/office/powerpoint/2010/main" val="24993869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de Títul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 descr="Uma imagem contendo teclado, computador, laptop&#10;&#10;Descrição gerada automaticamente">
            <a:extLst>
              <a:ext uri="{FF2B5EF4-FFF2-40B4-BE49-F238E27FC236}">
                <a16:creationId xmlns:a16="http://schemas.microsoft.com/office/drawing/2014/main" id="{477A9C8D-8C83-4604-89A6-C296408E52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067945"/>
            <a:ext cx="12192000" cy="1883045"/>
          </a:xfrm>
          <a:prstGeom prst="rect">
            <a:avLst/>
          </a:prstGeom>
        </p:spPr>
      </p:pic>
      <p:sp>
        <p:nvSpPr>
          <p:cNvPr id="7" name="Título 6">
            <a:extLst>
              <a:ext uri="{FF2B5EF4-FFF2-40B4-BE49-F238E27FC236}">
                <a16:creationId xmlns:a16="http://schemas.microsoft.com/office/drawing/2014/main" id="{D75A5E86-6513-4879-B8FF-C35A52F070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8750" y="3703425"/>
            <a:ext cx="7877175" cy="43338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Título da apresentação 24pt </a:t>
            </a:r>
            <a:r>
              <a:rPr lang="pt-BR" dirty="0" err="1"/>
              <a:t>bold</a:t>
            </a:r>
            <a:endParaRPr lang="pt-BR" dirty="0"/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5004445C-A7EB-4D24-98FB-54217C79991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2928938"/>
          </a:xfrm>
          <a:solidFill>
            <a:srgbClr val="CC2362">
              <a:alpha val="20000"/>
            </a:srgbClr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accent2"/>
                </a:solidFill>
              </a:defRPr>
            </a:lvl1pPr>
          </a:lstStyle>
          <a:p>
            <a:endParaRPr lang="pt-BR"/>
          </a:p>
        </p:txBody>
      </p:sp>
      <p:pic>
        <p:nvPicPr>
          <p:cNvPr id="5" name="Imagem 4" descr="Uma imagem contendo relógio, placar&#10;&#10;Descrição gerada automaticamente">
            <a:extLst>
              <a:ext uri="{FF2B5EF4-FFF2-40B4-BE49-F238E27FC236}">
                <a16:creationId xmlns:a16="http://schemas.microsoft.com/office/drawing/2014/main" id="{B0D30B19-BF6F-4A8D-B1C2-6455FE10BD1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01199" y="3508915"/>
            <a:ext cx="1314451" cy="950141"/>
          </a:xfrm>
          <a:prstGeom prst="rect">
            <a:avLst/>
          </a:prstGeom>
        </p:spPr>
      </p:pic>
      <p:pic>
        <p:nvPicPr>
          <p:cNvPr id="8" name="Imagem 7" descr="Uma imagem contendo edifício&#10;&#10;Descrição gerada automaticamente">
            <a:extLst>
              <a:ext uri="{FF2B5EF4-FFF2-40B4-BE49-F238E27FC236}">
                <a16:creationId xmlns:a16="http://schemas.microsoft.com/office/drawing/2014/main" id="{7D5F8C31-953B-4A3A-AD05-5859879E59C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1134" y="3591610"/>
            <a:ext cx="557616" cy="813662"/>
          </a:xfrm>
          <a:prstGeom prst="rect">
            <a:avLst/>
          </a:prstGeom>
        </p:spPr>
      </p:pic>
      <p:sp>
        <p:nvSpPr>
          <p:cNvPr id="10" name="Espaço Reservado para Texto 8">
            <a:extLst>
              <a:ext uri="{FF2B5EF4-FFF2-40B4-BE49-F238E27FC236}">
                <a16:creationId xmlns:a16="http://schemas.microsoft.com/office/drawing/2014/main" id="{03BDD60E-19D5-42F1-AEDA-C2567F78C1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28750" y="4114181"/>
            <a:ext cx="1952625" cy="319088"/>
          </a:xfrm>
        </p:spPr>
        <p:txBody>
          <a:bodyPr lIns="0" tIns="0" rIns="0" bIns="0"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4pPr>
            <a:lvl5pPr marL="0" indent="0" algn="l"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  <a:latin typeface="Roboto" panose="02000000000000000000" pitchFamily="2" charset="0"/>
              </a:defRPr>
            </a:lvl5pPr>
          </a:lstStyle>
          <a:p>
            <a:pPr lvl="4"/>
            <a:r>
              <a:rPr lang="pt-BR" dirty="0"/>
              <a:t>Coloque a data 12pt </a:t>
            </a:r>
            <a:r>
              <a:rPr lang="pt-BR" dirty="0" err="1"/>
              <a:t>bold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96762689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1_Layout Personaliza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>
            <a:extLst>
              <a:ext uri="{FF2B5EF4-FFF2-40B4-BE49-F238E27FC236}">
                <a16:creationId xmlns:a16="http://schemas.microsoft.com/office/drawing/2014/main" id="{65AF01E7-CE15-413B-82E2-023837CC3FF4}"/>
              </a:ext>
            </a:extLst>
          </p:cNvPr>
          <p:cNvSpPr/>
          <p:nvPr/>
        </p:nvSpPr>
        <p:spPr>
          <a:xfrm>
            <a:off x="4212518" y="0"/>
            <a:ext cx="7979482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8A2135AE-87FB-4BF1-9D93-AA6037E36C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11251" y="719934"/>
            <a:ext cx="5706936" cy="5418137"/>
          </a:xfrm>
        </p:spPr>
        <p:txBody>
          <a:bodyPr anchor="ctr"/>
          <a:lstStyle>
            <a:lvl1pPr marL="217719" indent="-217719">
              <a:spcAft>
                <a:spcPts val="1714"/>
              </a:spcAft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1pPr>
            <a:lvl2pPr marL="217719" indent="-217719">
              <a:spcAft>
                <a:spcPts val="1714"/>
              </a:spcAft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2pPr>
            <a:lvl3pPr marL="217719" indent="-217719">
              <a:spcAft>
                <a:spcPts val="1714"/>
              </a:spcAft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3pPr>
            <a:lvl4pPr marL="217719" indent="-217719">
              <a:spcAft>
                <a:spcPts val="1714"/>
              </a:spcAft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4pPr>
            <a:lvl5pPr marL="217719" indent="-217719">
              <a:spcAft>
                <a:spcPts val="1714"/>
              </a:spcAft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116CDA28-FD72-4681-BE67-AF2A6EC7BC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8153" y="719933"/>
            <a:ext cx="1461492" cy="477711"/>
          </a:xfrm>
        </p:spPr>
        <p:txBody>
          <a:bodyPr>
            <a:normAutofit/>
          </a:bodyPr>
          <a:lstStyle>
            <a:lvl1pPr>
              <a:defRPr sz="2800" b="0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Título</a:t>
            </a:r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1A079433-3B4A-4E31-8FA5-BC4FC689A53A}"/>
              </a:ext>
            </a:extLst>
          </p:cNvPr>
          <p:cNvSpPr/>
          <p:nvPr userDrawn="1"/>
        </p:nvSpPr>
        <p:spPr>
          <a:xfrm>
            <a:off x="4212518" y="0"/>
            <a:ext cx="7979482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  <p:pic>
        <p:nvPicPr>
          <p:cNvPr id="9" name="Imagem 10" descr="Uma imagem contendo edifício, ponte, luz&#10;&#10;Descrição gerada automaticamente">
            <a:extLst>
              <a:ext uri="{FF2B5EF4-FFF2-40B4-BE49-F238E27FC236}">
                <a16:creationId xmlns:a16="http://schemas.microsoft.com/office/drawing/2014/main" id="{358559C1-8A43-C047-ABF7-398312096B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2727" t="-3119" r="-5002" b="15204"/>
          <a:stretch/>
        </p:blipFill>
        <p:spPr>
          <a:xfrm>
            <a:off x="0" y="1255143"/>
            <a:ext cx="2902270" cy="5602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069495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5_Layout Personaliza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1023C2AC-84B0-4C9A-829B-319E1B3BC1D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C7B3229F-7680-451D-9708-A8B0F521B32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C83533-BF64-4BD4-B66F-F63D08579F68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2BDCC6E9-174B-4BCA-9EEE-909E41161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84640" y="2667000"/>
            <a:ext cx="7894246" cy="1238250"/>
          </a:xfrm>
        </p:spPr>
        <p:txBody>
          <a:bodyPr>
            <a:noAutofit/>
          </a:bodyPr>
          <a:lstStyle>
            <a:lvl1pPr>
              <a:defRPr sz="5143" b="0"/>
            </a:lvl1pPr>
          </a:lstStyle>
          <a:p>
            <a:r>
              <a:rPr lang="pt-BR" dirty="0"/>
              <a:t>Título do capítulo 54pt </a:t>
            </a:r>
          </a:p>
        </p:txBody>
      </p:sp>
      <p:sp>
        <p:nvSpPr>
          <p:cNvPr id="7" name="Espaço Reservado para Texto 4">
            <a:extLst>
              <a:ext uri="{FF2B5EF4-FFF2-40B4-BE49-F238E27FC236}">
                <a16:creationId xmlns:a16="http://schemas.microsoft.com/office/drawing/2014/main" id="{63CD8B8F-809D-4707-AA3D-48255E766C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5446" y="2120265"/>
            <a:ext cx="7894159" cy="270510"/>
          </a:xfrm>
        </p:spPr>
        <p:txBody>
          <a:bodyPr lIns="0" tIns="0" rIns="0" bIns="0" anchor="ctr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524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/>
              <a:t>Número do capítulo 16pt</a:t>
            </a:r>
          </a:p>
        </p:txBody>
      </p:sp>
      <p:sp>
        <p:nvSpPr>
          <p:cNvPr id="8" name="Espaço Reservado para Texto 4">
            <a:extLst>
              <a:ext uri="{FF2B5EF4-FFF2-40B4-BE49-F238E27FC236}">
                <a16:creationId xmlns:a16="http://schemas.microsoft.com/office/drawing/2014/main" id="{870F1A66-79F9-4D61-90E9-08869E17070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85446" y="4196716"/>
            <a:ext cx="7894159" cy="270510"/>
          </a:xfrm>
        </p:spPr>
        <p:txBody>
          <a:bodyPr lIns="0" tIns="0" rIns="0" bIns="0" anchor="ctr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143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/>
              <a:t>Descritivo do capítulo 12pt</a:t>
            </a:r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D04D2F12-442F-4B59-908F-571B3ACECF9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  <p:pic>
        <p:nvPicPr>
          <p:cNvPr id="11" name="Imagem 10" descr="Uma imagem contendo edifício, ponte, luz&#10;&#10;Descrição gerada automaticamente">
            <a:extLst>
              <a:ext uri="{FF2B5EF4-FFF2-40B4-BE49-F238E27FC236}">
                <a16:creationId xmlns:a16="http://schemas.microsoft.com/office/drawing/2014/main" id="{DA27C0B3-AD79-1548-B147-D14C56A20F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2727" t="-3119" r="-5002" b="15204"/>
          <a:stretch/>
        </p:blipFill>
        <p:spPr>
          <a:xfrm>
            <a:off x="0" y="1255143"/>
            <a:ext cx="2902270" cy="5602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37562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7_Layout Personaliza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C7B3229F-7680-451D-9708-A8B0F521B32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7C83533-BF64-4BD4-B66F-F63D08579F68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2BDCC6E9-174B-4BCA-9EEE-909E41161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84640" y="2667000"/>
            <a:ext cx="7894246" cy="1238250"/>
          </a:xfrm>
        </p:spPr>
        <p:txBody>
          <a:bodyPr>
            <a:noAutofit/>
          </a:bodyPr>
          <a:lstStyle>
            <a:lvl1pPr>
              <a:defRPr sz="5143" b="0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Título do capítulo 54pt </a:t>
            </a:r>
          </a:p>
        </p:txBody>
      </p:sp>
      <p:sp>
        <p:nvSpPr>
          <p:cNvPr id="7" name="Espaço Reservado para Texto 4">
            <a:extLst>
              <a:ext uri="{FF2B5EF4-FFF2-40B4-BE49-F238E27FC236}">
                <a16:creationId xmlns:a16="http://schemas.microsoft.com/office/drawing/2014/main" id="{63CD8B8F-809D-4707-AA3D-48255E766C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5446" y="2120265"/>
            <a:ext cx="7894159" cy="270510"/>
          </a:xfrm>
        </p:spPr>
        <p:txBody>
          <a:bodyPr lIns="0" tIns="0" rIns="0" bIns="0" anchor="ctr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524">
                <a:solidFill>
                  <a:schemeClr val="tx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/>
              <a:t>Número do capítulo 16pt</a:t>
            </a:r>
          </a:p>
        </p:txBody>
      </p:sp>
      <p:sp>
        <p:nvSpPr>
          <p:cNvPr id="8" name="Espaço Reservado para Texto 4">
            <a:extLst>
              <a:ext uri="{FF2B5EF4-FFF2-40B4-BE49-F238E27FC236}">
                <a16:creationId xmlns:a16="http://schemas.microsoft.com/office/drawing/2014/main" id="{870F1A66-79F9-4D61-90E9-08869E17070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85446" y="4196716"/>
            <a:ext cx="7894159" cy="270510"/>
          </a:xfrm>
        </p:spPr>
        <p:txBody>
          <a:bodyPr lIns="0" tIns="0" rIns="0" bIns="0" anchor="ctr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143">
                <a:solidFill>
                  <a:schemeClr val="tx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/>
              <a:t>Descritivo do capítulo 12pt</a:t>
            </a:r>
          </a:p>
        </p:txBody>
      </p:sp>
      <p:pic>
        <p:nvPicPr>
          <p:cNvPr id="9" name="Imagem 10" descr="Uma imagem contendo edifício, ponte, luz&#10;&#10;Descrição gerada automaticamente">
            <a:extLst>
              <a:ext uri="{FF2B5EF4-FFF2-40B4-BE49-F238E27FC236}">
                <a16:creationId xmlns:a16="http://schemas.microsoft.com/office/drawing/2014/main" id="{A90781A1-E2F2-D941-888A-8DFEA26A7D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2727" t="-3119" r="-5002" b="15204"/>
          <a:stretch/>
        </p:blipFill>
        <p:spPr>
          <a:xfrm>
            <a:off x="0" y="1255143"/>
            <a:ext cx="2902270" cy="5602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57594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8_Layout Personaliza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ângulo 9">
            <a:extLst>
              <a:ext uri="{FF2B5EF4-FFF2-40B4-BE49-F238E27FC236}">
                <a16:creationId xmlns:a16="http://schemas.microsoft.com/office/drawing/2014/main" id="{D656DA01-372C-4AB9-AC7E-0BC508462B96}"/>
              </a:ext>
            </a:extLst>
          </p:cNvPr>
          <p:cNvSpPr/>
          <p:nvPr userDrawn="1"/>
        </p:nvSpPr>
        <p:spPr>
          <a:xfrm>
            <a:off x="0" y="0"/>
            <a:ext cx="4243263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95E6030B-84ED-4341-BC19-BD397983F1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1810" y="2667000"/>
            <a:ext cx="6577074" cy="1238250"/>
          </a:xfrm>
        </p:spPr>
        <p:txBody>
          <a:bodyPr>
            <a:noAutofit/>
          </a:bodyPr>
          <a:lstStyle>
            <a:lvl1pPr>
              <a:defRPr sz="5143" b="0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Título do capítulo 54pt 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783A4356-BCDC-4B36-8883-9CD3FA189C8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02602" y="2120265"/>
            <a:ext cx="6577002" cy="270510"/>
          </a:xfrm>
        </p:spPr>
        <p:txBody>
          <a:bodyPr lIns="0" tIns="0" rIns="0" bIns="0" anchor="ctr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524">
                <a:solidFill>
                  <a:schemeClr val="tx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/>
              <a:t>Número do capítulo 16pt</a:t>
            </a:r>
          </a:p>
        </p:txBody>
      </p:sp>
      <p:sp>
        <p:nvSpPr>
          <p:cNvPr id="6" name="Espaço Reservado para Texto 4">
            <a:extLst>
              <a:ext uri="{FF2B5EF4-FFF2-40B4-BE49-F238E27FC236}">
                <a16:creationId xmlns:a16="http://schemas.microsoft.com/office/drawing/2014/main" id="{18EA43BE-8A84-451C-A8FB-6E755A4640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2602" y="4196716"/>
            <a:ext cx="6577002" cy="270510"/>
          </a:xfrm>
        </p:spPr>
        <p:txBody>
          <a:bodyPr lIns="0" tIns="0" rIns="0" bIns="0" anchor="ctr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143">
                <a:solidFill>
                  <a:schemeClr val="tx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/>
              <a:t>Descritivo do capítulo 12pt</a:t>
            </a:r>
          </a:p>
        </p:txBody>
      </p:sp>
      <p:pic>
        <p:nvPicPr>
          <p:cNvPr id="3" name="Imagem 2" descr="Uma imagem contendo objeto, relógio&#10;&#10;Descrição gerada automaticamente">
            <a:extLst>
              <a:ext uri="{FF2B5EF4-FFF2-40B4-BE49-F238E27FC236}">
                <a16:creationId xmlns:a16="http://schemas.microsoft.com/office/drawing/2014/main" id="{5D934B87-B631-4D22-AA11-C1CB4EC86ED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4243263" cy="6858000"/>
          </a:xfrm>
          <a:prstGeom prst="rect">
            <a:avLst/>
          </a:prstGeom>
        </p:spPr>
      </p:pic>
      <p:pic>
        <p:nvPicPr>
          <p:cNvPr id="8" name="Imagem 7" descr="Uma imagem contendo desenho, placar&#10;&#10;Descrição gerada automaticamente">
            <a:extLst>
              <a:ext uri="{FF2B5EF4-FFF2-40B4-BE49-F238E27FC236}">
                <a16:creationId xmlns:a16="http://schemas.microsoft.com/office/drawing/2014/main" id="{3A140260-4D50-47FC-B4DC-7E8CA798EB8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3765" y="5711192"/>
            <a:ext cx="920029" cy="552449"/>
          </a:xfrm>
          <a:prstGeom prst="rect">
            <a:avLst/>
          </a:prstGeom>
        </p:spPr>
      </p:pic>
      <p:pic>
        <p:nvPicPr>
          <p:cNvPr id="7" name="Imagem 6" descr="Uma imagem contendo objeto, relógio&#10;&#10;Descrição gerada automaticamente">
            <a:extLst>
              <a:ext uri="{FF2B5EF4-FFF2-40B4-BE49-F238E27FC236}">
                <a16:creationId xmlns:a16="http://schemas.microsoft.com/office/drawing/2014/main" id="{10D60A1F-E7FA-4734-85F7-C4D7998907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4243263" cy="6858000"/>
          </a:xfrm>
          <a:prstGeom prst="rect">
            <a:avLst/>
          </a:prstGeom>
        </p:spPr>
      </p:pic>
      <p:pic>
        <p:nvPicPr>
          <p:cNvPr id="9" name="Imagem 8" descr="Uma imagem contendo desenho, placar&#10;&#10;Descrição gerada automaticamente">
            <a:extLst>
              <a:ext uri="{FF2B5EF4-FFF2-40B4-BE49-F238E27FC236}">
                <a16:creationId xmlns:a16="http://schemas.microsoft.com/office/drawing/2014/main" id="{2FD08061-23AE-4620-984E-49378E11FB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3765" y="5711192"/>
            <a:ext cx="920029" cy="552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303774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9_Layout Personaliza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id="{16AF9A16-7F60-4DB0-AEC9-62686CA1C02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95E6030B-84ED-4341-BC19-BD397983F1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1810" y="2667000"/>
            <a:ext cx="6577074" cy="1238250"/>
          </a:xfrm>
        </p:spPr>
        <p:txBody>
          <a:bodyPr>
            <a:noAutofit/>
          </a:bodyPr>
          <a:lstStyle>
            <a:lvl1pPr>
              <a:defRPr sz="5143" b="0">
                <a:solidFill>
                  <a:schemeClr val="bg1"/>
                </a:solidFill>
              </a:defRPr>
            </a:lvl1pPr>
          </a:lstStyle>
          <a:p>
            <a:r>
              <a:rPr lang="pt-BR" dirty="0"/>
              <a:t>Título do capítulo 54pt 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783A4356-BCDC-4B36-8883-9CD3FA189C8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02602" y="2120265"/>
            <a:ext cx="6577002" cy="270510"/>
          </a:xfrm>
        </p:spPr>
        <p:txBody>
          <a:bodyPr lIns="0" tIns="0" rIns="0" bIns="0" anchor="ctr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524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/>
              <a:t>Número do capítulo 16pt</a:t>
            </a:r>
          </a:p>
        </p:txBody>
      </p:sp>
      <p:sp>
        <p:nvSpPr>
          <p:cNvPr id="6" name="Espaço Reservado para Texto 4">
            <a:extLst>
              <a:ext uri="{FF2B5EF4-FFF2-40B4-BE49-F238E27FC236}">
                <a16:creationId xmlns:a16="http://schemas.microsoft.com/office/drawing/2014/main" id="{18EA43BE-8A84-451C-A8FB-6E755A4640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2602" y="4196716"/>
            <a:ext cx="6577002" cy="270510"/>
          </a:xfrm>
        </p:spPr>
        <p:txBody>
          <a:bodyPr lIns="0" tIns="0" rIns="0" bIns="0" anchor="ctr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143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/>
              <a:t>Descritivo do capítulo 12pt</a:t>
            </a:r>
          </a:p>
        </p:txBody>
      </p:sp>
      <p:pic>
        <p:nvPicPr>
          <p:cNvPr id="3" name="Imagem 2" descr="Uma imagem contendo objeto, relógio&#10;&#10;Descrição gerada automaticamente">
            <a:extLst>
              <a:ext uri="{FF2B5EF4-FFF2-40B4-BE49-F238E27FC236}">
                <a16:creationId xmlns:a16="http://schemas.microsoft.com/office/drawing/2014/main" id="{5D934B87-B631-4D22-AA11-C1CB4EC86ED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4243263" cy="6858000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3A140260-4D50-47FC-B4DC-7E8CA798EB8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54805" y="5711192"/>
            <a:ext cx="917949" cy="552449"/>
          </a:xfrm>
          <a:prstGeom prst="rect">
            <a:avLst/>
          </a:prstGeom>
        </p:spPr>
      </p:pic>
      <p:sp>
        <p:nvSpPr>
          <p:cNvPr id="9" name="Retângulo 8">
            <a:extLst>
              <a:ext uri="{FF2B5EF4-FFF2-40B4-BE49-F238E27FC236}">
                <a16:creationId xmlns:a16="http://schemas.microsoft.com/office/drawing/2014/main" id="{7622C5A0-A9EB-478E-B206-36A43F62A78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  <p:pic>
        <p:nvPicPr>
          <p:cNvPr id="10" name="Imagem 9" descr="Uma imagem contendo objeto, relógio&#10;&#10;Descrição gerada automaticamente">
            <a:extLst>
              <a:ext uri="{FF2B5EF4-FFF2-40B4-BE49-F238E27FC236}">
                <a16:creationId xmlns:a16="http://schemas.microsoft.com/office/drawing/2014/main" id="{CC158187-35B4-4F27-9287-AAFA8F2543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4243263" cy="6858000"/>
          </a:xfrm>
          <a:prstGeom prst="rect">
            <a:avLst/>
          </a:prstGeom>
        </p:spPr>
      </p:pic>
      <p:pic>
        <p:nvPicPr>
          <p:cNvPr id="11" name="Imagem 10">
            <a:extLst>
              <a:ext uri="{FF2B5EF4-FFF2-40B4-BE49-F238E27FC236}">
                <a16:creationId xmlns:a16="http://schemas.microsoft.com/office/drawing/2014/main" id="{0E93CAE6-9476-4825-AD57-B755E2A27B4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54805" y="5711192"/>
            <a:ext cx="917949" cy="552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641971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6_Layout Personaliza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>
            <a:extLst>
              <a:ext uri="{FF2B5EF4-FFF2-40B4-BE49-F238E27FC236}">
                <a16:creationId xmlns:a16="http://schemas.microsoft.com/office/drawing/2014/main" id="{911F4FAD-C5CF-43FD-86A9-27D641CC295B}"/>
              </a:ext>
            </a:extLst>
          </p:cNvPr>
          <p:cNvSpPr/>
          <p:nvPr/>
        </p:nvSpPr>
        <p:spPr>
          <a:xfrm>
            <a:off x="0" y="5330824"/>
            <a:ext cx="12192000" cy="152717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29670000-A5FF-4AB6-865D-6CFB4E6BA4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9550" y="5811278"/>
            <a:ext cx="9207490" cy="609959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pt-BR" dirty="0"/>
              <a:t>Título do capítulo 24pt 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8A4820C0-C071-483D-BC45-C7422E1A3E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0343" y="5540766"/>
            <a:ext cx="6577002" cy="270510"/>
          </a:xfrm>
        </p:spPr>
        <p:txBody>
          <a:bodyPr lIns="0" tIns="0" rIns="0" bIns="0" anchor="ctr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/>
              <a:t>Número do capítulo 14pt</a:t>
            </a:r>
          </a:p>
        </p:txBody>
      </p:sp>
      <p:sp>
        <p:nvSpPr>
          <p:cNvPr id="6" name="Espaço Reservado para Texto 4">
            <a:extLst>
              <a:ext uri="{FF2B5EF4-FFF2-40B4-BE49-F238E27FC236}">
                <a16:creationId xmlns:a16="http://schemas.microsoft.com/office/drawing/2014/main" id="{9A959F43-5782-4AEA-960E-0EC5849011D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90343" y="6421235"/>
            <a:ext cx="6577002" cy="270510"/>
          </a:xfrm>
        </p:spPr>
        <p:txBody>
          <a:bodyPr lIns="0" tIns="0" rIns="0" bIns="0" anchor="ctr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143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/>
              <a:t>Descritivo do capítulo 12pt</a:t>
            </a:r>
          </a:p>
        </p:txBody>
      </p:sp>
      <p:sp>
        <p:nvSpPr>
          <p:cNvPr id="7" name="Espaço Reservado para Imagem 6">
            <a:extLst>
              <a:ext uri="{FF2B5EF4-FFF2-40B4-BE49-F238E27FC236}">
                <a16:creationId xmlns:a16="http://schemas.microsoft.com/office/drawing/2014/main" id="{05F4483A-1CED-41C7-B946-981086678E9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2000" cy="5330825"/>
          </a:xfrm>
          <a:solidFill>
            <a:srgbClr val="CC2362">
              <a:alpha val="20000"/>
            </a:srgbClr>
          </a:solidFill>
        </p:spPr>
        <p:txBody>
          <a:bodyPr anchor="ctr" anchorCtr="0"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pt-BR"/>
              <a:t>Clique no ícone para adicionar uma imagem</a:t>
            </a:r>
          </a:p>
        </p:txBody>
      </p:sp>
      <p:pic>
        <p:nvPicPr>
          <p:cNvPr id="12" name="Imagem 11" descr="Uma imagem contendo mesa&#10;&#10;Descrição gerada automaticamente">
            <a:extLst>
              <a:ext uri="{FF2B5EF4-FFF2-40B4-BE49-F238E27FC236}">
                <a16:creationId xmlns:a16="http://schemas.microsoft.com/office/drawing/2014/main" id="{80423DB5-3242-45CB-81F0-88DF6260CD2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6232" y="5734050"/>
            <a:ext cx="1294038" cy="778791"/>
          </a:xfrm>
          <a:prstGeom prst="rect">
            <a:avLst/>
          </a:prstGeom>
        </p:spPr>
      </p:pic>
      <p:sp>
        <p:nvSpPr>
          <p:cNvPr id="9" name="Retângulo 8">
            <a:extLst>
              <a:ext uri="{FF2B5EF4-FFF2-40B4-BE49-F238E27FC236}">
                <a16:creationId xmlns:a16="http://schemas.microsoft.com/office/drawing/2014/main" id="{963FEE1A-1216-4A24-95B1-9A7F0C6F2A65}"/>
              </a:ext>
            </a:extLst>
          </p:cNvPr>
          <p:cNvSpPr/>
          <p:nvPr userDrawn="1"/>
        </p:nvSpPr>
        <p:spPr>
          <a:xfrm>
            <a:off x="0" y="5330824"/>
            <a:ext cx="12192000" cy="152717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  <p:pic>
        <p:nvPicPr>
          <p:cNvPr id="10" name="Imagem 9" descr="Uma imagem contendo mesa&#10;&#10;Descrição gerada automaticamente">
            <a:extLst>
              <a:ext uri="{FF2B5EF4-FFF2-40B4-BE49-F238E27FC236}">
                <a16:creationId xmlns:a16="http://schemas.microsoft.com/office/drawing/2014/main" id="{88DF7319-3349-4FEF-B7CE-0B1F3C8BD0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6232" y="5734050"/>
            <a:ext cx="1294038" cy="778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70640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3_Layout Personaliza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B06C5FE4-EB08-4E9B-8B2B-47F6FB6B3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C83533-BF64-4BD4-B66F-F63D08579F68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5" name="Espaço Reservado para Imagem 6">
            <a:extLst>
              <a:ext uri="{FF2B5EF4-FFF2-40B4-BE49-F238E27FC236}">
                <a16:creationId xmlns:a16="http://schemas.microsoft.com/office/drawing/2014/main" id="{51AEFE67-B295-4AF1-8765-6F2EEEF1900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-1"/>
            <a:ext cx="7765143" cy="6858001"/>
          </a:xfrm>
          <a:solidFill>
            <a:srgbClr val="CC2362">
              <a:alpha val="20000"/>
            </a:srgbClr>
          </a:solidFill>
        </p:spPr>
        <p:txBody>
          <a:bodyPr anchor="ctr" anchorCtr="0"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pt-BR"/>
              <a:t>Clique no ícone para adicionar uma imagem</a:t>
            </a: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7687B828-B5C2-4BD4-BBFF-E526FE661581}"/>
              </a:ext>
            </a:extLst>
          </p:cNvPr>
          <p:cNvSpPr/>
          <p:nvPr/>
        </p:nvSpPr>
        <p:spPr>
          <a:xfrm>
            <a:off x="7765143" y="0"/>
            <a:ext cx="4426857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 dirty="0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68C214E7-676B-404E-ABAA-B16B2E1B57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78674" y="2752726"/>
            <a:ext cx="3135901" cy="1352546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  <p:pic>
        <p:nvPicPr>
          <p:cNvPr id="7" name="Imagem 6" descr="Uma imagem contendo mesa&#10;&#10;Descrição gerada automaticamente">
            <a:extLst>
              <a:ext uri="{FF2B5EF4-FFF2-40B4-BE49-F238E27FC236}">
                <a16:creationId xmlns:a16="http://schemas.microsoft.com/office/drawing/2014/main" id="{27B90DA7-C352-4E84-8E51-8234EF1F115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6232" y="5734050"/>
            <a:ext cx="1294038" cy="778791"/>
          </a:xfrm>
          <a:prstGeom prst="rect">
            <a:avLst/>
          </a:prstGeom>
        </p:spPr>
      </p:pic>
      <p:sp>
        <p:nvSpPr>
          <p:cNvPr id="8" name="Espaço Reservado para Texto 4">
            <a:extLst>
              <a:ext uri="{FF2B5EF4-FFF2-40B4-BE49-F238E27FC236}">
                <a16:creationId xmlns:a16="http://schemas.microsoft.com/office/drawing/2014/main" id="{08E0CC21-653D-4939-85AA-BA5BDF9F52D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74559" y="2352722"/>
            <a:ext cx="3140017" cy="270510"/>
          </a:xfrm>
        </p:spPr>
        <p:txBody>
          <a:bodyPr lIns="0" tIns="0" rIns="0" bIns="0" anchor="ctr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/>
              <a:t>Número do capítulo 14pt</a:t>
            </a:r>
          </a:p>
        </p:txBody>
      </p:sp>
      <p:sp>
        <p:nvSpPr>
          <p:cNvPr id="9" name="Espaço Reservado para Texto 4">
            <a:extLst>
              <a:ext uri="{FF2B5EF4-FFF2-40B4-BE49-F238E27FC236}">
                <a16:creationId xmlns:a16="http://schemas.microsoft.com/office/drawing/2014/main" id="{DCA9E5F3-38FA-438B-8ECA-83C93A984E3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74559" y="4234766"/>
            <a:ext cx="3140017" cy="270510"/>
          </a:xfrm>
        </p:spPr>
        <p:txBody>
          <a:bodyPr lIns="0" tIns="0" rIns="0" bIns="0" anchor="ctr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143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/>
              <a:t>Descritivo do capítulo 12pt</a:t>
            </a:r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0CBCAD29-DB66-4271-BEB9-0E488A6513FC}"/>
              </a:ext>
            </a:extLst>
          </p:cNvPr>
          <p:cNvSpPr/>
          <p:nvPr userDrawn="1"/>
        </p:nvSpPr>
        <p:spPr>
          <a:xfrm>
            <a:off x="7765143" y="0"/>
            <a:ext cx="4426857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 dirty="0"/>
          </a:p>
        </p:txBody>
      </p:sp>
      <p:pic>
        <p:nvPicPr>
          <p:cNvPr id="11" name="Imagem 10" descr="Uma imagem contendo mesa&#10;&#10;Descrição gerada automaticamente">
            <a:extLst>
              <a:ext uri="{FF2B5EF4-FFF2-40B4-BE49-F238E27FC236}">
                <a16:creationId xmlns:a16="http://schemas.microsoft.com/office/drawing/2014/main" id="{8846B0A4-4942-4C8C-AE62-34BF80EAF5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6232" y="5734050"/>
            <a:ext cx="1294038" cy="778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140293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Layout Personaliza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Imagem 18" descr="Uma imagem contendo pássaro&#10;&#10;Descrição gerada automaticamente">
            <a:extLst>
              <a:ext uri="{FF2B5EF4-FFF2-40B4-BE49-F238E27FC236}">
                <a16:creationId xmlns:a16="http://schemas.microsoft.com/office/drawing/2014/main" id="{7F403C9F-EFCA-46BA-9ECA-CCC02D20BFF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0395515" cy="1276680"/>
          </a:xfrm>
          <a:prstGeom prst="rect">
            <a:avLst/>
          </a:prstGeom>
        </p:spPr>
      </p:pic>
      <p:pic>
        <p:nvPicPr>
          <p:cNvPr id="20" name="Imagem 19" descr="Uma imagem contendo desenho, placar&#10;&#10;Descrição gerada automaticamente">
            <a:extLst>
              <a:ext uri="{FF2B5EF4-FFF2-40B4-BE49-F238E27FC236}">
                <a16:creationId xmlns:a16="http://schemas.microsoft.com/office/drawing/2014/main" id="{61C89A27-A830-428F-843D-2A378D62B1C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0286" y="348210"/>
            <a:ext cx="919368" cy="552052"/>
          </a:xfrm>
          <a:prstGeom prst="rect">
            <a:avLst/>
          </a:prstGeom>
        </p:spPr>
      </p:pic>
      <p:sp>
        <p:nvSpPr>
          <p:cNvPr id="15" name="Retângulo 14">
            <a:extLst>
              <a:ext uri="{FF2B5EF4-FFF2-40B4-BE49-F238E27FC236}">
                <a16:creationId xmlns:a16="http://schemas.microsoft.com/office/drawing/2014/main" id="{04B4B737-B1B8-48CB-ABDC-7A8755D254F1}"/>
              </a:ext>
            </a:extLst>
          </p:cNvPr>
          <p:cNvSpPr/>
          <p:nvPr/>
        </p:nvSpPr>
        <p:spPr>
          <a:xfrm>
            <a:off x="0" y="6462844"/>
            <a:ext cx="12192000" cy="39340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  <p:pic>
        <p:nvPicPr>
          <p:cNvPr id="18" name="Imagem 17">
            <a:extLst>
              <a:ext uri="{FF2B5EF4-FFF2-40B4-BE49-F238E27FC236}">
                <a16:creationId xmlns:a16="http://schemas.microsoft.com/office/drawing/2014/main" id="{085CEE3B-0F9B-441E-83BB-A11B1846B82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66554" y="6587492"/>
            <a:ext cx="569027" cy="27050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3E0673AE-3C05-45DB-A1E3-1160479FD9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8007" y="384178"/>
            <a:ext cx="8450943" cy="253997"/>
          </a:xfrm>
        </p:spPr>
        <p:txBody>
          <a:bodyPr>
            <a:normAutofit/>
          </a:bodyPr>
          <a:lstStyle>
            <a:lvl1pPr>
              <a:defRPr sz="1714"/>
            </a:lvl1pPr>
          </a:lstStyle>
          <a:p>
            <a:r>
              <a:rPr lang="pt-BR" dirty="0"/>
              <a:t>Título do slide 18pt </a:t>
            </a:r>
            <a:r>
              <a:rPr lang="pt-BR" dirty="0" err="1"/>
              <a:t>bold</a:t>
            </a:r>
            <a:endParaRPr lang="pt-BR" dirty="0"/>
          </a:p>
        </p:txBody>
      </p:sp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691DE608-32F9-42EF-A759-0D836707AF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996638CD-16BE-4C6D-BCD9-DBAA1C8BF6B7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6" name="Espaço Reservado para Texto 5">
            <a:extLst>
              <a:ext uri="{FF2B5EF4-FFF2-40B4-BE49-F238E27FC236}">
                <a16:creationId xmlns:a16="http://schemas.microsoft.com/office/drawing/2014/main" id="{722283FA-172F-41D7-BC0D-4CDE81F0B0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2397" y="1476376"/>
            <a:ext cx="10567208" cy="742950"/>
          </a:xfrm>
        </p:spPr>
        <p:txBody>
          <a:bodyPr lIns="0" tIns="0" rIns="0" bIns="0" anchor="ctr" anchorCtr="0"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pt-BR" dirty="0"/>
              <a:t>Texto corrido de destaque 14pt</a:t>
            </a:r>
          </a:p>
        </p:txBody>
      </p:sp>
      <p:sp>
        <p:nvSpPr>
          <p:cNvPr id="8" name="Espaço Reservado para Imagem 7">
            <a:extLst>
              <a:ext uri="{FF2B5EF4-FFF2-40B4-BE49-F238E27FC236}">
                <a16:creationId xmlns:a16="http://schemas.microsoft.com/office/drawing/2014/main" id="{B7DFDCF7-B989-4448-89CB-CCD20451CCB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12398" y="2620173"/>
            <a:ext cx="1110745" cy="874713"/>
          </a:xfrm>
        </p:spPr>
        <p:txBody>
          <a:bodyPr anchor="ctr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BR" dirty="0"/>
              <a:t>Adicione um ícone</a:t>
            </a:r>
          </a:p>
        </p:txBody>
      </p:sp>
      <p:sp>
        <p:nvSpPr>
          <p:cNvPr id="9" name="Espaço Reservado para Imagem 7">
            <a:extLst>
              <a:ext uri="{FF2B5EF4-FFF2-40B4-BE49-F238E27FC236}">
                <a16:creationId xmlns:a16="http://schemas.microsoft.com/office/drawing/2014/main" id="{3FF86751-ED61-4568-B37B-370CD2D2FE9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12398" y="5343528"/>
            <a:ext cx="1110745" cy="874713"/>
          </a:xfrm>
        </p:spPr>
        <p:txBody>
          <a:bodyPr anchor="ctr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BR" dirty="0"/>
              <a:t>Adicione um ícone</a:t>
            </a:r>
          </a:p>
        </p:txBody>
      </p:sp>
      <p:sp>
        <p:nvSpPr>
          <p:cNvPr id="10" name="Espaço Reservado para Imagem 7">
            <a:extLst>
              <a:ext uri="{FF2B5EF4-FFF2-40B4-BE49-F238E27FC236}">
                <a16:creationId xmlns:a16="http://schemas.microsoft.com/office/drawing/2014/main" id="{B7BF82DD-C601-4163-A746-3B5E862339C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12398" y="3981850"/>
            <a:ext cx="1110745" cy="874713"/>
          </a:xfrm>
        </p:spPr>
        <p:txBody>
          <a:bodyPr anchor="ctr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BR" dirty="0"/>
              <a:t>Adicione um ícone</a:t>
            </a:r>
          </a:p>
        </p:txBody>
      </p:sp>
      <p:sp>
        <p:nvSpPr>
          <p:cNvPr id="12" name="Espaço Reservado para Texto 11">
            <a:extLst>
              <a:ext uri="{FF2B5EF4-FFF2-40B4-BE49-F238E27FC236}">
                <a16:creationId xmlns:a16="http://schemas.microsoft.com/office/drawing/2014/main" id="{2EB556A8-736D-4F82-AA71-82394052CE9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40858" y="2620173"/>
            <a:ext cx="4269619" cy="874713"/>
          </a:xfrm>
        </p:spPr>
        <p:txBody>
          <a:bodyPr lIns="0" tIns="0" rIns="0" bIns="0" anchor="ctr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143"/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Texto corrido 12pt</a:t>
            </a:r>
          </a:p>
        </p:txBody>
      </p:sp>
      <p:sp>
        <p:nvSpPr>
          <p:cNvPr id="13" name="Espaço Reservado para Texto 11">
            <a:extLst>
              <a:ext uri="{FF2B5EF4-FFF2-40B4-BE49-F238E27FC236}">
                <a16:creationId xmlns:a16="http://schemas.microsoft.com/office/drawing/2014/main" id="{8A63DB3E-BDE2-4E1E-999B-94723D8657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140858" y="3981850"/>
            <a:ext cx="4269619" cy="874713"/>
          </a:xfrm>
        </p:spPr>
        <p:txBody>
          <a:bodyPr lIns="0" tIns="0" rIns="0" bIns="0" anchor="ctr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143"/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Texto corrido 12pt</a:t>
            </a:r>
          </a:p>
        </p:txBody>
      </p:sp>
      <p:sp>
        <p:nvSpPr>
          <p:cNvPr id="14" name="Espaço Reservado para Texto 11">
            <a:extLst>
              <a:ext uri="{FF2B5EF4-FFF2-40B4-BE49-F238E27FC236}">
                <a16:creationId xmlns:a16="http://schemas.microsoft.com/office/drawing/2014/main" id="{6EEEFC87-BE12-495C-B238-BAFCBFA9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140858" y="5343527"/>
            <a:ext cx="4269619" cy="874713"/>
          </a:xfrm>
        </p:spPr>
        <p:txBody>
          <a:bodyPr lIns="0" tIns="0" rIns="0" bIns="0" anchor="ctr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143"/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Texto corrido 12pt</a:t>
            </a:r>
          </a:p>
        </p:txBody>
      </p:sp>
      <p:sp>
        <p:nvSpPr>
          <p:cNvPr id="16" name="Espaço Reservado para Conteúdo 15">
            <a:extLst>
              <a:ext uri="{FF2B5EF4-FFF2-40B4-BE49-F238E27FC236}">
                <a16:creationId xmlns:a16="http://schemas.microsoft.com/office/drawing/2014/main" id="{863F88CA-8735-4A0D-994C-B9716DE57A04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978956" y="2620170"/>
            <a:ext cx="4400651" cy="3598068"/>
          </a:xfrm>
        </p:spPr>
        <p:txBody>
          <a:bodyPr anchor="ctr" anchorCtr="1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048">
                <a:solidFill>
                  <a:schemeClr val="accent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Adicione um gráfico, tabela ou imagem.</a:t>
            </a:r>
          </a:p>
        </p:txBody>
      </p:sp>
      <p:sp>
        <p:nvSpPr>
          <p:cNvPr id="17" name="Espaço Reservado para Texto 9">
            <a:extLst>
              <a:ext uri="{FF2B5EF4-FFF2-40B4-BE49-F238E27FC236}">
                <a16:creationId xmlns:a16="http://schemas.microsoft.com/office/drawing/2014/main" id="{0FACC948-0CCB-40EA-B340-03457EE4A63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12398" y="673895"/>
            <a:ext cx="6692698" cy="233362"/>
          </a:xfrm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143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/>
              <a:t>Adicione um subtítulo para apresentação 12pt</a:t>
            </a:r>
          </a:p>
        </p:txBody>
      </p:sp>
      <p:pic>
        <p:nvPicPr>
          <p:cNvPr id="21" name="Imagem 20" descr="Uma imagem contendo pássaro&#10;&#10;Descrição gerada automaticamente">
            <a:extLst>
              <a:ext uri="{FF2B5EF4-FFF2-40B4-BE49-F238E27FC236}">
                <a16:creationId xmlns:a16="http://schemas.microsoft.com/office/drawing/2014/main" id="{24B59C79-EF50-466D-AE5B-01688F8672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0395515" cy="1276680"/>
          </a:xfrm>
          <a:prstGeom prst="rect">
            <a:avLst/>
          </a:prstGeom>
        </p:spPr>
      </p:pic>
      <p:pic>
        <p:nvPicPr>
          <p:cNvPr id="22" name="Imagem 21" descr="Uma imagem contendo desenho, placar&#10;&#10;Descrição gerada automaticamente">
            <a:extLst>
              <a:ext uri="{FF2B5EF4-FFF2-40B4-BE49-F238E27FC236}">
                <a16:creationId xmlns:a16="http://schemas.microsoft.com/office/drawing/2014/main" id="{01B9ADE4-705F-40F5-9133-534A0925AF0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0286" y="348210"/>
            <a:ext cx="919368" cy="552052"/>
          </a:xfrm>
          <a:prstGeom prst="rect">
            <a:avLst/>
          </a:prstGeom>
        </p:spPr>
      </p:pic>
      <p:sp>
        <p:nvSpPr>
          <p:cNvPr id="23" name="Retângulo 22">
            <a:extLst>
              <a:ext uri="{FF2B5EF4-FFF2-40B4-BE49-F238E27FC236}">
                <a16:creationId xmlns:a16="http://schemas.microsoft.com/office/drawing/2014/main" id="{1F8656FF-89D2-4618-9D62-B6F9BF39C373}"/>
              </a:ext>
            </a:extLst>
          </p:cNvPr>
          <p:cNvSpPr/>
          <p:nvPr userDrawn="1"/>
        </p:nvSpPr>
        <p:spPr>
          <a:xfrm>
            <a:off x="0" y="6462844"/>
            <a:ext cx="12192000" cy="39340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  <p:pic>
        <p:nvPicPr>
          <p:cNvPr id="24" name="Imagem 23">
            <a:extLst>
              <a:ext uri="{FF2B5EF4-FFF2-40B4-BE49-F238E27FC236}">
                <a16:creationId xmlns:a16="http://schemas.microsoft.com/office/drawing/2014/main" id="{E8CCC711-D22E-4803-8D20-03587F5561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66554" y="6587492"/>
            <a:ext cx="569027" cy="270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81179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Layout Personaliza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>
            <a:extLst>
              <a:ext uri="{FF2B5EF4-FFF2-40B4-BE49-F238E27FC236}">
                <a16:creationId xmlns:a16="http://schemas.microsoft.com/office/drawing/2014/main" id="{3792E50D-241B-4E82-B9FB-E03E081FA56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  <p:pic>
        <p:nvPicPr>
          <p:cNvPr id="19" name="Imagem 18">
            <a:extLst>
              <a:ext uri="{FF2B5EF4-FFF2-40B4-BE49-F238E27FC236}">
                <a16:creationId xmlns:a16="http://schemas.microsoft.com/office/drawing/2014/main" id="{7F403C9F-EFCA-46BA-9ECA-CCC02D20BFF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20" y="0"/>
            <a:ext cx="10390474" cy="1276680"/>
          </a:xfrm>
          <a:prstGeom prst="rect">
            <a:avLst/>
          </a:prstGeom>
        </p:spPr>
      </p:pic>
      <p:pic>
        <p:nvPicPr>
          <p:cNvPr id="20" name="Imagem 19">
            <a:extLst>
              <a:ext uri="{FF2B5EF4-FFF2-40B4-BE49-F238E27FC236}">
                <a16:creationId xmlns:a16="http://schemas.microsoft.com/office/drawing/2014/main" id="{61C89A27-A830-428F-843D-2A378D62B1C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51325" y="348210"/>
            <a:ext cx="917289" cy="552052"/>
          </a:xfrm>
          <a:prstGeom prst="rect">
            <a:avLst/>
          </a:prstGeom>
        </p:spPr>
      </p:pic>
      <p:pic>
        <p:nvPicPr>
          <p:cNvPr id="18" name="Imagem 17">
            <a:extLst>
              <a:ext uri="{FF2B5EF4-FFF2-40B4-BE49-F238E27FC236}">
                <a16:creationId xmlns:a16="http://schemas.microsoft.com/office/drawing/2014/main" id="{085CEE3B-0F9B-441E-83BB-A11B1846B82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66554" y="6587492"/>
            <a:ext cx="569027" cy="27050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3E0673AE-3C05-45DB-A1E3-1160479FD9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8007" y="384178"/>
            <a:ext cx="8450943" cy="253997"/>
          </a:xfrm>
        </p:spPr>
        <p:txBody>
          <a:bodyPr>
            <a:normAutofit/>
          </a:bodyPr>
          <a:lstStyle>
            <a:lvl1pPr>
              <a:defRPr sz="1714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Título do slide 18pt </a:t>
            </a:r>
            <a:r>
              <a:rPr lang="pt-BR" dirty="0" err="1"/>
              <a:t>bold</a:t>
            </a:r>
            <a:endParaRPr lang="pt-BR" dirty="0"/>
          </a:p>
        </p:txBody>
      </p:sp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691DE608-32F9-42EF-A759-0D836707AF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996638CD-16BE-4C6D-BCD9-DBAA1C8BF6B7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6" name="Espaço Reservado para Texto 5">
            <a:extLst>
              <a:ext uri="{FF2B5EF4-FFF2-40B4-BE49-F238E27FC236}">
                <a16:creationId xmlns:a16="http://schemas.microsoft.com/office/drawing/2014/main" id="{722283FA-172F-41D7-BC0D-4CDE81F0B0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2397" y="1476376"/>
            <a:ext cx="10567208" cy="742950"/>
          </a:xfrm>
        </p:spPr>
        <p:txBody>
          <a:bodyPr lIns="0" tIns="0" rIns="0" bIns="0" anchor="ctr" anchorCtr="0"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pt-BR" dirty="0"/>
              <a:t>Texto corrido de destaque 14pt</a:t>
            </a:r>
          </a:p>
        </p:txBody>
      </p:sp>
      <p:sp>
        <p:nvSpPr>
          <p:cNvPr id="8" name="Espaço Reservado para Imagem 7">
            <a:extLst>
              <a:ext uri="{FF2B5EF4-FFF2-40B4-BE49-F238E27FC236}">
                <a16:creationId xmlns:a16="http://schemas.microsoft.com/office/drawing/2014/main" id="{B7DFDCF7-B989-4448-89CB-CCD20451CCB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12398" y="2620173"/>
            <a:ext cx="1110745" cy="874713"/>
          </a:xfrm>
        </p:spPr>
        <p:txBody>
          <a:bodyPr anchor="ctr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BR" dirty="0"/>
              <a:t>Adicione um ícone</a:t>
            </a:r>
          </a:p>
        </p:txBody>
      </p:sp>
      <p:sp>
        <p:nvSpPr>
          <p:cNvPr id="9" name="Espaço Reservado para Imagem 7">
            <a:extLst>
              <a:ext uri="{FF2B5EF4-FFF2-40B4-BE49-F238E27FC236}">
                <a16:creationId xmlns:a16="http://schemas.microsoft.com/office/drawing/2014/main" id="{3FF86751-ED61-4568-B37B-370CD2D2FE9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12398" y="5343528"/>
            <a:ext cx="1110745" cy="874713"/>
          </a:xfrm>
        </p:spPr>
        <p:txBody>
          <a:bodyPr anchor="ctr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BR" dirty="0"/>
              <a:t>Adicione um ícone</a:t>
            </a:r>
          </a:p>
        </p:txBody>
      </p:sp>
      <p:sp>
        <p:nvSpPr>
          <p:cNvPr id="10" name="Espaço Reservado para Imagem 7">
            <a:extLst>
              <a:ext uri="{FF2B5EF4-FFF2-40B4-BE49-F238E27FC236}">
                <a16:creationId xmlns:a16="http://schemas.microsoft.com/office/drawing/2014/main" id="{B7BF82DD-C601-4163-A746-3B5E862339C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12398" y="3981850"/>
            <a:ext cx="1110745" cy="874713"/>
          </a:xfrm>
        </p:spPr>
        <p:txBody>
          <a:bodyPr anchor="ctr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BR" dirty="0"/>
              <a:t>Adicione um ícone</a:t>
            </a:r>
          </a:p>
        </p:txBody>
      </p:sp>
      <p:sp>
        <p:nvSpPr>
          <p:cNvPr id="12" name="Espaço Reservado para Texto 11">
            <a:extLst>
              <a:ext uri="{FF2B5EF4-FFF2-40B4-BE49-F238E27FC236}">
                <a16:creationId xmlns:a16="http://schemas.microsoft.com/office/drawing/2014/main" id="{2EB556A8-736D-4F82-AA71-82394052CE9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40858" y="2620173"/>
            <a:ext cx="4269619" cy="874713"/>
          </a:xfrm>
        </p:spPr>
        <p:txBody>
          <a:bodyPr lIns="0" tIns="0" rIns="0" bIns="0" anchor="ctr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143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Texto corrido 12pt</a:t>
            </a:r>
          </a:p>
        </p:txBody>
      </p:sp>
      <p:sp>
        <p:nvSpPr>
          <p:cNvPr id="13" name="Espaço Reservado para Texto 11">
            <a:extLst>
              <a:ext uri="{FF2B5EF4-FFF2-40B4-BE49-F238E27FC236}">
                <a16:creationId xmlns:a16="http://schemas.microsoft.com/office/drawing/2014/main" id="{8A63DB3E-BDE2-4E1E-999B-94723D8657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140858" y="3981850"/>
            <a:ext cx="4269619" cy="874713"/>
          </a:xfrm>
        </p:spPr>
        <p:txBody>
          <a:bodyPr lIns="0" tIns="0" rIns="0" bIns="0" anchor="ctr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143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Texto corrido 12pt</a:t>
            </a:r>
          </a:p>
        </p:txBody>
      </p:sp>
      <p:sp>
        <p:nvSpPr>
          <p:cNvPr id="14" name="Espaço Reservado para Texto 11">
            <a:extLst>
              <a:ext uri="{FF2B5EF4-FFF2-40B4-BE49-F238E27FC236}">
                <a16:creationId xmlns:a16="http://schemas.microsoft.com/office/drawing/2014/main" id="{6EEEFC87-BE12-495C-B238-BAFCBFA9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140858" y="5343527"/>
            <a:ext cx="4269619" cy="874713"/>
          </a:xfrm>
        </p:spPr>
        <p:txBody>
          <a:bodyPr lIns="0" tIns="0" rIns="0" bIns="0" anchor="ctr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143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Texto corrido 12pt</a:t>
            </a:r>
          </a:p>
        </p:txBody>
      </p:sp>
      <p:sp>
        <p:nvSpPr>
          <p:cNvPr id="16" name="Espaço Reservado para Conteúdo 15">
            <a:extLst>
              <a:ext uri="{FF2B5EF4-FFF2-40B4-BE49-F238E27FC236}">
                <a16:creationId xmlns:a16="http://schemas.microsoft.com/office/drawing/2014/main" id="{863F88CA-8735-4A0D-994C-B9716DE57A04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978956" y="2620170"/>
            <a:ext cx="4400651" cy="3598068"/>
          </a:xfrm>
        </p:spPr>
        <p:txBody>
          <a:bodyPr anchor="ctr" anchorCtr="1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048">
                <a:solidFill>
                  <a:schemeClr val="accent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Adicione um gráfico, tabela ou imagem.</a:t>
            </a:r>
          </a:p>
        </p:txBody>
      </p:sp>
      <p:sp>
        <p:nvSpPr>
          <p:cNvPr id="17" name="Espaço Reservado para Texto 9">
            <a:extLst>
              <a:ext uri="{FF2B5EF4-FFF2-40B4-BE49-F238E27FC236}">
                <a16:creationId xmlns:a16="http://schemas.microsoft.com/office/drawing/2014/main" id="{0FACC948-0CCB-40EA-B340-03457EE4A63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12398" y="673895"/>
            <a:ext cx="6692698" cy="233362"/>
          </a:xfrm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143">
                <a:solidFill>
                  <a:schemeClr val="tx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/>
              <a:t>Adicione um subtítulo para apresentação 12pt</a:t>
            </a:r>
          </a:p>
        </p:txBody>
      </p:sp>
      <p:sp>
        <p:nvSpPr>
          <p:cNvPr id="21" name="Retângulo 20">
            <a:extLst>
              <a:ext uri="{FF2B5EF4-FFF2-40B4-BE49-F238E27FC236}">
                <a16:creationId xmlns:a16="http://schemas.microsoft.com/office/drawing/2014/main" id="{FCA90D2B-F705-4B1B-B00B-CE35154A4EA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  <p:pic>
        <p:nvPicPr>
          <p:cNvPr id="22" name="Imagem 21">
            <a:extLst>
              <a:ext uri="{FF2B5EF4-FFF2-40B4-BE49-F238E27FC236}">
                <a16:creationId xmlns:a16="http://schemas.microsoft.com/office/drawing/2014/main" id="{BD8088F4-1CE2-4C7F-8758-C6283FEA48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20" y="0"/>
            <a:ext cx="10390474" cy="1276680"/>
          </a:xfrm>
          <a:prstGeom prst="rect">
            <a:avLst/>
          </a:prstGeom>
        </p:spPr>
      </p:pic>
      <p:pic>
        <p:nvPicPr>
          <p:cNvPr id="23" name="Imagem 22">
            <a:extLst>
              <a:ext uri="{FF2B5EF4-FFF2-40B4-BE49-F238E27FC236}">
                <a16:creationId xmlns:a16="http://schemas.microsoft.com/office/drawing/2014/main" id="{EB74C0D4-6201-43FA-9813-D87856F4E66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51325" y="348210"/>
            <a:ext cx="917289" cy="552052"/>
          </a:xfrm>
          <a:prstGeom prst="rect">
            <a:avLst/>
          </a:prstGeom>
        </p:spPr>
      </p:pic>
      <p:pic>
        <p:nvPicPr>
          <p:cNvPr id="24" name="Imagem 23">
            <a:extLst>
              <a:ext uri="{FF2B5EF4-FFF2-40B4-BE49-F238E27FC236}">
                <a16:creationId xmlns:a16="http://schemas.microsoft.com/office/drawing/2014/main" id="{62EC3120-4B0F-4215-9CF8-E2F304EC08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66554" y="6587492"/>
            <a:ext cx="569027" cy="270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563206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Layout Personaliza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Imagem 18" descr="Uma imagem contendo pássaro&#10;&#10;Descrição gerada automaticamente">
            <a:extLst>
              <a:ext uri="{FF2B5EF4-FFF2-40B4-BE49-F238E27FC236}">
                <a16:creationId xmlns:a16="http://schemas.microsoft.com/office/drawing/2014/main" id="{7F403C9F-EFCA-46BA-9ECA-CCC02D20BFF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0395515" cy="1276680"/>
          </a:xfrm>
          <a:prstGeom prst="rect">
            <a:avLst/>
          </a:prstGeom>
        </p:spPr>
      </p:pic>
      <p:pic>
        <p:nvPicPr>
          <p:cNvPr id="20" name="Imagem 19" descr="Uma imagem contendo desenho, placar&#10;&#10;Descrição gerada automaticamente">
            <a:extLst>
              <a:ext uri="{FF2B5EF4-FFF2-40B4-BE49-F238E27FC236}">
                <a16:creationId xmlns:a16="http://schemas.microsoft.com/office/drawing/2014/main" id="{61C89A27-A830-428F-843D-2A378D62B1C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0286" y="348210"/>
            <a:ext cx="919368" cy="552052"/>
          </a:xfrm>
          <a:prstGeom prst="rect">
            <a:avLst/>
          </a:prstGeom>
        </p:spPr>
      </p:pic>
      <p:sp>
        <p:nvSpPr>
          <p:cNvPr id="15" name="Retângulo 14">
            <a:extLst>
              <a:ext uri="{FF2B5EF4-FFF2-40B4-BE49-F238E27FC236}">
                <a16:creationId xmlns:a16="http://schemas.microsoft.com/office/drawing/2014/main" id="{04B4B737-B1B8-48CB-ABDC-7A8755D254F1}"/>
              </a:ext>
            </a:extLst>
          </p:cNvPr>
          <p:cNvSpPr/>
          <p:nvPr/>
        </p:nvSpPr>
        <p:spPr>
          <a:xfrm>
            <a:off x="0" y="6473354"/>
            <a:ext cx="12192000" cy="39340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  <p:pic>
        <p:nvPicPr>
          <p:cNvPr id="18" name="Imagem 17">
            <a:extLst>
              <a:ext uri="{FF2B5EF4-FFF2-40B4-BE49-F238E27FC236}">
                <a16:creationId xmlns:a16="http://schemas.microsoft.com/office/drawing/2014/main" id="{085CEE3B-0F9B-441E-83BB-A11B1846B82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66554" y="6587492"/>
            <a:ext cx="569027" cy="27050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3E0673AE-3C05-45DB-A1E3-1160479FD9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8007" y="384178"/>
            <a:ext cx="8450943" cy="253997"/>
          </a:xfrm>
        </p:spPr>
        <p:txBody>
          <a:bodyPr>
            <a:normAutofit/>
          </a:bodyPr>
          <a:lstStyle>
            <a:lvl1pPr>
              <a:defRPr sz="1714"/>
            </a:lvl1pPr>
          </a:lstStyle>
          <a:p>
            <a:r>
              <a:rPr lang="pt-BR" dirty="0"/>
              <a:t>Título do slide 18pt </a:t>
            </a:r>
            <a:r>
              <a:rPr lang="pt-BR" dirty="0" err="1"/>
              <a:t>bold</a:t>
            </a:r>
            <a:endParaRPr lang="pt-BR" dirty="0"/>
          </a:p>
        </p:txBody>
      </p:sp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691DE608-32F9-42EF-A759-0D836707AF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8886" y="6587490"/>
            <a:ext cx="556697" cy="27051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996638CD-16BE-4C6D-BCD9-DBAA1C8BF6B7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7" name="Espaço Reservado para Texto 9">
            <a:extLst>
              <a:ext uri="{FF2B5EF4-FFF2-40B4-BE49-F238E27FC236}">
                <a16:creationId xmlns:a16="http://schemas.microsoft.com/office/drawing/2014/main" id="{0FACC948-0CCB-40EA-B340-03457EE4A63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12398" y="673895"/>
            <a:ext cx="6692698" cy="233362"/>
          </a:xfrm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143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/>
              <a:t>Adicione um subtítulo para apresentação 12pt</a:t>
            </a:r>
          </a:p>
        </p:txBody>
      </p:sp>
      <p:sp>
        <p:nvSpPr>
          <p:cNvPr id="21" name="Espaço Reservado para Imagem 7">
            <a:extLst>
              <a:ext uri="{FF2B5EF4-FFF2-40B4-BE49-F238E27FC236}">
                <a16:creationId xmlns:a16="http://schemas.microsoft.com/office/drawing/2014/main" id="{AE53897D-1C35-42A1-A0B3-B8192D4EAAD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12398" y="1853911"/>
            <a:ext cx="4269619" cy="1580358"/>
          </a:xfrm>
        </p:spPr>
        <p:txBody>
          <a:bodyPr anchor="ctr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BR" dirty="0"/>
              <a:t>Adicione um ícone</a:t>
            </a:r>
          </a:p>
        </p:txBody>
      </p:sp>
      <p:sp>
        <p:nvSpPr>
          <p:cNvPr id="22" name="Espaço Reservado para Texto 11">
            <a:extLst>
              <a:ext uri="{FF2B5EF4-FFF2-40B4-BE49-F238E27FC236}">
                <a16:creationId xmlns:a16="http://schemas.microsoft.com/office/drawing/2014/main" id="{FCD433E7-D429-4C58-8534-EC5A41D3EB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2399" y="3675042"/>
            <a:ext cx="4269619" cy="2171700"/>
          </a:xfrm>
        </p:spPr>
        <p:txBody>
          <a:bodyPr lIns="0" tIns="0" rIns="0" bIns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143"/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Texto corrido 12pt</a:t>
            </a:r>
          </a:p>
        </p:txBody>
      </p:sp>
      <p:sp>
        <p:nvSpPr>
          <p:cNvPr id="23" name="Espaço Reservado para Conteúdo 15">
            <a:extLst>
              <a:ext uri="{FF2B5EF4-FFF2-40B4-BE49-F238E27FC236}">
                <a16:creationId xmlns:a16="http://schemas.microsoft.com/office/drawing/2014/main" id="{E7377847-EA87-43CA-A0F3-F0E1B58A4348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696138" y="1510359"/>
            <a:ext cx="5682747" cy="4694238"/>
          </a:xfrm>
        </p:spPr>
        <p:txBody>
          <a:bodyPr anchor="ctr" anchorCtr="1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048">
                <a:solidFill>
                  <a:schemeClr val="accent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Adicione um gráfico, tabela ou imagem.</a:t>
            </a:r>
          </a:p>
        </p:txBody>
      </p:sp>
      <p:pic>
        <p:nvPicPr>
          <p:cNvPr id="12" name="Imagem 11" descr="Uma imagem contendo pássaro&#10;&#10;Descrição gerada automaticamente">
            <a:extLst>
              <a:ext uri="{FF2B5EF4-FFF2-40B4-BE49-F238E27FC236}">
                <a16:creationId xmlns:a16="http://schemas.microsoft.com/office/drawing/2014/main" id="{BC7793A1-AB92-48BA-811B-BC2E5374F1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0395515" cy="1276680"/>
          </a:xfrm>
          <a:prstGeom prst="rect">
            <a:avLst/>
          </a:prstGeom>
        </p:spPr>
      </p:pic>
      <p:pic>
        <p:nvPicPr>
          <p:cNvPr id="13" name="Imagem 12" descr="Uma imagem contendo desenho, placar&#10;&#10;Descrição gerada automaticamente">
            <a:extLst>
              <a:ext uri="{FF2B5EF4-FFF2-40B4-BE49-F238E27FC236}">
                <a16:creationId xmlns:a16="http://schemas.microsoft.com/office/drawing/2014/main" id="{A4398AF1-3658-4F04-A7E8-C829E4FD991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0286" y="348210"/>
            <a:ext cx="919368" cy="552052"/>
          </a:xfrm>
          <a:prstGeom prst="rect">
            <a:avLst/>
          </a:prstGeom>
        </p:spPr>
      </p:pic>
      <p:sp>
        <p:nvSpPr>
          <p:cNvPr id="14" name="Retângulo 13">
            <a:extLst>
              <a:ext uri="{FF2B5EF4-FFF2-40B4-BE49-F238E27FC236}">
                <a16:creationId xmlns:a16="http://schemas.microsoft.com/office/drawing/2014/main" id="{5A9673D4-F8C6-477E-BEC9-3ED00B5D2328}"/>
              </a:ext>
            </a:extLst>
          </p:cNvPr>
          <p:cNvSpPr/>
          <p:nvPr userDrawn="1"/>
        </p:nvSpPr>
        <p:spPr>
          <a:xfrm>
            <a:off x="0" y="6462844"/>
            <a:ext cx="12192000" cy="39340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  <p:pic>
        <p:nvPicPr>
          <p:cNvPr id="16" name="Imagem 15">
            <a:extLst>
              <a:ext uri="{FF2B5EF4-FFF2-40B4-BE49-F238E27FC236}">
                <a16:creationId xmlns:a16="http://schemas.microsoft.com/office/drawing/2014/main" id="{6819AE52-5346-4F79-818D-242D25199F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66554" y="6587492"/>
            <a:ext cx="569027" cy="270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2866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Layout Personaliza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ixaDeTexto 4">
            <a:extLst>
              <a:ext uri="{FF2B5EF4-FFF2-40B4-BE49-F238E27FC236}">
                <a16:creationId xmlns:a16="http://schemas.microsoft.com/office/drawing/2014/main" id="{E8DD3481-FD6C-4491-9B68-8B9E478FE806}"/>
              </a:ext>
            </a:extLst>
          </p:cNvPr>
          <p:cNvSpPr txBox="1"/>
          <p:nvPr userDrawn="1"/>
        </p:nvSpPr>
        <p:spPr>
          <a:xfrm>
            <a:off x="1659672" y="2607396"/>
            <a:ext cx="146386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600" dirty="0">
                <a:solidFill>
                  <a:schemeClr val="tx2"/>
                </a:solidFill>
                <a:latin typeface="Roboto" panose="02000000000000000000" pitchFamily="2" charset="0"/>
              </a:rPr>
              <a:t>índice</a:t>
            </a: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0D76005A-C954-483D-A13C-3F3A730B5D9A}"/>
              </a:ext>
            </a:extLst>
          </p:cNvPr>
          <p:cNvSpPr/>
          <p:nvPr userDrawn="1"/>
        </p:nvSpPr>
        <p:spPr>
          <a:xfrm>
            <a:off x="4184542" y="0"/>
            <a:ext cx="800745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latin typeface="Roboto" panose="02000000000000000000" pitchFamily="2" charset="0"/>
            </a:endParaRPr>
          </a:p>
        </p:txBody>
      </p:sp>
      <p:sp>
        <p:nvSpPr>
          <p:cNvPr id="4" name="Espaço Reservado para Texto 2">
            <a:extLst>
              <a:ext uri="{FF2B5EF4-FFF2-40B4-BE49-F238E27FC236}">
                <a16:creationId xmlns:a16="http://schemas.microsoft.com/office/drawing/2014/main" id="{6497388D-B1FA-445B-938B-8D43989DA50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991100" y="762000"/>
            <a:ext cx="6362700" cy="54149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180975" indent="-180975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1pPr>
            <a:lvl2pPr marL="180975" indent="-180975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2pPr>
            <a:lvl3pPr marL="180975" indent="-180975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3pPr>
            <a:lvl4pPr marL="180975" indent="-180975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4pPr>
            <a:lvl5pPr marL="180975" indent="-180975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/>
              <a:t>Coloque os capítulos da apresentação</a:t>
            </a:r>
          </a:p>
        </p:txBody>
      </p:sp>
      <p:pic>
        <p:nvPicPr>
          <p:cNvPr id="7" name="Imagem 10" descr="Uma imagem contendo edifício, ponte, luz&#10;&#10;Descrição gerada automaticamente">
            <a:extLst>
              <a:ext uri="{FF2B5EF4-FFF2-40B4-BE49-F238E27FC236}">
                <a16:creationId xmlns:a16="http://schemas.microsoft.com/office/drawing/2014/main" id="{C904B539-E0D2-41BC-88AE-635B78ADD8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3678" r="-10581"/>
          <a:stretch/>
        </p:blipFill>
        <p:spPr>
          <a:xfrm>
            <a:off x="0" y="2471596"/>
            <a:ext cx="1789318" cy="43864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555855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Layout Personaliza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14">
            <a:extLst>
              <a:ext uri="{FF2B5EF4-FFF2-40B4-BE49-F238E27FC236}">
                <a16:creationId xmlns:a16="http://schemas.microsoft.com/office/drawing/2014/main" id="{04B4B737-B1B8-48CB-ABDC-7A8755D254F1}"/>
              </a:ext>
            </a:extLst>
          </p:cNvPr>
          <p:cNvSpPr/>
          <p:nvPr/>
        </p:nvSpPr>
        <p:spPr>
          <a:xfrm>
            <a:off x="0" y="-1"/>
            <a:ext cx="12192000" cy="685624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  <p:pic>
        <p:nvPicPr>
          <p:cNvPr id="19" name="Imagem 18">
            <a:extLst>
              <a:ext uri="{FF2B5EF4-FFF2-40B4-BE49-F238E27FC236}">
                <a16:creationId xmlns:a16="http://schemas.microsoft.com/office/drawing/2014/main" id="{7F403C9F-EFCA-46BA-9ECA-CCC02D20BFF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20" y="0"/>
            <a:ext cx="10390474" cy="1276680"/>
          </a:xfrm>
          <a:prstGeom prst="rect">
            <a:avLst/>
          </a:prstGeom>
        </p:spPr>
      </p:pic>
      <p:pic>
        <p:nvPicPr>
          <p:cNvPr id="20" name="Imagem 19">
            <a:extLst>
              <a:ext uri="{FF2B5EF4-FFF2-40B4-BE49-F238E27FC236}">
                <a16:creationId xmlns:a16="http://schemas.microsoft.com/office/drawing/2014/main" id="{61C89A27-A830-428F-843D-2A378D62B1C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51325" y="348210"/>
            <a:ext cx="917289" cy="552052"/>
          </a:xfrm>
          <a:prstGeom prst="rect">
            <a:avLst/>
          </a:prstGeom>
        </p:spPr>
      </p:pic>
      <p:pic>
        <p:nvPicPr>
          <p:cNvPr id="18" name="Imagem 17">
            <a:extLst>
              <a:ext uri="{FF2B5EF4-FFF2-40B4-BE49-F238E27FC236}">
                <a16:creationId xmlns:a16="http://schemas.microsoft.com/office/drawing/2014/main" id="{085CEE3B-0F9B-441E-83BB-A11B1846B82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66554" y="6587492"/>
            <a:ext cx="569027" cy="27050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3E0673AE-3C05-45DB-A1E3-1160479FD9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8007" y="384178"/>
            <a:ext cx="8450943" cy="253997"/>
          </a:xfrm>
        </p:spPr>
        <p:txBody>
          <a:bodyPr>
            <a:normAutofit/>
          </a:bodyPr>
          <a:lstStyle>
            <a:lvl1pPr>
              <a:defRPr sz="1714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Título do slide 18pt </a:t>
            </a:r>
            <a:r>
              <a:rPr lang="pt-BR" dirty="0" err="1"/>
              <a:t>bold</a:t>
            </a:r>
            <a:endParaRPr lang="pt-BR" dirty="0"/>
          </a:p>
        </p:txBody>
      </p:sp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691DE608-32F9-42EF-A759-0D836707AF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996638CD-16BE-4C6D-BCD9-DBAA1C8BF6B7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7" name="Espaço Reservado para Texto 9">
            <a:extLst>
              <a:ext uri="{FF2B5EF4-FFF2-40B4-BE49-F238E27FC236}">
                <a16:creationId xmlns:a16="http://schemas.microsoft.com/office/drawing/2014/main" id="{0FACC948-0CCB-40EA-B340-03457EE4A63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12398" y="673895"/>
            <a:ext cx="6692698" cy="233362"/>
          </a:xfrm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143">
                <a:solidFill>
                  <a:schemeClr val="tx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/>
              <a:t>Adicione um subtítulo para apresentação 12pt</a:t>
            </a:r>
          </a:p>
        </p:txBody>
      </p:sp>
      <p:sp>
        <p:nvSpPr>
          <p:cNvPr id="21" name="Espaço Reservado para Imagem 7">
            <a:extLst>
              <a:ext uri="{FF2B5EF4-FFF2-40B4-BE49-F238E27FC236}">
                <a16:creationId xmlns:a16="http://schemas.microsoft.com/office/drawing/2014/main" id="{AE53897D-1C35-42A1-A0B3-B8192D4EAAD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12398" y="1853911"/>
            <a:ext cx="4269619" cy="1580358"/>
          </a:xfrm>
        </p:spPr>
        <p:txBody>
          <a:bodyPr anchor="ctr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BR" dirty="0"/>
              <a:t>Adicione um ícone</a:t>
            </a:r>
          </a:p>
        </p:txBody>
      </p:sp>
      <p:sp>
        <p:nvSpPr>
          <p:cNvPr id="22" name="Espaço Reservado para Texto 11">
            <a:extLst>
              <a:ext uri="{FF2B5EF4-FFF2-40B4-BE49-F238E27FC236}">
                <a16:creationId xmlns:a16="http://schemas.microsoft.com/office/drawing/2014/main" id="{FCD433E7-D429-4C58-8534-EC5A41D3EB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2399" y="3675042"/>
            <a:ext cx="4269619" cy="2171700"/>
          </a:xfrm>
        </p:spPr>
        <p:txBody>
          <a:bodyPr lIns="0" tIns="0" rIns="0" bIns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143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Texto corrido 12pt</a:t>
            </a:r>
          </a:p>
        </p:txBody>
      </p:sp>
      <p:sp>
        <p:nvSpPr>
          <p:cNvPr id="23" name="Espaço Reservado para Conteúdo 15">
            <a:extLst>
              <a:ext uri="{FF2B5EF4-FFF2-40B4-BE49-F238E27FC236}">
                <a16:creationId xmlns:a16="http://schemas.microsoft.com/office/drawing/2014/main" id="{E7377847-EA87-43CA-A0F3-F0E1B58A4348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696138" y="1510359"/>
            <a:ext cx="5682747" cy="4694238"/>
          </a:xfrm>
        </p:spPr>
        <p:txBody>
          <a:bodyPr anchor="ctr" anchorCtr="1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048">
                <a:solidFill>
                  <a:schemeClr val="accent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Adicione um gráfico, tabela ou imagem.</a:t>
            </a:r>
          </a:p>
        </p:txBody>
      </p:sp>
      <p:sp>
        <p:nvSpPr>
          <p:cNvPr id="12" name="Retângulo 11">
            <a:extLst>
              <a:ext uri="{FF2B5EF4-FFF2-40B4-BE49-F238E27FC236}">
                <a16:creationId xmlns:a16="http://schemas.microsoft.com/office/drawing/2014/main" id="{1DC6C722-0567-4E54-B85C-4DFEF5ECBBD2}"/>
              </a:ext>
            </a:extLst>
          </p:cNvPr>
          <p:cNvSpPr/>
          <p:nvPr userDrawn="1"/>
        </p:nvSpPr>
        <p:spPr>
          <a:xfrm>
            <a:off x="0" y="-1"/>
            <a:ext cx="12192000" cy="685624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  <p:pic>
        <p:nvPicPr>
          <p:cNvPr id="13" name="Imagem 12">
            <a:extLst>
              <a:ext uri="{FF2B5EF4-FFF2-40B4-BE49-F238E27FC236}">
                <a16:creationId xmlns:a16="http://schemas.microsoft.com/office/drawing/2014/main" id="{3FA2B63C-FA90-4ABE-A42D-7F7AE733B9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20" y="0"/>
            <a:ext cx="10390474" cy="1276680"/>
          </a:xfrm>
          <a:prstGeom prst="rect">
            <a:avLst/>
          </a:prstGeom>
        </p:spPr>
      </p:pic>
      <p:pic>
        <p:nvPicPr>
          <p:cNvPr id="14" name="Imagem 13">
            <a:extLst>
              <a:ext uri="{FF2B5EF4-FFF2-40B4-BE49-F238E27FC236}">
                <a16:creationId xmlns:a16="http://schemas.microsoft.com/office/drawing/2014/main" id="{2F939AD9-47DD-4CD3-8659-4AA013BAF5B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51325" y="348210"/>
            <a:ext cx="917289" cy="552052"/>
          </a:xfrm>
          <a:prstGeom prst="rect">
            <a:avLst/>
          </a:prstGeom>
        </p:spPr>
      </p:pic>
      <p:pic>
        <p:nvPicPr>
          <p:cNvPr id="16" name="Imagem 15">
            <a:extLst>
              <a:ext uri="{FF2B5EF4-FFF2-40B4-BE49-F238E27FC236}">
                <a16:creationId xmlns:a16="http://schemas.microsoft.com/office/drawing/2014/main" id="{205C7AA7-5473-4693-A042-C69781B815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66554" y="6587492"/>
            <a:ext cx="569027" cy="270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40651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Layout Personaliza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Tela de celular com texto preto sobre fundo branco&#10;&#10;Descrição gerada automaticamente">
            <a:extLst>
              <a:ext uri="{FF2B5EF4-FFF2-40B4-BE49-F238E27FC236}">
                <a16:creationId xmlns:a16="http://schemas.microsoft.com/office/drawing/2014/main" id="{7AD55CE1-74E2-459E-987A-5554744E836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8370" r="19931"/>
          <a:stretch/>
        </p:blipFill>
        <p:spPr>
          <a:xfrm>
            <a:off x="9881489" y="1"/>
            <a:ext cx="2134990" cy="1104332"/>
          </a:xfrm>
          <a:prstGeom prst="rect">
            <a:avLst/>
          </a:prstGeom>
        </p:spPr>
      </p:pic>
      <p:sp>
        <p:nvSpPr>
          <p:cNvPr id="9" name="Retângulo 8">
            <a:extLst>
              <a:ext uri="{FF2B5EF4-FFF2-40B4-BE49-F238E27FC236}">
                <a16:creationId xmlns:a16="http://schemas.microsoft.com/office/drawing/2014/main" id="{E04DC0EB-3418-4C3F-98D1-58754C95189A}"/>
              </a:ext>
            </a:extLst>
          </p:cNvPr>
          <p:cNvSpPr/>
          <p:nvPr/>
        </p:nvSpPr>
        <p:spPr>
          <a:xfrm>
            <a:off x="0" y="6462844"/>
            <a:ext cx="12192000" cy="39340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F674DBBE-FE67-4828-AFD9-8E2806FFFA8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66554" y="6587492"/>
            <a:ext cx="569027" cy="270509"/>
          </a:xfrm>
          <a:prstGeom prst="rect">
            <a:avLst/>
          </a:prstGeom>
        </p:spPr>
      </p:pic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EF80648E-2D0D-4FBE-B4C5-520CD377655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B06766-DC36-4174-9907-BEF22DE810EF}" type="slidenum">
              <a:rPr lang="pt-BR" smtClean="0"/>
              <a:pPr/>
              <a:t>‹nº›</a:t>
            </a:fld>
            <a:r>
              <a:rPr lang="pt-BR"/>
              <a:t> </a:t>
            </a:r>
            <a:endParaRPr lang="pt-BR" dirty="0"/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5124F407-C6B4-4CC0-879E-9FFCDB265F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8007" y="384178"/>
            <a:ext cx="8882375" cy="253997"/>
          </a:xfrm>
        </p:spPr>
        <p:txBody>
          <a:bodyPr>
            <a:normAutofit/>
          </a:bodyPr>
          <a:lstStyle>
            <a:lvl1pPr>
              <a:defRPr sz="1714" b="1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Título do slide 18pt </a:t>
            </a:r>
            <a:r>
              <a:rPr lang="pt-BR" dirty="0" err="1"/>
              <a:t>bold</a:t>
            </a:r>
            <a:endParaRPr lang="pt-BR" dirty="0"/>
          </a:p>
        </p:txBody>
      </p:sp>
      <p:sp>
        <p:nvSpPr>
          <p:cNvPr id="6" name="Espaço Reservado para Conteúdo 15">
            <a:extLst>
              <a:ext uri="{FF2B5EF4-FFF2-40B4-BE49-F238E27FC236}">
                <a16:creationId xmlns:a16="http://schemas.microsoft.com/office/drawing/2014/main" id="{A44ECD8B-7954-41EC-9B46-82078D55D17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805913" y="1181100"/>
            <a:ext cx="5682747" cy="5038725"/>
          </a:xfrm>
        </p:spPr>
        <p:txBody>
          <a:bodyPr anchor="ctr" anchorCtr="1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048">
                <a:solidFill>
                  <a:schemeClr val="accent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Adicione um gráfico, tabela ou imagem.</a:t>
            </a:r>
          </a:p>
        </p:txBody>
      </p:sp>
      <p:sp>
        <p:nvSpPr>
          <p:cNvPr id="7" name="Espaço Reservado para Texto 11">
            <a:extLst>
              <a:ext uri="{FF2B5EF4-FFF2-40B4-BE49-F238E27FC236}">
                <a16:creationId xmlns:a16="http://schemas.microsoft.com/office/drawing/2014/main" id="{4E301545-9F91-4B66-9BF9-2BDA99EE2CE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96935" y="1352551"/>
            <a:ext cx="4269619" cy="4695820"/>
          </a:xfrm>
        </p:spPr>
        <p:txBody>
          <a:bodyPr lIns="0" tIns="0" rIns="0" bIns="0" anchor="ctr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143"/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Texto corrido 12pt</a:t>
            </a:r>
          </a:p>
        </p:txBody>
      </p:sp>
      <p:sp>
        <p:nvSpPr>
          <p:cNvPr id="8" name="Espaço Reservado para Texto 9">
            <a:extLst>
              <a:ext uri="{FF2B5EF4-FFF2-40B4-BE49-F238E27FC236}">
                <a16:creationId xmlns:a16="http://schemas.microsoft.com/office/drawing/2014/main" id="{A0BD38B6-C265-4209-B9C2-8800B510A6D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12398" y="673895"/>
            <a:ext cx="6692698" cy="233362"/>
          </a:xfrm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143">
                <a:solidFill>
                  <a:schemeClr val="accent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/>
              <a:t>Adicione um subtítulo para apresentação 12pt</a:t>
            </a:r>
          </a:p>
        </p:txBody>
      </p:sp>
      <p:pic>
        <p:nvPicPr>
          <p:cNvPr id="11" name="Imagem 10">
            <a:extLst>
              <a:ext uri="{FF2B5EF4-FFF2-40B4-BE49-F238E27FC236}">
                <a16:creationId xmlns:a16="http://schemas.microsoft.com/office/drawing/2014/main" id="{A86B28A2-D43F-41D8-962A-C997614EDFF1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55805" y="349518"/>
            <a:ext cx="915143" cy="550760"/>
          </a:xfrm>
          <a:prstGeom prst="rect">
            <a:avLst/>
          </a:prstGeom>
        </p:spPr>
      </p:pic>
      <p:pic>
        <p:nvPicPr>
          <p:cNvPr id="12" name="Imagem 11" descr="Tela de celular com texto preto sobre fundo branco&#10;&#10;Descrição gerada automaticamente">
            <a:extLst>
              <a:ext uri="{FF2B5EF4-FFF2-40B4-BE49-F238E27FC236}">
                <a16:creationId xmlns:a16="http://schemas.microsoft.com/office/drawing/2014/main" id="{D4F0DB17-9328-4F02-8707-ECBF0CBC9D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8370" r="19931"/>
          <a:stretch/>
        </p:blipFill>
        <p:spPr>
          <a:xfrm>
            <a:off x="9881489" y="1"/>
            <a:ext cx="2134990" cy="1104332"/>
          </a:xfrm>
          <a:prstGeom prst="rect">
            <a:avLst/>
          </a:prstGeom>
        </p:spPr>
      </p:pic>
      <p:sp>
        <p:nvSpPr>
          <p:cNvPr id="13" name="Retângulo 12">
            <a:extLst>
              <a:ext uri="{FF2B5EF4-FFF2-40B4-BE49-F238E27FC236}">
                <a16:creationId xmlns:a16="http://schemas.microsoft.com/office/drawing/2014/main" id="{F58568A2-89E7-41EA-95CA-93BCDE74C8AB}"/>
              </a:ext>
            </a:extLst>
          </p:cNvPr>
          <p:cNvSpPr/>
          <p:nvPr userDrawn="1"/>
        </p:nvSpPr>
        <p:spPr>
          <a:xfrm>
            <a:off x="0" y="6462844"/>
            <a:ext cx="12192000" cy="39340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  <p:pic>
        <p:nvPicPr>
          <p:cNvPr id="14" name="Imagem 13">
            <a:extLst>
              <a:ext uri="{FF2B5EF4-FFF2-40B4-BE49-F238E27FC236}">
                <a16:creationId xmlns:a16="http://schemas.microsoft.com/office/drawing/2014/main" id="{5A6CFE1C-18A2-4B41-B4C5-C0143469FD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66554" y="6587492"/>
            <a:ext cx="569027" cy="270509"/>
          </a:xfrm>
          <a:prstGeom prst="rect">
            <a:avLst/>
          </a:prstGeom>
        </p:spPr>
      </p:pic>
      <p:pic>
        <p:nvPicPr>
          <p:cNvPr id="15" name="Imagem 14">
            <a:extLst>
              <a:ext uri="{FF2B5EF4-FFF2-40B4-BE49-F238E27FC236}">
                <a16:creationId xmlns:a16="http://schemas.microsoft.com/office/drawing/2014/main" id="{C4E52620-BFEC-436E-B94D-93E90E8411B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55805" y="349518"/>
            <a:ext cx="915143" cy="550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614502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Layout Personaliza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>
            <a:extLst>
              <a:ext uri="{FF2B5EF4-FFF2-40B4-BE49-F238E27FC236}">
                <a16:creationId xmlns:a16="http://schemas.microsoft.com/office/drawing/2014/main" id="{324664EA-7AAB-42DF-A609-13315A061D77}"/>
              </a:ext>
            </a:extLst>
          </p:cNvPr>
          <p:cNvSpPr/>
          <p:nvPr/>
        </p:nvSpPr>
        <p:spPr>
          <a:xfrm>
            <a:off x="1" y="0"/>
            <a:ext cx="422602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DA4370AC-9C60-4F74-98E2-60B6AE50BA4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66284" y="6587492"/>
            <a:ext cx="969299" cy="27050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31A0B97-DBC6-4979-8CBF-516AEF2251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0573" y="1181101"/>
            <a:ext cx="3156857" cy="5038724"/>
          </a:xfrm>
        </p:spPr>
        <p:txBody>
          <a:bodyPr/>
          <a:lstStyle>
            <a:lvl1pPr marL="254005" indent="-254005">
              <a:buSzPct val="170000"/>
              <a:buFontTx/>
              <a:buBlip>
                <a:blip r:embed="rId3"/>
              </a:buBlip>
              <a:defRPr/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47C72D25-BAA4-472D-A6E7-B0701374A37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B06766-DC36-4174-9907-BEF22DE810EF}" type="slidenum">
              <a:rPr lang="pt-BR" smtClean="0"/>
              <a:pPr/>
              <a:t>‹nº›</a:t>
            </a:fld>
            <a:r>
              <a:rPr lang="pt-BR"/>
              <a:t> </a:t>
            </a:r>
            <a:endParaRPr lang="pt-BR" dirty="0"/>
          </a:p>
        </p:txBody>
      </p:sp>
      <p:sp>
        <p:nvSpPr>
          <p:cNvPr id="6" name="Espaço Reservado para Texto 5">
            <a:extLst>
              <a:ext uri="{FF2B5EF4-FFF2-40B4-BE49-F238E27FC236}">
                <a16:creationId xmlns:a16="http://schemas.microsoft.com/office/drawing/2014/main" id="{20F5CE72-0B13-4841-AF08-A6D05112E45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11097" y="1414463"/>
            <a:ext cx="6668508" cy="4805362"/>
          </a:xfrm>
        </p:spPr>
        <p:txBody>
          <a:bodyPr anchor="ctr" anchorCtr="0"/>
          <a:lstStyle>
            <a:lvl1pPr>
              <a:defRPr/>
            </a:lvl1pPr>
          </a:lstStyle>
          <a:p>
            <a:pPr lvl="0"/>
            <a:r>
              <a:rPr lang="pt-BR" dirty="0"/>
              <a:t>Coloque os </a:t>
            </a:r>
            <a:r>
              <a:rPr lang="pt-BR" dirty="0" err="1"/>
              <a:t>bullets</a:t>
            </a:r>
            <a:r>
              <a:rPr lang="pt-BR" dirty="0"/>
              <a:t> points aqui;</a:t>
            </a:r>
          </a:p>
          <a:p>
            <a:pPr lvl="0"/>
            <a:r>
              <a:rPr lang="pt-BR" dirty="0"/>
              <a:t>E mais;</a:t>
            </a:r>
          </a:p>
          <a:p>
            <a:pPr lvl="0"/>
            <a:r>
              <a:rPr lang="pt-BR" dirty="0"/>
              <a:t>E mais.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FD6062F1-A3E4-4283-B54C-8EBB337580C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05402" y="2179"/>
            <a:ext cx="2486598" cy="1178925"/>
          </a:xfrm>
          <a:prstGeom prst="rect">
            <a:avLst/>
          </a:prstGeom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DA3870B3-BBEF-4545-91B8-7297CF39A80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05402" y="2177"/>
            <a:ext cx="2486598" cy="1178925"/>
          </a:xfrm>
          <a:prstGeom prst="rect">
            <a:avLst/>
          </a:prstGeom>
        </p:spPr>
      </p:pic>
      <p:pic>
        <p:nvPicPr>
          <p:cNvPr id="8" name="Imagem 7" descr="Tela de celular com texto preto sobre fundo branco&#10;&#10;Descrição gerada automaticamente">
            <a:extLst>
              <a:ext uri="{FF2B5EF4-FFF2-40B4-BE49-F238E27FC236}">
                <a16:creationId xmlns:a16="http://schemas.microsoft.com/office/drawing/2014/main" id="{41C6CC4C-7F7A-4BDF-AB64-22A86C13C33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8370" r="19931"/>
          <a:stretch/>
        </p:blipFill>
        <p:spPr>
          <a:xfrm>
            <a:off x="9881489" y="1"/>
            <a:ext cx="2134990" cy="1104332"/>
          </a:xfrm>
          <a:prstGeom prst="rect">
            <a:avLst/>
          </a:prstGeom>
        </p:spPr>
      </p:pic>
      <p:pic>
        <p:nvPicPr>
          <p:cNvPr id="9" name="Imagem 8">
            <a:extLst>
              <a:ext uri="{FF2B5EF4-FFF2-40B4-BE49-F238E27FC236}">
                <a16:creationId xmlns:a16="http://schemas.microsoft.com/office/drawing/2014/main" id="{218C0334-BDE4-43A1-8819-7A2C454A33E6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55805" y="349518"/>
            <a:ext cx="915143" cy="550760"/>
          </a:xfrm>
          <a:prstGeom prst="rect">
            <a:avLst/>
          </a:prstGeom>
        </p:spPr>
      </p:pic>
      <p:sp>
        <p:nvSpPr>
          <p:cNvPr id="11" name="Retângulo 10">
            <a:extLst>
              <a:ext uri="{FF2B5EF4-FFF2-40B4-BE49-F238E27FC236}">
                <a16:creationId xmlns:a16="http://schemas.microsoft.com/office/drawing/2014/main" id="{814E7593-55D8-441C-99B9-4B2864583468}"/>
              </a:ext>
            </a:extLst>
          </p:cNvPr>
          <p:cNvSpPr/>
          <p:nvPr userDrawn="1"/>
        </p:nvSpPr>
        <p:spPr>
          <a:xfrm>
            <a:off x="1" y="0"/>
            <a:ext cx="422602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  <p:pic>
        <p:nvPicPr>
          <p:cNvPr id="12" name="Imagem 11">
            <a:extLst>
              <a:ext uri="{FF2B5EF4-FFF2-40B4-BE49-F238E27FC236}">
                <a16:creationId xmlns:a16="http://schemas.microsoft.com/office/drawing/2014/main" id="{46FD03CB-DBDA-4E78-BC01-1C3BB561F7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66284" y="6587492"/>
            <a:ext cx="969299" cy="270509"/>
          </a:xfrm>
          <a:prstGeom prst="rect">
            <a:avLst/>
          </a:prstGeom>
        </p:spPr>
      </p:pic>
      <p:pic>
        <p:nvPicPr>
          <p:cNvPr id="13" name="Imagem 12">
            <a:extLst>
              <a:ext uri="{FF2B5EF4-FFF2-40B4-BE49-F238E27FC236}">
                <a16:creationId xmlns:a16="http://schemas.microsoft.com/office/drawing/2014/main" id="{B8C8875E-7202-4B58-BE8B-89344A408A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05402" y="2177"/>
            <a:ext cx="2486598" cy="1178925"/>
          </a:xfrm>
          <a:prstGeom prst="rect">
            <a:avLst/>
          </a:prstGeom>
        </p:spPr>
      </p:pic>
      <p:pic>
        <p:nvPicPr>
          <p:cNvPr id="14" name="Imagem 13" descr="Tela de celular com texto preto sobre fundo branco&#10;&#10;Descrição gerada automaticamente">
            <a:extLst>
              <a:ext uri="{FF2B5EF4-FFF2-40B4-BE49-F238E27FC236}">
                <a16:creationId xmlns:a16="http://schemas.microsoft.com/office/drawing/2014/main" id="{93D1E5A8-E4D2-4E81-B2E6-23CB2F2698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8370" r="19931"/>
          <a:stretch/>
        </p:blipFill>
        <p:spPr>
          <a:xfrm>
            <a:off x="9881489" y="1"/>
            <a:ext cx="2134990" cy="1104332"/>
          </a:xfrm>
          <a:prstGeom prst="rect">
            <a:avLst/>
          </a:prstGeom>
        </p:spPr>
      </p:pic>
      <p:pic>
        <p:nvPicPr>
          <p:cNvPr id="15" name="Imagem 14">
            <a:extLst>
              <a:ext uri="{FF2B5EF4-FFF2-40B4-BE49-F238E27FC236}">
                <a16:creationId xmlns:a16="http://schemas.microsoft.com/office/drawing/2014/main" id="{B3DF2223-39DA-4F6C-9CE9-782E84338E3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55805" y="349518"/>
            <a:ext cx="915143" cy="550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054376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Layout Personaliza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Imagem 6">
            <a:extLst>
              <a:ext uri="{FF2B5EF4-FFF2-40B4-BE49-F238E27FC236}">
                <a16:creationId xmlns:a16="http://schemas.microsoft.com/office/drawing/2014/main" id="{8AABD8C3-D366-4352-A97F-D052D7C3E66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757" y="-1"/>
            <a:ext cx="4226020" cy="6858001"/>
          </a:xfrm>
          <a:solidFill>
            <a:srgbClr val="CC2362">
              <a:alpha val="20000"/>
            </a:srgbClr>
          </a:solidFill>
        </p:spPr>
        <p:txBody>
          <a:bodyPr anchor="ctr" anchorCtr="0"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pt-BR"/>
              <a:t>Clique no ícone para adicionar uma imagem</a:t>
            </a:r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DA4370AC-9C60-4F74-98E2-60B6AE50BA4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66284" y="6587492"/>
            <a:ext cx="969299" cy="27050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31A0B97-DBC6-4979-8CBF-516AEF2251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0573" y="1181101"/>
            <a:ext cx="3156857" cy="5038724"/>
          </a:xfrm>
          <a:ln>
            <a:noFill/>
          </a:ln>
        </p:spPr>
        <p:txBody>
          <a:bodyPr/>
          <a:lstStyle>
            <a:lvl1pPr marL="254005" indent="-254005">
              <a:buSzPct val="170000"/>
              <a:buFontTx/>
              <a:buBlip>
                <a:blip r:embed="rId3"/>
              </a:buBlip>
              <a:defRPr/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47C72D25-BAA4-472D-A6E7-B0701374A37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B06766-DC36-4174-9907-BEF22DE810EF}" type="slidenum">
              <a:rPr lang="pt-BR" smtClean="0"/>
              <a:pPr/>
              <a:t>‹nº›</a:t>
            </a:fld>
            <a:r>
              <a:rPr lang="pt-BR"/>
              <a:t> </a:t>
            </a:r>
            <a:endParaRPr lang="pt-BR" dirty="0"/>
          </a:p>
        </p:txBody>
      </p:sp>
      <p:sp>
        <p:nvSpPr>
          <p:cNvPr id="6" name="Espaço Reservado para Texto 5">
            <a:extLst>
              <a:ext uri="{FF2B5EF4-FFF2-40B4-BE49-F238E27FC236}">
                <a16:creationId xmlns:a16="http://schemas.microsoft.com/office/drawing/2014/main" id="{20F5CE72-0B13-4841-AF08-A6D05112E45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11097" y="1414463"/>
            <a:ext cx="6668508" cy="4805362"/>
          </a:xfrm>
        </p:spPr>
        <p:txBody>
          <a:bodyPr anchor="ctr" anchorCtr="0"/>
          <a:lstStyle>
            <a:lvl1pPr>
              <a:defRPr/>
            </a:lvl1pPr>
          </a:lstStyle>
          <a:p>
            <a:pPr lvl="0"/>
            <a:r>
              <a:rPr lang="pt-BR" dirty="0"/>
              <a:t>Coloque os </a:t>
            </a:r>
            <a:r>
              <a:rPr lang="pt-BR" dirty="0" err="1"/>
              <a:t>bullets</a:t>
            </a:r>
            <a:r>
              <a:rPr lang="pt-BR" dirty="0"/>
              <a:t> points aqui;</a:t>
            </a:r>
          </a:p>
          <a:p>
            <a:pPr lvl="0"/>
            <a:r>
              <a:rPr lang="pt-BR" dirty="0"/>
              <a:t>E mais;</a:t>
            </a:r>
          </a:p>
          <a:p>
            <a:pPr lvl="0"/>
            <a:r>
              <a:rPr lang="pt-BR" dirty="0"/>
              <a:t>E mais.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FD6062F1-A3E4-4283-B54C-8EBB337580C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05402" y="2179"/>
            <a:ext cx="2486598" cy="1178925"/>
          </a:xfrm>
          <a:prstGeom prst="rect">
            <a:avLst/>
          </a:prstGeom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DA3870B3-BBEF-4545-91B8-7297CF39A80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05402" y="2177"/>
            <a:ext cx="2486598" cy="1178925"/>
          </a:xfrm>
          <a:prstGeom prst="rect">
            <a:avLst/>
          </a:prstGeom>
        </p:spPr>
      </p:pic>
      <p:pic>
        <p:nvPicPr>
          <p:cNvPr id="8" name="Imagem 7" descr="Tela de celular com texto preto sobre fundo branco&#10;&#10;Descrição gerada automaticamente">
            <a:extLst>
              <a:ext uri="{FF2B5EF4-FFF2-40B4-BE49-F238E27FC236}">
                <a16:creationId xmlns:a16="http://schemas.microsoft.com/office/drawing/2014/main" id="{41C6CC4C-7F7A-4BDF-AB64-22A86C13C33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8370" r="19931"/>
          <a:stretch/>
        </p:blipFill>
        <p:spPr>
          <a:xfrm>
            <a:off x="9881489" y="1"/>
            <a:ext cx="2134990" cy="1104332"/>
          </a:xfrm>
          <a:prstGeom prst="rect">
            <a:avLst/>
          </a:prstGeom>
        </p:spPr>
      </p:pic>
      <p:pic>
        <p:nvPicPr>
          <p:cNvPr id="9" name="Imagem 8">
            <a:extLst>
              <a:ext uri="{FF2B5EF4-FFF2-40B4-BE49-F238E27FC236}">
                <a16:creationId xmlns:a16="http://schemas.microsoft.com/office/drawing/2014/main" id="{218C0334-BDE4-43A1-8819-7A2C454A33E6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55805" y="349518"/>
            <a:ext cx="915143" cy="550760"/>
          </a:xfrm>
          <a:prstGeom prst="rect">
            <a:avLst/>
          </a:prstGeom>
        </p:spPr>
      </p:pic>
      <p:pic>
        <p:nvPicPr>
          <p:cNvPr id="12" name="Imagem 11">
            <a:extLst>
              <a:ext uri="{FF2B5EF4-FFF2-40B4-BE49-F238E27FC236}">
                <a16:creationId xmlns:a16="http://schemas.microsoft.com/office/drawing/2014/main" id="{F952F962-68C8-4181-A471-925845E6A4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66284" y="6587492"/>
            <a:ext cx="969299" cy="270509"/>
          </a:xfrm>
          <a:prstGeom prst="rect">
            <a:avLst/>
          </a:prstGeom>
        </p:spPr>
      </p:pic>
      <p:pic>
        <p:nvPicPr>
          <p:cNvPr id="13" name="Imagem 12">
            <a:extLst>
              <a:ext uri="{FF2B5EF4-FFF2-40B4-BE49-F238E27FC236}">
                <a16:creationId xmlns:a16="http://schemas.microsoft.com/office/drawing/2014/main" id="{9D3AA9D6-7F4F-4C05-AFC4-F6C378F00E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05402" y="2177"/>
            <a:ext cx="2486598" cy="1178925"/>
          </a:xfrm>
          <a:prstGeom prst="rect">
            <a:avLst/>
          </a:prstGeom>
        </p:spPr>
      </p:pic>
      <p:pic>
        <p:nvPicPr>
          <p:cNvPr id="14" name="Imagem 13" descr="Tela de celular com texto preto sobre fundo branco&#10;&#10;Descrição gerada automaticamente">
            <a:extLst>
              <a:ext uri="{FF2B5EF4-FFF2-40B4-BE49-F238E27FC236}">
                <a16:creationId xmlns:a16="http://schemas.microsoft.com/office/drawing/2014/main" id="{E4A6F942-4524-4538-9AFC-F581826EA5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8370" r="19931"/>
          <a:stretch/>
        </p:blipFill>
        <p:spPr>
          <a:xfrm>
            <a:off x="9881489" y="1"/>
            <a:ext cx="2134990" cy="1104332"/>
          </a:xfrm>
          <a:prstGeom prst="rect">
            <a:avLst/>
          </a:prstGeom>
        </p:spPr>
      </p:pic>
      <p:pic>
        <p:nvPicPr>
          <p:cNvPr id="15" name="Imagem 14">
            <a:extLst>
              <a:ext uri="{FF2B5EF4-FFF2-40B4-BE49-F238E27FC236}">
                <a16:creationId xmlns:a16="http://schemas.microsoft.com/office/drawing/2014/main" id="{016FE828-B58A-48EA-8585-1A51822DCD6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55805" y="349518"/>
            <a:ext cx="915143" cy="550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819797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Layout Personaliza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m 14">
            <a:extLst>
              <a:ext uri="{FF2B5EF4-FFF2-40B4-BE49-F238E27FC236}">
                <a16:creationId xmlns:a16="http://schemas.microsoft.com/office/drawing/2014/main" id="{32C2D2EC-14A2-47F9-BBCE-3D02DBBAE2B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66284" y="6587492"/>
            <a:ext cx="969299" cy="270509"/>
          </a:xfrm>
          <a:prstGeom prst="rect">
            <a:avLst/>
          </a:prstGeom>
        </p:spPr>
      </p:pic>
      <p:sp>
        <p:nvSpPr>
          <p:cNvPr id="4" name="Retângulo 3">
            <a:extLst>
              <a:ext uri="{FF2B5EF4-FFF2-40B4-BE49-F238E27FC236}">
                <a16:creationId xmlns:a16="http://schemas.microsoft.com/office/drawing/2014/main" id="{3CEC0927-B04C-40EF-8722-EE5791C41ECA}"/>
              </a:ext>
            </a:extLst>
          </p:cNvPr>
          <p:cNvSpPr/>
          <p:nvPr/>
        </p:nvSpPr>
        <p:spPr>
          <a:xfrm>
            <a:off x="0" y="1"/>
            <a:ext cx="12192000" cy="310470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3E4EEED-7F8E-4C63-9A08-47EC3F4D11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93324" y="1312389"/>
            <a:ext cx="6545258" cy="368296"/>
          </a:xfrm>
        </p:spPr>
        <p:txBody>
          <a:bodyPr/>
          <a:lstStyle>
            <a:lvl1pPr>
              <a:defRPr/>
            </a:lvl1pPr>
          </a:lstStyle>
          <a:p>
            <a:r>
              <a:rPr lang="pt-BR" dirty="0"/>
              <a:t>Título de 24pt </a:t>
            </a:r>
            <a:r>
              <a:rPr lang="pt-BR" dirty="0" err="1"/>
              <a:t>bold</a:t>
            </a:r>
            <a:endParaRPr lang="pt-BR" dirty="0"/>
          </a:p>
        </p:txBody>
      </p:sp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FD152A23-C4DB-428E-9E93-1CCAA24D76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B06766-DC36-4174-9907-BEF22DE810EF}" type="slidenum">
              <a:rPr lang="pt-BR" smtClean="0"/>
              <a:pPr/>
              <a:t>‹nº›</a:t>
            </a:fld>
            <a:r>
              <a:rPr lang="pt-BR"/>
              <a:t> </a:t>
            </a:r>
            <a:endParaRPr lang="pt-BR" dirty="0"/>
          </a:p>
        </p:txBody>
      </p:sp>
      <p:sp>
        <p:nvSpPr>
          <p:cNvPr id="5" name="Espaço Reservado para Texto 11">
            <a:extLst>
              <a:ext uri="{FF2B5EF4-FFF2-40B4-BE49-F238E27FC236}">
                <a16:creationId xmlns:a16="http://schemas.microsoft.com/office/drawing/2014/main" id="{C4C93A35-E558-43C2-9DAB-BE94DA0CBE4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2399" y="4876802"/>
            <a:ext cx="3275793" cy="1343025"/>
          </a:xfrm>
        </p:spPr>
        <p:txBody>
          <a:bodyPr lIns="72000" tIns="0" rIns="72000" bIns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143"/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Texto corrido 12pt</a:t>
            </a:r>
          </a:p>
        </p:txBody>
      </p:sp>
      <p:sp>
        <p:nvSpPr>
          <p:cNvPr id="6" name="Espaço Reservado para Texto 11">
            <a:extLst>
              <a:ext uri="{FF2B5EF4-FFF2-40B4-BE49-F238E27FC236}">
                <a16:creationId xmlns:a16="http://schemas.microsoft.com/office/drawing/2014/main" id="{1C0F6430-F9C1-4A35-8F5C-A4630471B53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58106" y="4876802"/>
            <a:ext cx="3275793" cy="1343025"/>
          </a:xfrm>
        </p:spPr>
        <p:txBody>
          <a:bodyPr lIns="72000" tIns="0" rIns="72000" bIns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143"/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Texto corrido 12pt</a:t>
            </a:r>
          </a:p>
        </p:txBody>
      </p:sp>
      <p:sp>
        <p:nvSpPr>
          <p:cNvPr id="7" name="Espaço Reservado para Texto 11">
            <a:extLst>
              <a:ext uri="{FF2B5EF4-FFF2-40B4-BE49-F238E27FC236}">
                <a16:creationId xmlns:a16="http://schemas.microsoft.com/office/drawing/2014/main" id="{8457251A-6A0A-4574-A550-8DDACF79A1D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03093" y="4876802"/>
            <a:ext cx="3275793" cy="1343025"/>
          </a:xfrm>
        </p:spPr>
        <p:txBody>
          <a:bodyPr lIns="72000" tIns="0" rIns="72000" bIns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143"/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Texto corrido 12pt</a:t>
            </a:r>
          </a:p>
        </p:txBody>
      </p:sp>
      <p:sp>
        <p:nvSpPr>
          <p:cNvPr id="8" name="Espaço Reservado para Imagem 7">
            <a:extLst>
              <a:ext uri="{FF2B5EF4-FFF2-40B4-BE49-F238E27FC236}">
                <a16:creationId xmlns:a16="http://schemas.microsoft.com/office/drawing/2014/main" id="{C04647F4-CDE4-4222-B77F-4CE3D52C8ECD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368777" y="3629025"/>
            <a:ext cx="2163032" cy="1047754"/>
          </a:xfrm>
        </p:spPr>
        <p:txBody>
          <a:bodyPr anchor="ctr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BR" dirty="0"/>
              <a:t>Adicione um ícone</a:t>
            </a:r>
          </a:p>
        </p:txBody>
      </p:sp>
      <p:sp>
        <p:nvSpPr>
          <p:cNvPr id="9" name="Espaço Reservado para Imagem 7">
            <a:extLst>
              <a:ext uri="{FF2B5EF4-FFF2-40B4-BE49-F238E27FC236}">
                <a16:creationId xmlns:a16="http://schemas.microsoft.com/office/drawing/2014/main" id="{E3A75D2B-2D0A-4EFF-BA32-E680ABFC165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014483" y="3629025"/>
            <a:ext cx="2163032" cy="1047754"/>
          </a:xfrm>
        </p:spPr>
        <p:txBody>
          <a:bodyPr anchor="ctr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BR" dirty="0"/>
              <a:t>Adicione um ícone</a:t>
            </a:r>
          </a:p>
        </p:txBody>
      </p:sp>
      <p:sp>
        <p:nvSpPr>
          <p:cNvPr id="11" name="Espaço Reservado para Imagem 7">
            <a:extLst>
              <a:ext uri="{FF2B5EF4-FFF2-40B4-BE49-F238E27FC236}">
                <a16:creationId xmlns:a16="http://schemas.microsoft.com/office/drawing/2014/main" id="{EFD2C4B8-786A-4168-A523-A51AC619A19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660191" y="3629025"/>
            <a:ext cx="2163032" cy="1047754"/>
          </a:xfrm>
        </p:spPr>
        <p:txBody>
          <a:bodyPr anchor="ctr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BR" dirty="0"/>
              <a:t>Adicione um ícone</a:t>
            </a:r>
          </a:p>
        </p:txBody>
      </p:sp>
      <p:sp>
        <p:nvSpPr>
          <p:cNvPr id="12" name="Espaço Reservado para Texto 9">
            <a:extLst>
              <a:ext uri="{FF2B5EF4-FFF2-40B4-BE49-F238E27FC236}">
                <a16:creationId xmlns:a16="http://schemas.microsoft.com/office/drawing/2014/main" id="{9F9F62A1-1F53-40CD-AC1F-FBB2C2A306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993323" y="1747837"/>
            <a:ext cx="6692698" cy="233362"/>
          </a:xfrm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143">
                <a:solidFill>
                  <a:schemeClr val="accent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/>
              <a:t>Adicione um subtítulo para apresentação 12pt</a:t>
            </a:r>
          </a:p>
        </p:txBody>
      </p:sp>
      <p:pic>
        <p:nvPicPr>
          <p:cNvPr id="13" name="Imagem 12" descr="Foto em preto e branco&#10;&#10;Descrição gerada automaticamente">
            <a:extLst>
              <a:ext uri="{FF2B5EF4-FFF2-40B4-BE49-F238E27FC236}">
                <a16:creationId xmlns:a16="http://schemas.microsoft.com/office/drawing/2014/main" id="{03A6693E-506D-4AD6-9691-B7B6A03EE39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1233" y="603143"/>
            <a:ext cx="1662091" cy="1906142"/>
          </a:xfrm>
          <a:prstGeom prst="rect">
            <a:avLst/>
          </a:prstGeom>
        </p:spPr>
      </p:pic>
      <p:pic>
        <p:nvPicPr>
          <p:cNvPr id="14" name="Imagem 13">
            <a:extLst>
              <a:ext uri="{FF2B5EF4-FFF2-40B4-BE49-F238E27FC236}">
                <a16:creationId xmlns:a16="http://schemas.microsoft.com/office/drawing/2014/main" id="{C6909946-30DF-4687-ABF0-76F965C50F7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51325" y="348210"/>
            <a:ext cx="917289" cy="552052"/>
          </a:xfrm>
          <a:prstGeom prst="rect">
            <a:avLst/>
          </a:prstGeom>
        </p:spPr>
      </p:pic>
      <p:pic>
        <p:nvPicPr>
          <p:cNvPr id="16" name="Imagem 15">
            <a:extLst>
              <a:ext uri="{FF2B5EF4-FFF2-40B4-BE49-F238E27FC236}">
                <a16:creationId xmlns:a16="http://schemas.microsoft.com/office/drawing/2014/main" id="{191B4127-06BA-4F7C-9DB8-3143FA85A96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66284" y="6587492"/>
            <a:ext cx="969299" cy="270509"/>
          </a:xfrm>
          <a:prstGeom prst="rect">
            <a:avLst/>
          </a:prstGeom>
        </p:spPr>
      </p:pic>
      <p:sp>
        <p:nvSpPr>
          <p:cNvPr id="17" name="Retângulo 16">
            <a:extLst>
              <a:ext uri="{FF2B5EF4-FFF2-40B4-BE49-F238E27FC236}">
                <a16:creationId xmlns:a16="http://schemas.microsoft.com/office/drawing/2014/main" id="{0BF4521B-163F-4B65-9984-23544689F305}"/>
              </a:ext>
            </a:extLst>
          </p:cNvPr>
          <p:cNvSpPr/>
          <p:nvPr userDrawn="1"/>
        </p:nvSpPr>
        <p:spPr>
          <a:xfrm>
            <a:off x="0" y="1"/>
            <a:ext cx="12192000" cy="310470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  <p:pic>
        <p:nvPicPr>
          <p:cNvPr id="18" name="Imagem 17" descr="Foto em preto e branco&#10;&#10;Descrição gerada automaticamente">
            <a:extLst>
              <a:ext uri="{FF2B5EF4-FFF2-40B4-BE49-F238E27FC236}">
                <a16:creationId xmlns:a16="http://schemas.microsoft.com/office/drawing/2014/main" id="{4A3ECB91-A1A4-4CAE-9192-B53E4DE31D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1233" y="603143"/>
            <a:ext cx="1662091" cy="1906142"/>
          </a:xfrm>
          <a:prstGeom prst="rect">
            <a:avLst/>
          </a:prstGeom>
        </p:spPr>
      </p:pic>
      <p:pic>
        <p:nvPicPr>
          <p:cNvPr id="19" name="Imagem 18">
            <a:extLst>
              <a:ext uri="{FF2B5EF4-FFF2-40B4-BE49-F238E27FC236}">
                <a16:creationId xmlns:a16="http://schemas.microsoft.com/office/drawing/2014/main" id="{3E204029-378E-4B6F-BE78-14A7FD17EF6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51325" y="348210"/>
            <a:ext cx="917289" cy="552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244497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Layout Personaliza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ço Reservado para Imagem 6">
            <a:extLst>
              <a:ext uri="{FF2B5EF4-FFF2-40B4-BE49-F238E27FC236}">
                <a16:creationId xmlns:a16="http://schemas.microsoft.com/office/drawing/2014/main" id="{37326795-D0C9-4763-A547-A7A5B29AC47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757" y="0"/>
            <a:ext cx="12193757" cy="3104708"/>
          </a:xfrm>
          <a:solidFill>
            <a:srgbClr val="CC2362">
              <a:alpha val="20000"/>
            </a:srgbClr>
          </a:solidFill>
        </p:spPr>
        <p:txBody>
          <a:bodyPr anchor="ctr" anchorCtr="0"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pt-BR"/>
              <a:t>Clique no ícone para adicionar uma imagem</a:t>
            </a:r>
          </a:p>
        </p:txBody>
      </p:sp>
      <p:pic>
        <p:nvPicPr>
          <p:cNvPr id="15" name="Imagem 14">
            <a:extLst>
              <a:ext uri="{FF2B5EF4-FFF2-40B4-BE49-F238E27FC236}">
                <a16:creationId xmlns:a16="http://schemas.microsoft.com/office/drawing/2014/main" id="{32C2D2EC-14A2-47F9-BBCE-3D02DBBAE2B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66284" y="6587492"/>
            <a:ext cx="969299" cy="27050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E3E4EEED-7F8E-4C63-9A08-47EC3F4D11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93324" y="1312389"/>
            <a:ext cx="6545258" cy="368296"/>
          </a:xfrm>
        </p:spPr>
        <p:txBody>
          <a:bodyPr/>
          <a:lstStyle>
            <a:lvl1pPr>
              <a:defRPr/>
            </a:lvl1pPr>
          </a:lstStyle>
          <a:p>
            <a:r>
              <a:rPr lang="pt-BR" dirty="0"/>
              <a:t>Título de 24pt </a:t>
            </a:r>
            <a:r>
              <a:rPr lang="pt-BR" dirty="0" err="1"/>
              <a:t>bold</a:t>
            </a:r>
            <a:endParaRPr lang="pt-BR" dirty="0"/>
          </a:p>
        </p:txBody>
      </p:sp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FD152A23-C4DB-428E-9E93-1CCAA24D76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B06766-DC36-4174-9907-BEF22DE810EF}" type="slidenum">
              <a:rPr lang="pt-BR" smtClean="0"/>
              <a:pPr/>
              <a:t>‹nº›</a:t>
            </a:fld>
            <a:r>
              <a:rPr lang="pt-BR"/>
              <a:t> </a:t>
            </a:r>
            <a:endParaRPr lang="pt-BR" dirty="0"/>
          </a:p>
        </p:txBody>
      </p:sp>
      <p:sp>
        <p:nvSpPr>
          <p:cNvPr id="5" name="Espaço Reservado para Texto 11">
            <a:extLst>
              <a:ext uri="{FF2B5EF4-FFF2-40B4-BE49-F238E27FC236}">
                <a16:creationId xmlns:a16="http://schemas.microsoft.com/office/drawing/2014/main" id="{C4C93A35-E558-43C2-9DAB-BE94DA0CBE4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2399" y="4876802"/>
            <a:ext cx="3275793" cy="1343025"/>
          </a:xfrm>
        </p:spPr>
        <p:txBody>
          <a:bodyPr lIns="72000" tIns="0" rIns="72000" bIns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143"/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Texto corrido 12pt</a:t>
            </a:r>
          </a:p>
        </p:txBody>
      </p:sp>
      <p:sp>
        <p:nvSpPr>
          <p:cNvPr id="6" name="Espaço Reservado para Texto 11">
            <a:extLst>
              <a:ext uri="{FF2B5EF4-FFF2-40B4-BE49-F238E27FC236}">
                <a16:creationId xmlns:a16="http://schemas.microsoft.com/office/drawing/2014/main" id="{1C0F6430-F9C1-4A35-8F5C-A4630471B53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58106" y="4876802"/>
            <a:ext cx="3275793" cy="1343025"/>
          </a:xfrm>
        </p:spPr>
        <p:txBody>
          <a:bodyPr lIns="72000" tIns="0" rIns="72000" bIns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143"/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Texto corrido 12pt</a:t>
            </a:r>
          </a:p>
        </p:txBody>
      </p:sp>
      <p:sp>
        <p:nvSpPr>
          <p:cNvPr id="7" name="Espaço Reservado para Texto 11">
            <a:extLst>
              <a:ext uri="{FF2B5EF4-FFF2-40B4-BE49-F238E27FC236}">
                <a16:creationId xmlns:a16="http://schemas.microsoft.com/office/drawing/2014/main" id="{8457251A-6A0A-4574-A550-8DDACF79A1D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03093" y="4876802"/>
            <a:ext cx="3275793" cy="1343025"/>
          </a:xfrm>
        </p:spPr>
        <p:txBody>
          <a:bodyPr lIns="72000" tIns="0" rIns="72000" bIns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143"/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Texto corrido 12pt</a:t>
            </a:r>
          </a:p>
        </p:txBody>
      </p:sp>
      <p:sp>
        <p:nvSpPr>
          <p:cNvPr id="8" name="Espaço Reservado para Imagem 7">
            <a:extLst>
              <a:ext uri="{FF2B5EF4-FFF2-40B4-BE49-F238E27FC236}">
                <a16:creationId xmlns:a16="http://schemas.microsoft.com/office/drawing/2014/main" id="{C04647F4-CDE4-4222-B77F-4CE3D52C8ECD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368777" y="3629025"/>
            <a:ext cx="2163032" cy="1047754"/>
          </a:xfrm>
        </p:spPr>
        <p:txBody>
          <a:bodyPr anchor="ctr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BR" dirty="0"/>
              <a:t>Adicione um ícone</a:t>
            </a:r>
          </a:p>
        </p:txBody>
      </p:sp>
      <p:sp>
        <p:nvSpPr>
          <p:cNvPr id="9" name="Espaço Reservado para Imagem 7">
            <a:extLst>
              <a:ext uri="{FF2B5EF4-FFF2-40B4-BE49-F238E27FC236}">
                <a16:creationId xmlns:a16="http://schemas.microsoft.com/office/drawing/2014/main" id="{E3A75D2B-2D0A-4EFF-BA32-E680ABFC165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014483" y="3629025"/>
            <a:ext cx="2163032" cy="1047754"/>
          </a:xfrm>
        </p:spPr>
        <p:txBody>
          <a:bodyPr anchor="ctr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BR" dirty="0"/>
              <a:t>Adicione um ícone</a:t>
            </a:r>
          </a:p>
        </p:txBody>
      </p:sp>
      <p:sp>
        <p:nvSpPr>
          <p:cNvPr id="11" name="Espaço Reservado para Imagem 7">
            <a:extLst>
              <a:ext uri="{FF2B5EF4-FFF2-40B4-BE49-F238E27FC236}">
                <a16:creationId xmlns:a16="http://schemas.microsoft.com/office/drawing/2014/main" id="{EFD2C4B8-786A-4168-A523-A51AC619A19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660191" y="3629025"/>
            <a:ext cx="2163032" cy="1047754"/>
          </a:xfrm>
        </p:spPr>
        <p:txBody>
          <a:bodyPr anchor="ctr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BR" dirty="0"/>
              <a:t>Adicione um ícone</a:t>
            </a:r>
          </a:p>
        </p:txBody>
      </p:sp>
      <p:sp>
        <p:nvSpPr>
          <p:cNvPr id="12" name="Espaço Reservado para Texto 9">
            <a:extLst>
              <a:ext uri="{FF2B5EF4-FFF2-40B4-BE49-F238E27FC236}">
                <a16:creationId xmlns:a16="http://schemas.microsoft.com/office/drawing/2014/main" id="{9F9F62A1-1F53-40CD-AC1F-FBB2C2A306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993323" y="1747837"/>
            <a:ext cx="6692698" cy="233362"/>
          </a:xfrm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143">
                <a:solidFill>
                  <a:schemeClr val="accent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/>
              <a:t>Adicione um subtítulo para apresentação 12pt</a:t>
            </a:r>
          </a:p>
        </p:txBody>
      </p:sp>
      <p:pic>
        <p:nvPicPr>
          <p:cNvPr id="14" name="Imagem 13">
            <a:extLst>
              <a:ext uri="{FF2B5EF4-FFF2-40B4-BE49-F238E27FC236}">
                <a16:creationId xmlns:a16="http://schemas.microsoft.com/office/drawing/2014/main" id="{C6909946-30DF-4687-ABF0-76F965C50F7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51325" y="348210"/>
            <a:ext cx="917289" cy="552052"/>
          </a:xfrm>
          <a:prstGeom prst="rect">
            <a:avLst/>
          </a:prstGeom>
        </p:spPr>
      </p:pic>
      <p:pic>
        <p:nvPicPr>
          <p:cNvPr id="17" name="Imagem 16" descr="Uma imagem contendo edifício, ponte, luz&#10;&#10;Descrição gerada automaticamente">
            <a:extLst>
              <a:ext uri="{FF2B5EF4-FFF2-40B4-BE49-F238E27FC236}">
                <a16:creationId xmlns:a16="http://schemas.microsoft.com/office/drawing/2014/main" id="{CDBE0EB2-1D4D-49FD-8139-55093A0DCBC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92232" y="1149264"/>
            <a:ext cx="828084" cy="950560"/>
          </a:xfrm>
          <a:prstGeom prst="rect">
            <a:avLst/>
          </a:prstGeom>
        </p:spPr>
      </p:pic>
      <p:pic>
        <p:nvPicPr>
          <p:cNvPr id="18" name="Imagem 17">
            <a:extLst>
              <a:ext uri="{FF2B5EF4-FFF2-40B4-BE49-F238E27FC236}">
                <a16:creationId xmlns:a16="http://schemas.microsoft.com/office/drawing/2014/main" id="{828B2275-FE54-48B4-889A-36C35D8A5E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66284" y="6587492"/>
            <a:ext cx="969299" cy="270509"/>
          </a:xfrm>
          <a:prstGeom prst="rect">
            <a:avLst/>
          </a:prstGeom>
        </p:spPr>
      </p:pic>
      <p:pic>
        <p:nvPicPr>
          <p:cNvPr id="19" name="Imagem 18">
            <a:extLst>
              <a:ext uri="{FF2B5EF4-FFF2-40B4-BE49-F238E27FC236}">
                <a16:creationId xmlns:a16="http://schemas.microsoft.com/office/drawing/2014/main" id="{25518B2C-833D-4E1C-9BCE-135FB36C0F3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51325" y="348210"/>
            <a:ext cx="917289" cy="552052"/>
          </a:xfrm>
          <a:prstGeom prst="rect">
            <a:avLst/>
          </a:prstGeom>
        </p:spPr>
      </p:pic>
      <p:pic>
        <p:nvPicPr>
          <p:cNvPr id="20" name="Imagem 19" descr="Uma imagem contendo edifício, ponte, luz&#10;&#10;Descrição gerada automaticamente">
            <a:extLst>
              <a:ext uri="{FF2B5EF4-FFF2-40B4-BE49-F238E27FC236}">
                <a16:creationId xmlns:a16="http://schemas.microsoft.com/office/drawing/2014/main" id="{2A9C34A1-0B9D-4431-A98C-3020316BC53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92232" y="1149264"/>
            <a:ext cx="828084" cy="950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535020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4_Layout Personaliza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tângulo 11">
            <a:extLst>
              <a:ext uri="{FF2B5EF4-FFF2-40B4-BE49-F238E27FC236}">
                <a16:creationId xmlns:a16="http://schemas.microsoft.com/office/drawing/2014/main" id="{5EDC8041-72BF-4067-991B-28707200B4AB}"/>
              </a:ext>
            </a:extLst>
          </p:cNvPr>
          <p:cNvSpPr/>
          <p:nvPr/>
        </p:nvSpPr>
        <p:spPr>
          <a:xfrm>
            <a:off x="0" y="6462844"/>
            <a:ext cx="12192000" cy="39340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  <p:pic>
        <p:nvPicPr>
          <p:cNvPr id="13" name="Imagem 12">
            <a:extLst>
              <a:ext uri="{FF2B5EF4-FFF2-40B4-BE49-F238E27FC236}">
                <a16:creationId xmlns:a16="http://schemas.microsoft.com/office/drawing/2014/main" id="{A5B4117D-F084-484C-9BC1-E9671F48BD5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66554" y="6587492"/>
            <a:ext cx="569027" cy="270509"/>
          </a:xfrm>
          <a:prstGeom prst="rect">
            <a:avLst/>
          </a:prstGeom>
        </p:spPr>
      </p:pic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36918696-EB8E-421F-B5D6-E2E89FCF5D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B06766-DC36-4174-9907-BEF22DE810EF}" type="slidenum">
              <a:rPr lang="pt-BR" smtClean="0"/>
              <a:pPr/>
              <a:t>‹nº›</a:t>
            </a:fld>
            <a:r>
              <a:rPr lang="pt-BR"/>
              <a:t> </a:t>
            </a:r>
            <a:endParaRPr lang="pt-BR" dirty="0"/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00ED86AE-262F-471A-8A1C-3CE5CA964D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06286" y="418685"/>
            <a:ext cx="7962664" cy="47771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título para apresentação 24 </a:t>
            </a:r>
            <a:r>
              <a:rPr lang="pt-BR" dirty="0" err="1"/>
              <a:t>pt</a:t>
            </a:r>
            <a:endParaRPr lang="pt-BR" dirty="0"/>
          </a:p>
        </p:txBody>
      </p:sp>
      <p:sp>
        <p:nvSpPr>
          <p:cNvPr id="5" name="Espaço Reservado para Texto 11">
            <a:extLst>
              <a:ext uri="{FF2B5EF4-FFF2-40B4-BE49-F238E27FC236}">
                <a16:creationId xmlns:a16="http://schemas.microsoft.com/office/drawing/2014/main" id="{B948BD46-CE4D-4508-97E9-7C71E278273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7237" y="1181101"/>
            <a:ext cx="6869316" cy="1504950"/>
          </a:xfrm>
        </p:spPr>
        <p:txBody>
          <a:bodyPr lIns="0" tIns="0" rIns="0" bIns="0" anchor="ctr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143"/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Texto corrido 12pt</a:t>
            </a:r>
          </a:p>
        </p:txBody>
      </p:sp>
      <p:sp>
        <p:nvSpPr>
          <p:cNvPr id="6" name="Espaço Reservado para Conteúdo 15">
            <a:extLst>
              <a:ext uri="{FF2B5EF4-FFF2-40B4-BE49-F238E27FC236}">
                <a16:creationId xmlns:a16="http://schemas.microsoft.com/office/drawing/2014/main" id="{0ABEED0C-5824-4793-A49B-3954DB6DDE9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497238" y="3114678"/>
            <a:ext cx="6869316" cy="3105149"/>
          </a:xfrm>
        </p:spPr>
        <p:txBody>
          <a:bodyPr anchor="ctr" anchorCtr="1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048">
                <a:solidFill>
                  <a:schemeClr val="accent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Adicione um gráfico, tabela ou imagem.</a:t>
            </a:r>
          </a:p>
        </p:txBody>
      </p:sp>
      <p:pic>
        <p:nvPicPr>
          <p:cNvPr id="7" name="Imagem 6" descr="Uma imagem contendo edifício, ponte, luz&#10;&#10;Descrição gerada automaticamente">
            <a:extLst>
              <a:ext uri="{FF2B5EF4-FFF2-40B4-BE49-F238E27FC236}">
                <a16:creationId xmlns:a16="http://schemas.microsoft.com/office/drawing/2014/main" id="{FDAE1793-5421-407F-A17B-134E64F6B46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1716" y="371131"/>
            <a:ext cx="431743" cy="495600"/>
          </a:xfrm>
          <a:prstGeom prst="rect">
            <a:avLst/>
          </a:prstGeom>
        </p:spPr>
      </p:pic>
      <p:pic>
        <p:nvPicPr>
          <p:cNvPr id="8" name="Imagem 7" descr="Uma imagem contendo desenho, placar&#10;&#10;Descrição gerada automaticamente">
            <a:extLst>
              <a:ext uri="{FF2B5EF4-FFF2-40B4-BE49-F238E27FC236}">
                <a16:creationId xmlns:a16="http://schemas.microsoft.com/office/drawing/2014/main" id="{CD4D7636-FC20-4CFC-8A78-3BC6D75B8D0E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0286" y="348210"/>
            <a:ext cx="919368" cy="552052"/>
          </a:xfrm>
          <a:prstGeom prst="rect">
            <a:avLst/>
          </a:prstGeom>
        </p:spPr>
      </p:pic>
      <p:pic>
        <p:nvPicPr>
          <p:cNvPr id="9" name="Imagem 8" descr="Foto em preto e branco&#10;&#10;Descrição gerada automaticamente">
            <a:extLst>
              <a:ext uri="{FF2B5EF4-FFF2-40B4-BE49-F238E27FC236}">
                <a16:creationId xmlns:a16="http://schemas.microsoft.com/office/drawing/2014/main" id="{B362AF68-F8A6-4A74-8411-561F157FEB81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850" y="1654117"/>
            <a:ext cx="3532338" cy="4051004"/>
          </a:xfrm>
          <a:prstGeom prst="rect">
            <a:avLst/>
          </a:prstGeom>
        </p:spPr>
      </p:pic>
      <p:sp>
        <p:nvSpPr>
          <p:cNvPr id="11" name="Retângulo 10">
            <a:extLst>
              <a:ext uri="{FF2B5EF4-FFF2-40B4-BE49-F238E27FC236}">
                <a16:creationId xmlns:a16="http://schemas.microsoft.com/office/drawing/2014/main" id="{DC178221-6CCB-4532-BEB4-9A107D45FC86}"/>
              </a:ext>
            </a:extLst>
          </p:cNvPr>
          <p:cNvSpPr/>
          <p:nvPr userDrawn="1"/>
        </p:nvSpPr>
        <p:spPr>
          <a:xfrm>
            <a:off x="0" y="6462844"/>
            <a:ext cx="12192000" cy="39340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  <p:pic>
        <p:nvPicPr>
          <p:cNvPr id="14" name="Imagem 13">
            <a:extLst>
              <a:ext uri="{FF2B5EF4-FFF2-40B4-BE49-F238E27FC236}">
                <a16:creationId xmlns:a16="http://schemas.microsoft.com/office/drawing/2014/main" id="{79D50621-4536-4628-9FFB-6914365CA1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66554" y="6587492"/>
            <a:ext cx="569027" cy="270509"/>
          </a:xfrm>
          <a:prstGeom prst="rect">
            <a:avLst/>
          </a:prstGeom>
        </p:spPr>
      </p:pic>
      <p:pic>
        <p:nvPicPr>
          <p:cNvPr id="15" name="Imagem 14" descr="Uma imagem contendo edifício, ponte, luz&#10;&#10;Descrição gerada automaticamente">
            <a:extLst>
              <a:ext uri="{FF2B5EF4-FFF2-40B4-BE49-F238E27FC236}">
                <a16:creationId xmlns:a16="http://schemas.microsoft.com/office/drawing/2014/main" id="{EF1A409C-11D3-4068-B734-7177A2CF709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1716" y="371131"/>
            <a:ext cx="431743" cy="495600"/>
          </a:xfrm>
          <a:prstGeom prst="rect">
            <a:avLst/>
          </a:prstGeom>
        </p:spPr>
      </p:pic>
      <p:pic>
        <p:nvPicPr>
          <p:cNvPr id="16" name="Imagem 15" descr="Uma imagem contendo desenho, placar&#10;&#10;Descrição gerada automaticamente">
            <a:extLst>
              <a:ext uri="{FF2B5EF4-FFF2-40B4-BE49-F238E27FC236}">
                <a16:creationId xmlns:a16="http://schemas.microsoft.com/office/drawing/2014/main" id="{8E038B23-AFDF-4C31-B912-C604998C755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0286" y="348210"/>
            <a:ext cx="919368" cy="552052"/>
          </a:xfrm>
          <a:prstGeom prst="rect">
            <a:avLst/>
          </a:prstGeom>
        </p:spPr>
      </p:pic>
      <p:pic>
        <p:nvPicPr>
          <p:cNvPr id="17" name="Imagem 16" descr="Foto em preto e branco&#10;&#10;Descrição gerada automaticamente">
            <a:extLst>
              <a:ext uri="{FF2B5EF4-FFF2-40B4-BE49-F238E27FC236}">
                <a16:creationId xmlns:a16="http://schemas.microsoft.com/office/drawing/2014/main" id="{E377F746-898A-4E74-9C68-19C92757A89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850" y="1654117"/>
            <a:ext cx="3532338" cy="4051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789765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6_Layout Personaliza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tângulo 10">
            <a:extLst>
              <a:ext uri="{FF2B5EF4-FFF2-40B4-BE49-F238E27FC236}">
                <a16:creationId xmlns:a16="http://schemas.microsoft.com/office/drawing/2014/main" id="{5778B847-68A8-4C60-B893-21126B146A03}"/>
              </a:ext>
            </a:extLst>
          </p:cNvPr>
          <p:cNvSpPr/>
          <p:nvPr/>
        </p:nvSpPr>
        <p:spPr>
          <a:xfrm>
            <a:off x="0" y="6462844"/>
            <a:ext cx="12192000" cy="39340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  <p:pic>
        <p:nvPicPr>
          <p:cNvPr id="13" name="Imagem 12">
            <a:extLst>
              <a:ext uri="{FF2B5EF4-FFF2-40B4-BE49-F238E27FC236}">
                <a16:creationId xmlns:a16="http://schemas.microsoft.com/office/drawing/2014/main" id="{28F4B9E7-AD37-458B-B291-BFF8BDFAE69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66554" y="6598125"/>
            <a:ext cx="569027" cy="270509"/>
          </a:xfrm>
          <a:prstGeom prst="rect">
            <a:avLst/>
          </a:prstGeom>
        </p:spPr>
      </p:pic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2D74326C-DF01-4981-BBA0-3F5FEB9E89B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8886" y="6587490"/>
            <a:ext cx="556697" cy="27051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B06766-DC36-4174-9907-BEF22DE810EF}" type="slidenum">
              <a:rPr lang="pt-BR" smtClean="0"/>
              <a:pPr/>
              <a:t>‹nº›</a:t>
            </a:fld>
            <a:r>
              <a:rPr lang="pt-BR"/>
              <a:t> </a:t>
            </a:r>
            <a:endParaRPr lang="pt-BR" dirty="0"/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D1956255-09BB-4AF4-88D9-E68FEAE07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06286" y="418685"/>
            <a:ext cx="7962664" cy="47771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título para apresentação 24 </a:t>
            </a:r>
            <a:r>
              <a:rPr lang="pt-BR" dirty="0" err="1"/>
              <a:t>pt</a:t>
            </a:r>
            <a:endParaRPr lang="pt-BR" dirty="0"/>
          </a:p>
        </p:txBody>
      </p:sp>
      <p:sp>
        <p:nvSpPr>
          <p:cNvPr id="5" name="Espaço Reservado para Texto 11">
            <a:extLst>
              <a:ext uri="{FF2B5EF4-FFF2-40B4-BE49-F238E27FC236}">
                <a16:creationId xmlns:a16="http://schemas.microsoft.com/office/drawing/2014/main" id="{89EEB3E4-9687-4632-81A2-46160FE26E4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06287" y="1828800"/>
            <a:ext cx="2624667" cy="3733800"/>
          </a:xfrm>
        </p:spPr>
        <p:txBody>
          <a:bodyPr lIns="0" tIns="0" rIns="0" bIns="0" anchor="ctr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524"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Texto corrido 16pt em </a:t>
            </a:r>
            <a:r>
              <a:rPr lang="pt-BR" dirty="0" err="1"/>
              <a:t>bold</a:t>
            </a:r>
            <a:r>
              <a:rPr lang="pt-BR" dirty="0"/>
              <a:t>, para dar destaque ou uma colocar alguma citação</a:t>
            </a:r>
          </a:p>
        </p:txBody>
      </p:sp>
      <p:sp>
        <p:nvSpPr>
          <p:cNvPr id="6" name="Espaço Reservado para Texto 11">
            <a:extLst>
              <a:ext uri="{FF2B5EF4-FFF2-40B4-BE49-F238E27FC236}">
                <a16:creationId xmlns:a16="http://schemas.microsoft.com/office/drawing/2014/main" id="{12DD4A6D-FE76-4A20-AD77-E819B27222D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95333" y="1181101"/>
            <a:ext cx="6371220" cy="5048249"/>
          </a:xfrm>
        </p:spPr>
        <p:txBody>
          <a:bodyPr lIns="0" tIns="0" rIns="0" bIns="0" anchor="ctr" anchorCtr="0">
            <a:normAutofit/>
          </a:bodyPr>
          <a:lstStyle>
            <a:lvl1pPr marL="0" marR="0" indent="0" algn="l" defTabSz="870875" rtl="0" eaLnBrk="1" fontAlgn="auto" latinLnBrk="0" hangingPunct="1">
              <a:lnSpc>
                <a:spcPct val="130000"/>
              </a:lnSpc>
              <a:spcBef>
                <a:spcPts val="171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43"/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Texto corrido 12pt;</a:t>
            </a:r>
          </a:p>
          <a:p>
            <a:pPr marL="0" marR="0" lvl="0" indent="0" algn="l" defTabSz="870875" rtl="0" eaLnBrk="1" fontAlgn="auto" latinLnBrk="0" hangingPunct="1">
              <a:lnSpc>
                <a:spcPct val="130000"/>
              </a:lnSpc>
              <a:spcBef>
                <a:spcPts val="171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 shall see the face of Mars, anyhow, and that will be a rare experience. It seems to me that a view of the heavenly bodies through a fine telescope, as well as a tour round the world, should form a part of a liberal education.</a:t>
            </a:r>
            <a:endParaRPr lang="pt-BR" dirty="0"/>
          </a:p>
          <a:p>
            <a:pPr marL="0" marR="0" lvl="0" indent="0" algn="l" defTabSz="870875" rtl="0" eaLnBrk="1" fontAlgn="auto" latinLnBrk="0" hangingPunct="1">
              <a:lnSpc>
                <a:spcPct val="130000"/>
              </a:lnSpc>
              <a:spcBef>
                <a:spcPts val="171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 shall see the face of Mars, anyhow, and that will be a rare experience. It seems to me that a view of the heavenly bodies through a fine telescope, as well as a tour round the world, should form a part of a liberal education.</a:t>
            </a:r>
            <a:endParaRPr lang="pt-BR" dirty="0"/>
          </a:p>
          <a:p>
            <a:pPr marL="0" marR="0" lvl="0" indent="0" algn="l" defTabSz="870875" rtl="0" eaLnBrk="1" fontAlgn="auto" latinLnBrk="0" hangingPunct="1">
              <a:lnSpc>
                <a:spcPct val="130000"/>
              </a:lnSpc>
              <a:spcBef>
                <a:spcPts val="171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 shall see </a:t>
            </a:r>
            <a:r>
              <a:rPr lang="en-US" dirty="0" err="1"/>
              <a:t>tI</a:t>
            </a:r>
            <a:r>
              <a:rPr lang="en-US" dirty="0"/>
              <a:t> shall see the face of Mars, anyhow, and that will be a rare experience. It seems to me that a view of the heavenly bodies through a fine telescope, as well as a tour round the world, should form a part of a liberal education.</a:t>
            </a:r>
            <a:endParaRPr lang="pt-BR" dirty="0"/>
          </a:p>
          <a:p>
            <a:pPr marL="0" marR="0" lvl="0" indent="0" algn="l" defTabSz="870875" rtl="0" eaLnBrk="1" fontAlgn="auto" latinLnBrk="0" hangingPunct="1">
              <a:lnSpc>
                <a:spcPct val="130000"/>
              </a:lnSpc>
              <a:spcBef>
                <a:spcPts val="171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he face of Mars, anyhow, and that will be a rare experience. It seems to me that a view of the heavenly bodies through a fine telescope, as well as a tour round the world, should form a part of a liberal education.</a:t>
            </a:r>
            <a:endParaRPr lang="pt-BR" dirty="0"/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CA9C3A92-A999-4EE8-A70B-04FF4689ABC7}"/>
              </a:ext>
            </a:extLst>
          </p:cNvPr>
          <p:cNvSpPr/>
          <p:nvPr/>
        </p:nvSpPr>
        <p:spPr>
          <a:xfrm>
            <a:off x="796212" y="1175657"/>
            <a:ext cx="3638248" cy="4885509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  <p:pic>
        <p:nvPicPr>
          <p:cNvPr id="8" name="Imagem 7" descr="Uma imagem contendo edifício, ponte, luz&#10;&#10;Descrição gerada automaticamente">
            <a:extLst>
              <a:ext uri="{FF2B5EF4-FFF2-40B4-BE49-F238E27FC236}">
                <a16:creationId xmlns:a16="http://schemas.microsoft.com/office/drawing/2014/main" id="{4B367A48-7296-4DDD-8DFE-9989E8D7F33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1716" y="371131"/>
            <a:ext cx="431743" cy="495600"/>
          </a:xfrm>
          <a:prstGeom prst="rect">
            <a:avLst/>
          </a:prstGeom>
        </p:spPr>
      </p:pic>
      <p:pic>
        <p:nvPicPr>
          <p:cNvPr id="10" name="Imagem 9" descr="Uma imagem contendo desenho, placar&#10;&#10;Descrição gerada automaticamente">
            <a:extLst>
              <a:ext uri="{FF2B5EF4-FFF2-40B4-BE49-F238E27FC236}">
                <a16:creationId xmlns:a16="http://schemas.microsoft.com/office/drawing/2014/main" id="{97FF5664-023A-4C7E-9402-D26CA87B334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4768" y="349518"/>
            <a:ext cx="917217" cy="550760"/>
          </a:xfrm>
          <a:prstGeom prst="rect">
            <a:avLst/>
          </a:prstGeom>
        </p:spPr>
      </p:pic>
      <p:sp>
        <p:nvSpPr>
          <p:cNvPr id="12" name="Retângulo 11">
            <a:extLst>
              <a:ext uri="{FF2B5EF4-FFF2-40B4-BE49-F238E27FC236}">
                <a16:creationId xmlns:a16="http://schemas.microsoft.com/office/drawing/2014/main" id="{0352407F-CC93-4ACA-A464-82D216581698}"/>
              </a:ext>
            </a:extLst>
          </p:cNvPr>
          <p:cNvSpPr/>
          <p:nvPr userDrawn="1"/>
        </p:nvSpPr>
        <p:spPr>
          <a:xfrm>
            <a:off x="0" y="6462844"/>
            <a:ext cx="12192000" cy="39340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  <p:pic>
        <p:nvPicPr>
          <p:cNvPr id="14" name="Imagem 13">
            <a:extLst>
              <a:ext uri="{FF2B5EF4-FFF2-40B4-BE49-F238E27FC236}">
                <a16:creationId xmlns:a16="http://schemas.microsoft.com/office/drawing/2014/main" id="{C63E8E2A-831B-4AE4-8268-7248425C3A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66554" y="6587492"/>
            <a:ext cx="569027" cy="270509"/>
          </a:xfrm>
          <a:prstGeom prst="rect">
            <a:avLst/>
          </a:prstGeom>
        </p:spPr>
      </p:pic>
      <p:sp>
        <p:nvSpPr>
          <p:cNvPr id="15" name="Retângulo 14">
            <a:extLst>
              <a:ext uri="{FF2B5EF4-FFF2-40B4-BE49-F238E27FC236}">
                <a16:creationId xmlns:a16="http://schemas.microsoft.com/office/drawing/2014/main" id="{4F9EF669-DDBE-4743-9843-C986C02F5E77}"/>
              </a:ext>
            </a:extLst>
          </p:cNvPr>
          <p:cNvSpPr/>
          <p:nvPr userDrawn="1"/>
        </p:nvSpPr>
        <p:spPr>
          <a:xfrm>
            <a:off x="796212" y="1175657"/>
            <a:ext cx="3638248" cy="4885509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  <p:pic>
        <p:nvPicPr>
          <p:cNvPr id="16" name="Imagem 15" descr="Uma imagem contendo edifício, ponte, luz&#10;&#10;Descrição gerada automaticamente">
            <a:extLst>
              <a:ext uri="{FF2B5EF4-FFF2-40B4-BE49-F238E27FC236}">
                <a16:creationId xmlns:a16="http://schemas.microsoft.com/office/drawing/2014/main" id="{3B8DBB1E-16A5-4DD3-8FE7-7DE9115AA98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1716" y="371131"/>
            <a:ext cx="431743" cy="495600"/>
          </a:xfrm>
          <a:prstGeom prst="rect">
            <a:avLst/>
          </a:prstGeom>
        </p:spPr>
      </p:pic>
      <p:pic>
        <p:nvPicPr>
          <p:cNvPr id="17" name="Imagem 16" descr="Uma imagem contendo desenho, placar&#10;&#10;Descrição gerada automaticamente">
            <a:extLst>
              <a:ext uri="{FF2B5EF4-FFF2-40B4-BE49-F238E27FC236}">
                <a16:creationId xmlns:a16="http://schemas.microsoft.com/office/drawing/2014/main" id="{06183F92-EF9C-4316-A86E-AFF9563729E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4768" y="349518"/>
            <a:ext cx="917217" cy="550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589312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7_Layout Personaliza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14">
            <a:extLst>
              <a:ext uri="{FF2B5EF4-FFF2-40B4-BE49-F238E27FC236}">
                <a16:creationId xmlns:a16="http://schemas.microsoft.com/office/drawing/2014/main" id="{87C1E618-D4D2-4B77-8C28-1E154D4FF570}"/>
              </a:ext>
            </a:extLst>
          </p:cNvPr>
          <p:cNvSpPr/>
          <p:nvPr/>
        </p:nvSpPr>
        <p:spPr>
          <a:xfrm>
            <a:off x="0" y="6476492"/>
            <a:ext cx="12192000" cy="39340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  <p:pic>
        <p:nvPicPr>
          <p:cNvPr id="16" name="Imagem 15">
            <a:extLst>
              <a:ext uri="{FF2B5EF4-FFF2-40B4-BE49-F238E27FC236}">
                <a16:creationId xmlns:a16="http://schemas.microsoft.com/office/drawing/2014/main" id="{75C8D076-07E4-4954-88F1-E9575BEE144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66554" y="6598125"/>
            <a:ext cx="569027" cy="270509"/>
          </a:xfrm>
          <a:prstGeom prst="rect">
            <a:avLst/>
          </a:prstGeom>
        </p:spPr>
      </p:pic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C4E52588-D050-4CEA-99D1-A5E17E31E7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8886" y="6587490"/>
            <a:ext cx="556697" cy="27051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B06766-DC36-4174-9907-BEF22DE810EF}" type="slidenum">
              <a:rPr lang="pt-BR" smtClean="0"/>
              <a:pPr/>
              <a:t>‹nº›</a:t>
            </a:fld>
            <a:r>
              <a:rPr lang="pt-BR"/>
              <a:t> </a:t>
            </a:r>
            <a:endParaRPr lang="pt-BR" dirty="0"/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BD835E13-142B-434C-B4B3-4E55447B56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06286" y="418685"/>
            <a:ext cx="7962664" cy="47771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título para apresentação 24 </a:t>
            </a:r>
            <a:r>
              <a:rPr lang="pt-BR" dirty="0" err="1"/>
              <a:t>pt</a:t>
            </a:r>
            <a:endParaRPr lang="pt-BR" dirty="0"/>
          </a:p>
        </p:txBody>
      </p:sp>
      <p:sp>
        <p:nvSpPr>
          <p:cNvPr id="5" name="Espaço Reservado para Texto 5">
            <a:extLst>
              <a:ext uri="{FF2B5EF4-FFF2-40B4-BE49-F238E27FC236}">
                <a16:creationId xmlns:a16="http://schemas.microsoft.com/office/drawing/2014/main" id="{313A2141-6257-4C36-BB98-8C4E71AB12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2397" y="1253969"/>
            <a:ext cx="10567208" cy="742950"/>
          </a:xfrm>
        </p:spPr>
        <p:txBody>
          <a:bodyPr lIns="0" tIns="0" rIns="0" bIns="0" anchor="ctr" anchorCtr="0"/>
          <a:lstStyle>
            <a:lvl1pPr marL="0" indent="0" algn="ctr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pt-BR" dirty="0"/>
              <a:t>“Espaço para citação 14pt </a:t>
            </a:r>
            <a:r>
              <a:rPr lang="pt-BR" dirty="0" err="1"/>
              <a:t>bold</a:t>
            </a:r>
            <a:r>
              <a:rPr lang="pt-BR" dirty="0"/>
              <a:t>”</a:t>
            </a:r>
          </a:p>
        </p:txBody>
      </p:sp>
      <p:sp>
        <p:nvSpPr>
          <p:cNvPr id="6" name="Espaço Reservado para Imagem 7">
            <a:extLst>
              <a:ext uri="{FF2B5EF4-FFF2-40B4-BE49-F238E27FC236}">
                <a16:creationId xmlns:a16="http://schemas.microsoft.com/office/drawing/2014/main" id="{DC1C0AB6-6DD5-4A1A-9079-635527C864D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12398" y="2350611"/>
            <a:ext cx="1110745" cy="1138057"/>
          </a:xfrm>
        </p:spPr>
        <p:txBody>
          <a:bodyPr anchor="ctr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BR" dirty="0"/>
              <a:t>Adicione um ícone</a:t>
            </a:r>
          </a:p>
        </p:txBody>
      </p:sp>
      <p:sp>
        <p:nvSpPr>
          <p:cNvPr id="7" name="Espaço Reservado para Imagem 7">
            <a:extLst>
              <a:ext uri="{FF2B5EF4-FFF2-40B4-BE49-F238E27FC236}">
                <a16:creationId xmlns:a16="http://schemas.microsoft.com/office/drawing/2014/main" id="{F287DB84-A24A-48CE-87C6-2DB4FDC6832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12398" y="5080185"/>
            <a:ext cx="1110745" cy="1138057"/>
          </a:xfrm>
        </p:spPr>
        <p:txBody>
          <a:bodyPr anchor="ctr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BR" dirty="0"/>
              <a:t>Adicione um ícone</a:t>
            </a:r>
          </a:p>
        </p:txBody>
      </p:sp>
      <p:sp>
        <p:nvSpPr>
          <p:cNvPr id="8" name="Espaço Reservado para Imagem 7">
            <a:extLst>
              <a:ext uri="{FF2B5EF4-FFF2-40B4-BE49-F238E27FC236}">
                <a16:creationId xmlns:a16="http://schemas.microsoft.com/office/drawing/2014/main" id="{666F9676-633E-4AED-B500-22BEA93F25D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12398" y="3733270"/>
            <a:ext cx="1110745" cy="1138057"/>
          </a:xfrm>
        </p:spPr>
        <p:txBody>
          <a:bodyPr anchor="ctr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pt-BR" dirty="0"/>
              <a:t>Adicione um ícone</a:t>
            </a:r>
          </a:p>
        </p:txBody>
      </p:sp>
      <p:sp>
        <p:nvSpPr>
          <p:cNvPr id="9" name="Espaço Reservado para Texto 11">
            <a:extLst>
              <a:ext uri="{FF2B5EF4-FFF2-40B4-BE49-F238E27FC236}">
                <a16:creationId xmlns:a16="http://schemas.microsoft.com/office/drawing/2014/main" id="{685BE90E-D77D-4CDD-8822-FE81B7CBF4E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40858" y="2350611"/>
            <a:ext cx="4269619" cy="1138057"/>
          </a:xfrm>
        </p:spPr>
        <p:txBody>
          <a:bodyPr lIns="0" tIns="0" rIns="0" bIns="0" anchor="ctr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143"/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Texto corrido 12pt</a:t>
            </a:r>
          </a:p>
        </p:txBody>
      </p:sp>
      <p:sp>
        <p:nvSpPr>
          <p:cNvPr id="10" name="Espaço Reservado para Texto 11">
            <a:extLst>
              <a:ext uri="{FF2B5EF4-FFF2-40B4-BE49-F238E27FC236}">
                <a16:creationId xmlns:a16="http://schemas.microsoft.com/office/drawing/2014/main" id="{66DAD74B-A9B9-4611-8FEC-7EC65C3B7E4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140858" y="3733270"/>
            <a:ext cx="4269619" cy="1138057"/>
          </a:xfrm>
        </p:spPr>
        <p:txBody>
          <a:bodyPr lIns="0" tIns="0" rIns="0" bIns="0" anchor="ctr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143"/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Texto corrido 12pt</a:t>
            </a:r>
          </a:p>
        </p:txBody>
      </p:sp>
      <p:sp>
        <p:nvSpPr>
          <p:cNvPr id="11" name="Espaço Reservado para Texto 11">
            <a:extLst>
              <a:ext uri="{FF2B5EF4-FFF2-40B4-BE49-F238E27FC236}">
                <a16:creationId xmlns:a16="http://schemas.microsoft.com/office/drawing/2014/main" id="{AA55EA0D-0EF1-4A1C-84D6-5B587687EF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140858" y="5080184"/>
            <a:ext cx="4269619" cy="1138057"/>
          </a:xfrm>
        </p:spPr>
        <p:txBody>
          <a:bodyPr lIns="0" tIns="0" rIns="0" bIns="0" anchor="ctr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143"/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Texto corrido 12pt</a:t>
            </a:r>
          </a:p>
        </p:txBody>
      </p:sp>
      <p:sp>
        <p:nvSpPr>
          <p:cNvPr id="12" name="Espaço Reservado para Conteúdo 15">
            <a:extLst>
              <a:ext uri="{FF2B5EF4-FFF2-40B4-BE49-F238E27FC236}">
                <a16:creationId xmlns:a16="http://schemas.microsoft.com/office/drawing/2014/main" id="{91323887-997D-4839-B7FB-8B2E27541D1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791337" y="2350611"/>
            <a:ext cx="4588270" cy="3867628"/>
          </a:xfrm>
        </p:spPr>
        <p:txBody>
          <a:bodyPr anchor="ctr" anchorCtr="1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048">
                <a:solidFill>
                  <a:schemeClr val="accent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Adicione um gráfico, tabela ou imagem.</a:t>
            </a:r>
          </a:p>
        </p:txBody>
      </p:sp>
      <p:pic>
        <p:nvPicPr>
          <p:cNvPr id="13" name="Imagem 12" descr="Uma imagem contendo edifício, ponte, luz&#10;&#10;Descrição gerada automaticamente">
            <a:extLst>
              <a:ext uri="{FF2B5EF4-FFF2-40B4-BE49-F238E27FC236}">
                <a16:creationId xmlns:a16="http://schemas.microsoft.com/office/drawing/2014/main" id="{A082083A-4FB1-4D33-BD87-30591A0E107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1716" y="371131"/>
            <a:ext cx="431743" cy="495600"/>
          </a:xfrm>
          <a:prstGeom prst="rect">
            <a:avLst/>
          </a:prstGeom>
        </p:spPr>
      </p:pic>
      <p:pic>
        <p:nvPicPr>
          <p:cNvPr id="19" name="Imagem 18" descr="Uma imagem contendo edifício, ponte, luz&#10;&#10;Descrição gerada automaticamente">
            <a:extLst>
              <a:ext uri="{FF2B5EF4-FFF2-40B4-BE49-F238E27FC236}">
                <a16:creationId xmlns:a16="http://schemas.microsoft.com/office/drawing/2014/main" id="{21F7A227-E51C-480E-B9B2-9898881C034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1716" y="371131"/>
            <a:ext cx="431743" cy="495600"/>
          </a:xfrm>
          <a:prstGeom prst="rect">
            <a:avLst/>
          </a:prstGeom>
        </p:spPr>
      </p:pic>
      <p:pic>
        <p:nvPicPr>
          <p:cNvPr id="21" name="Imagem 20" descr="Desenho de um cachorro&#10;&#10;Descrição gerada automaticamente com confiança média">
            <a:extLst>
              <a:ext uri="{FF2B5EF4-FFF2-40B4-BE49-F238E27FC236}">
                <a16:creationId xmlns:a16="http://schemas.microsoft.com/office/drawing/2014/main" id="{47A93812-DC43-4A29-9189-972E5CB50B0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7327" y="126218"/>
            <a:ext cx="1187276" cy="883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940763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0_Layout Personaliza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m 14" descr="Uma imagem contendo pássaro&#10;&#10;Descrição gerada automaticamente">
            <a:extLst>
              <a:ext uri="{FF2B5EF4-FFF2-40B4-BE49-F238E27FC236}">
                <a16:creationId xmlns:a16="http://schemas.microsoft.com/office/drawing/2014/main" id="{117F8E27-02D0-48B7-9B00-ACE3D7B6B99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0395515" cy="1276680"/>
          </a:xfrm>
          <a:prstGeom prst="rect">
            <a:avLst/>
          </a:prstGeom>
        </p:spPr>
      </p:pic>
      <p:sp>
        <p:nvSpPr>
          <p:cNvPr id="25" name="Retângulo 24">
            <a:extLst>
              <a:ext uri="{FF2B5EF4-FFF2-40B4-BE49-F238E27FC236}">
                <a16:creationId xmlns:a16="http://schemas.microsoft.com/office/drawing/2014/main" id="{B0D7E1B6-6F4D-4F64-9FB0-47B5297AC4CB}"/>
              </a:ext>
            </a:extLst>
          </p:cNvPr>
          <p:cNvSpPr/>
          <p:nvPr/>
        </p:nvSpPr>
        <p:spPr>
          <a:xfrm>
            <a:off x="0" y="6462844"/>
            <a:ext cx="12192000" cy="39340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  <p:pic>
        <p:nvPicPr>
          <p:cNvPr id="26" name="Imagem 25">
            <a:extLst>
              <a:ext uri="{FF2B5EF4-FFF2-40B4-BE49-F238E27FC236}">
                <a16:creationId xmlns:a16="http://schemas.microsoft.com/office/drawing/2014/main" id="{09074E70-1CA7-45D5-A316-814C5125DFA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66554" y="6587492"/>
            <a:ext cx="569027" cy="270509"/>
          </a:xfrm>
          <a:prstGeom prst="rect">
            <a:avLst/>
          </a:prstGeom>
        </p:spPr>
      </p:pic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2CB81207-A865-48AB-BB9B-A1CFB11A7D9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B06766-DC36-4174-9907-BEF22DE810EF}" type="slidenum">
              <a:rPr lang="pt-BR" smtClean="0"/>
              <a:pPr/>
              <a:t>‹nº›</a:t>
            </a:fld>
            <a:r>
              <a:rPr lang="pt-BR"/>
              <a:t> </a:t>
            </a:r>
            <a:endParaRPr lang="pt-BR" dirty="0"/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EE992AAB-2D7A-45E4-A85B-F00557F582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8007" y="384178"/>
            <a:ext cx="8450943" cy="253997"/>
          </a:xfrm>
        </p:spPr>
        <p:txBody>
          <a:bodyPr>
            <a:normAutofit/>
          </a:bodyPr>
          <a:lstStyle>
            <a:lvl1pPr>
              <a:defRPr sz="1714"/>
            </a:lvl1pPr>
          </a:lstStyle>
          <a:p>
            <a:r>
              <a:rPr lang="pt-BR" dirty="0"/>
              <a:t>Título do slide 18pt </a:t>
            </a:r>
            <a:r>
              <a:rPr lang="pt-BR" dirty="0" err="1"/>
              <a:t>bold</a:t>
            </a:r>
            <a:endParaRPr lang="pt-BR" dirty="0"/>
          </a:p>
        </p:txBody>
      </p:sp>
      <p:sp>
        <p:nvSpPr>
          <p:cNvPr id="10" name="Espaço Reservado para Conteúdo 15">
            <a:extLst>
              <a:ext uri="{FF2B5EF4-FFF2-40B4-BE49-F238E27FC236}">
                <a16:creationId xmlns:a16="http://schemas.microsoft.com/office/drawing/2014/main" id="{4F6D3BE8-7A7F-42C3-ABE5-6FAB67DFED48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664477" y="4552950"/>
            <a:ext cx="4702079" cy="1666874"/>
          </a:xfrm>
        </p:spPr>
        <p:txBody>
          <a:bodyPr anchor="ctr" anchorCtr="1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048">
                <a:solidFill>
                  <a:schemeClr val="accent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Adicione um gráfico, tabela ou imagem.</a:t>
            </a:r>
          </a:p>
        </p:txBody>
      </p:sp>
      <p:sp>
        <p:nvSpPr>
          <p:cNvPr id="11" name="Espaço Reservado para Conteúdo 15">
            <a:extLst>
              <a:ext uri="{FF2B5EF4-FFF2-40B4-BE49-F238E27FC236}">
                <a16:creationId xmlns:a16="http://schemas.microsoft.com/office/drawing/2014/main" id="{01084CC8-D942-4CE3-8D7E-A2C07ECF8D18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825449" y="4552950"/>
            <a:ext cx="4702079" cy="1666874"/>
          </a:xfrm>
        </p:spPr>
        <p:txBody>
          <a:bodyPr anchor="ctr" anchorCtr="1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048">
                <a:solidFill>
                  <a:schemeClr val="accent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Adicione um gráfico, tabela ou imagem.</a:t>
            </a:r>
          </a:p>
        </p:txBody>
      </p:sp>
      <p:sp>
        <p:nvSpPr>
          <p:cNvPr id="12" name="Espaço Reservado para Conteúdo 15">
            <a:extLst>
              <a:ext uri="{FF2B5EF4-FFF2-40B4-BE49-F238E27FC236}">
                <a16:creationId xmlns:a16="http://schemas.microsoft.com/office/drawing/2014/main" id="{9E766386-7520-4951-A09D-9245DF8255B9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664477" y="1911987"/>
            <a:ext cx="4702079" cy="1666874"/>
          </a:xfrm>
        </p:spPr>
        <p:txBody>
          <a:bodyPr anchor="ctr" anchorCtr="1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048">
                <a:solidFill>
                  <a:schemeClr val="accent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Adicione um gráfico, tabela ou imagem.</a:t>
            </a:r>
          </a:p>
        </p:txBody>
      </p:sp>
      <p:sp>
        <p:nvSpPr>
          <p:cNvPr id="13" name="Espaço Reservado para Conteúdo 15">
            <a:extLst>
              <a:ext uri="{FF2B5EF4-FFF2-40B4-BE49-F238E27FC236}">
                <a16:creationId xmlns:a16="http://schemas.microsoft.com/office/drawing/2014/main" id="{4C6D78B3-7046-44A5-A6E8-5B68F64D21CD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25449" y="1911987"/>
            <a:ext cx="4702079" cy="1666874"/>
          </a:xfrm>
        </p:spPr>
        <p:txBody>
          <a:bodyPr anchor="ctr" anchorCtr="1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048">
                <a:solidFill>
                  <a:schemeClr val="accent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Adicione um gráfico, tabela ou imagem.</a:t>
            </a:r>
          </a:p>
        </p:txBody>
      </p:sp>
      <p:sp>
        <p:nvSpPr>
          <p:cNvPr id="14" name="Espaço Reservado para Texto 9">
            <a:extLst>
              <a:ext uri="{FF2B5EF4-FFF2-40B4-BE49-F238E27FC236}">
                <a16:creationId xmlns:a16="http://schemas.microsoft.com/office/drawing/2014/main" id="{27371D5B-FD28-4EF9-991D-E33D29C45DA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2398" y="673895"/>
            <a:ext cx="6692698" cy="233362"/>
          </a:xfrm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143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/>
              <a:t>Adicione um subtítulo para apresentação 12pt</a:t>
            </a:r>
          </a:p>
        </p:txBody>
      </p:sp>
      <p:sp>
        <p:nvSpPr>
          <p:cNvPr id="20" name="Espaço Reservado para Texto 9">
            <a:extLst>
              <a:ext uri="{FF2B5EF4-FFF2-40B4-BE49-F238E27FC236}">
                <a16:creationId xmlns:a16="http://schemas.microsoft.com/office/drawing/2014/main" id="{8A878336-43FA-4E0C-BD3C-8F0D02CD0AC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73512" y="1426575"/>
            <a:ext cx="4454017" cy="233362"/>
          </a:xfrm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524" b="1">
                <a:solidFill>
                  <a:schemeClr val="tx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/>
              <a:t>Titulo do gráfico 16 </a:t>
            </a:r>
            <a:r>
              <a:rPr lang="pt-BR" dirty="0" err="1"/>
              <a:t>pt</a:t>
            </a:r>
            <a:r>
              <a:rPr lang="pt-BR" dirty="0"/>
              <a:t> </a:t>
            </a:r>
            <a:r>
              <a:rPr lang="pt-BR" dirty="0" err="1"/>
              <a:t>bold</a:t>
            </a:r>
            <a:endParaRPr lang="pt-BR" dirty="0"/>
          </a:p>
        </p:txBody>
      </p:sp>
      <p:sp>
        <p:nvSpPr>
          <p:cNvPr id="21" name="Espaço Reservado para Texto 9">
            <a:extLst>
              <a:ext uri="{FF2B5EF4-FFF2-40B4-BE49-F238E27FC236}">
                <a16:creationId xmlns:a16="http://schemas.microsoft.com/office/drawing/2014/main" id="{31470554-1936-4C33-AA94-9F44AC5D04F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675" y="1426575"/>
            <a:ext cx="4368210" cy="233362"/>
          </a:xfrm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524" b="1">
                <a:solidFill>
                  <a:schemeClr val="tx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/>
              <a:t>Titulo do gráfico 16 </a:t>
            </a:r>
            <a:r>
              <a:rPr lang="pt-BR" dirty="0" err="1"/>
              <a:t>pt</a:t>
            </a:r>
            <a:r>
              <a:rPr lang="pt-BR" dirty="0"/>
              <a:t> </a:t>
            </a:r>
            <a:r>
              <a:rPr lang="pt-BR" dirty="0" err="1"/>
              <a:t>bold</a:t>
            </a:r>
            <a:endParaRPr lang="pt-BR" dirty="0"/>
          </a:p>
        </p:txBody>
      </p:sp>
      <p:sp>
        <p:nvSpPr>
          <p:cNvPr id="22" name="Espaço Reservado para Texto 9">
            <a:extLst>
              <a:ext uri="{FF2B5EF4-FFF2-40B4-BE49-F238E27FC236}">
                <a16:creationId xmlns:a16="http://schemas.microsoft.com/office/drawing/2014/main" id="{0CF0D194-9755-4698-AC9A-E1BB5CE0F6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73512" y="4053829"/>
            <a:ext cx="4454017" cy="233362"/>
          </a:xfrm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524" b="1">
                <a:solidFill>
                  <a:schemeClr val="tx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/>
              <a:t>Titulo do gráfico 16 </a:t>
            </a:r>
            <a:r>
              <a:rPr lang="pt-BR" dirty="0" err="1"/>
              <a:t>pt</a:t>
            </a:r>
            <a:r>
              <a:rPr lang="pt-BR" dirty="0"/>
              <a:t> </a:t>
            </a:r>
            <a:r>
              <a:rPr lang="pt-BR" dirty="0" err="1"/>
              <a:t>bold</a:t>
            </a:r>
            <a:endParaRPr lang="pt-BR" dirty="0"/>
          </a:p>
        </p:txBody>
      </p:sp>
      <p:sp>
        <p:nvSpPr>
          <p:cNvPr id="23" name="Espaço Reservado para Texto 9">
            <a:extLst>
              <a:ext uri="{FF2B5EF4-FFF2-40B4-BE49-F238E27FC236}">
                <a16:creationId xmlns:a16="http://schemas.microsoft.com/office/drawing/2014/main" id="{477E3DD2-35B5-4A4B-995F-2C4BDBB08FB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010675" y="4053829"/>
            <a:ext cx="4368210" cy="233362"/>
          </a:xfrm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524" b="1">
                <a:solidFill>
                  <a:schemeClr val="tx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/>
              <a:t>Titulo do gráfico 16 </a:t>
            </a:r>
            <a:r>
              <a:rPr lang="pt-BR" dirty="0" err="1"/>
              <a:t>pt</a:t>
            </a:r>
            <a:r>
              <a:rPr lang="pt-BR" dirty="0"/>
              <a:t> </a:t>
            </a:r>
            <a:r>
              <a:rPr lang="pt-BR" dirty="0" err="1"/>
              <a:t>bold</a:t>
            </a:r>
            <a:endParaRPr lang="pt-BR" dirty="0"/>
          </a:p>
        </p:txBody>
      </p:sp>
      <p:pic>
        <p:nvPicPr>
          <p:cNvPr id="16" name="Imagem 15" descr="Uma imagem contendo desenho, placar&#10;&#10;Descrição gerada automaticamente">
            <a:extLst>
              <a:ext uri="{FF2B5EF4-FFF2-40B4-BE49-F238E27FC236}">
                <a16:creationId xmlns:a16="http://schemas.microsoft.com/office/drawing/2014/main" id="{203672C4-0A54-4303-96AF-567477C198B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0286" y="348210"/>
            <a:ext cx="919368" cy="552052"/>
          </a:xfrm>
          <a:prstGeom prst="rect">
            <a:avLst/>
          </a:prstGeom>
        </p:spPr>
      </p:pic>
      <p:pic>
        <p:nvPicPr>
          <p:cNvPr id="17" name="Imagem 16" descr="Uma imagem contendo edifício, ponte, luz&#10;&#10;Descrição gerada automaticamente">
            <a:extLst>
              <a:ext uri="{FF2B5EF4-FFF2-40B4-BE49-F238E27FC236}">
                <a16:creationId xmlns:a16="http://schemas.microsoft.com/office/drawing/2014/main" id="{76DB57C3-9483-4D3A-8010-F3D625322AF7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2397" y="1426575"/>
            <a:ext cx="215872" cy="247800"/>
          </a:xfrm>
          <a:prstGeom prst="rect">
            <a:avLst/>
          </a:prstGeom>
        </p:spPr>
      </p:pic>
      <p:pic>
        <p:nvPicPr>
          <p:cNvPr id="18" name="Imagem 17" descr="Uma imagem contendo edifício, ponte, luz&#10;&#10;Descrição gerada automaticamente">
            <a:extLst>
              <a:ext uri="{FF2B5EF4-FFF2-40B4-BE49-F238E27FC236}">
                <a16:creationId xmlns:a16="http://schemas.microsoft.com/office/drawing/2014/main" id="{91F6C76A-7B1E-4E46-960B-748AC43485F0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04981" y="1433399"/>
            <a:ext cx="215872" cy="247800"/>
          </a:xfrm>
          <a:prstGeom prst="rect">
            <a:avLst/>
          </a:prstGeom>
        </p:spPr>
      </p:pic>
      <p:pic>
        <p:nvPicPr>
          <p:cNvPr id="19" name="Imagem 18" descr="Uma imagem contendo edifício, ponte, luz&#10;&#10;Descrição gerada automaticamente">
            <a:extLst>
              <a:ext uri="{FF2B5EF4-FFF2-40B4-BE49-F238E27FC236}">
                <a16:creationId xmlns:a16="http://schemas.microsoft.com/office/drawing/2014/main" id="{4EDF286D-ED4B-40A1-8CEC-9E951623AF44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04981" y="4071216"/>
            <a:ext cx="215872" cy="247800"/>
          </a:xfrm>
          <a:prstGeom prst="rect">
            <a:avLst/>
          </a:prstGeom>
        </p:spPr>
      </p:pic>
      <p:pic>
        <p:nvPicPr>
          <p:cNvPr id="24" name="Imagem 23" descr="Uma imagem contendo edifício, ponte, luz&#10;&#10;Descrição gerada automaticamente">
            <a:extLst>
              <a:ext uri="{FF2B5EF4-FFF2-40B4-BE49-F238E27FC236}">
                <a16:creationId xmlns:a16="http://schemas.microsoft.com/office/drawing/2014/main" id="{09076F0A-876E-4AFC-B8BB-64450D98B999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256" y="4071216"/>
            <a:ext cx="215872" cy="247800"/>
          </a:xfrm>
          <a:prstGeom prst="rect">
            <a:avLst/>
          </a:prstGeom>
        </p:spPr>
      </p:pic>
      <p:cxnSp>
        <p:nvCxnSpPr>
          <p:cNvPr id="5" name="Conector reto 4">
            <a:extLst>
              <a:ext uri="{FF2B5EF4-FFF2-40B4-BE49-F238E27FC236}">
                <a16:creationId xmlns:a16="http://schemas.microsoft.com/office/drawing/2014/main" id="{465264B8-7112-4D2B-8868-EDF2F9F0A57B}"/>
              </a:ext>
            </a:extLst>
          </p:cNvPr>
          <p:cNvCxnSpPr/>
          <p:nvPr/>
        </p:nvCxnSpPr>
        <p:spPr>
          <a:xfrm>
            <a:off x="6096000" y="1433400"/>
            <a:ext cx="0" cy="4786425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27" name="Imagem 26" descr="Uma imagem contendo pássaro&#10;&#10;Descrição gerada automaticamente">
            <a:extLst>
              <a:ext uri="{FF2B5EF4-FFF2-40B4-BE49-F238E27FC236}">
                <a16:creationId xmlns:a16="http://schemas.microsoft.com/office/drawing/2014/main" id="{6EE60A77-7FC1-4B66-8AD7-7E7C2B78AF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0395515" cy="1276680"/>
          </a:xfrm>
          <a:prstGeom prst="rect">
            <a:avLst/>
          </a:prstGeom>
        </p:spPr>
      </p:pic>
      <p:sp>
        <p:nvSpPr>
          <p:cNvPr id="28" name="Retângulo 27">
            <a:extLst>
              <a:ext uri="{FF2B5EF4-FFF2-40B4-BE49-F238E27FC236}">
                <a16:creationId xmlns:a16="http://schemas.microsoft.com/office/drawing/2014/main" id="{CEC6B7FF-B513-4B04-8923-B1A08B8CE823}"/>
              </a:ext>
            </a:extLst>
          </p:cNvPr>
          <p:cNvSpPr/>
          <p:nvPr userDrawn="1"/>
        </p:nvSpPr>
        <p:spPr>
          <a:xfrm>
            <a:off x="0" y="6462844"/>
            <a:ext cx="12192000" cy="39340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  <p:pic>
        <p:nvPicPr>
          <p:cNvPr id="29" name="Imagem 28">
            <a:extLst>
              <a:ext uri="{FF2B5EF4-FFF2-40B4-BE49-F238E27FC236}">
                <a16:creationId xmlns:a16="http://schemas.microsoft.com/office/drawing/2014/main" id="{763F3EE8-6F1B-46D8-8264-EE487AAE0F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66554" y="6587492"/>
            <a:ext cx="569027" cy="270509"/>
          </a:xfrm>
          <a:prstGeom prst="rect">
            <a:avLst/>
          </a:prstGeom>
        </p:spPr>
      </p:pic>
      <p:pic>
        <p:nvPicPr>
          <p:cNvPr id="30" name="Imagem 29" descr="Uma imagem contendo desenho, placar&#10;&#10;Descrição gerada automaticamente">
            <a:extLst>
              <a:ext uri="{FF2B5EF4-FFF2-40B4-BE49-F238E27FC236}">
                <a16:creationId xmlns:a16="http://schemas.microsoft.com/office/drawing/2014/main" id="{55BF0B9F-E843-46B4-80CB-D3ACAC3C08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0286" y="348210"/>
            <a:ext cx="919368" cy="552052"/>
          </a:xfrm>
          <a:prstGeom prst="rect">
            <a:avLst/>
          </a:prstGeom>
        </p:spPr>
      </p:pic>
      <p:pic>
        <p:nvPicPr>
          <p:cNvPr id="31" name="Imagem 30" descr="Uma imagem contendo edifício, ponte, luz&#10;&#10;Descrição gerada automaticamente">
            <a:extLst>
              <a:ext uri="{FF2B5EF4-FFF2-40B4-BE49-F238E27FC236}">
                <a16:creationId xmlns:a16="http://schemas.microsoft.com/office/drawing/2014/main" id="{B4CA296B-F06A-4D30-95ED-3F5B57CD2B3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2397" y="1426575"/>
            <a:ext cx="215872" cy="247800"/>
          </a:xfrm>
          <a:prstGeom prst="rect">
            <a:avLst/>
          </a:prstGeom>
        </p:spPr>
      </p:pic>
      <p:pic>
        <p:nvPicPr>
          <p:cNvPr id="32" name="Imagem 31" descr="Uma imagem contendo edifício, ponte, luz&#10;&#10;Descrição gerada automaticamente">
            <a:extLst>
              <a:ext uri="{FF2B5EF4-FFF2-40B4-BE49-F238E27FC236}">
                <a16:creationId xmlns:a16="http://schemas.microsoft.com/office/drawing/2014/main" id="{396B4A29-4030-46C2-90DD-DD350110198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04981" y="1433399"/>
            <a:ext cx="215872" cy="247800"/>
          </a:xfrm>
          <a:prstGeom prst="rect">
            <a:avLst/>
          </a:prstGeom>
        </p:spPr>
      </p:pic>
      <p:pic>
        <p:nvPicPr>
          <p:cNvPr id="33" name="Imagem 32" descr="Uma imagem contendo edifício, ponte, luz&#10;&#10;Descrição gerada automaticamente">
            <a:extLst>
              <a:ext uri="{FF2B5EF4-FFF2-40B4-BE49-F238E27FC236}">
                <a16:creationId xmlns:a16="http://schemas.microsoft.com/office/drawing/2014/main" id="{5AF453E7-6F37-400E-B764-EE3C23D84D2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04981" y="4071216"/>
            <a:ext cx="215872" cy="247800"/>
          </a:xfrm>
          <a:prstGeom prst="rect">
            <a:avLst/>
          </a:prstGeom>
        </p:spPr>
      </p:pic>
      <p:pic>
        <p:nvPicPr>
          <p:cNvPr id="34" name="Imagem 33" descr="Uma imagem contendo edifício, ponte, luz&#10;&#10;Descrição gerada automaticamente">
            <a:extLst>
              <a:ext uri="{FF2B5EF4-FFF2-40B4-BE49-F238E27FC236}">
                <a16:creationId xmlns:a16="http://schemas.microsoft.com/office/drawing/2014/main" id="{5B73CC35-FBAF-4064-A182-46E3251B4AA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256" y="4071216"/>
            <a:ext cx="215872" cy="247800"/>
          </a:xfrm>
          <a:prstGeom prst="rect">
            <a:avLst/>
          </a:prstGeom>
        </p:spPr>
      </p:pic>
      <p:cxnSp>
        <p:nvCxnSpPr>
          <p:cNvPr id="35" name="Conector reto 34">
            <a:extLst>
              <a:ext uri="{FF2B5EF4-FFF2-40B4-BE49-F238E27FC236}">
                <a16:creationId xmlns:a16="http://schemas.microsoft.com/office/drawing/2014/main" id="{8AD477DF-2762-4762-9811-743BE11B0AA5}"/>
              </a:ext>
            </a:extLst>
          </p:cNvPr>
          <p:cNvCxnSpPr/>
          <p:nvPr userDrawn="1"/>
        </p:nvCxnSpPr>
        <p:spPr>
          <a:xfrm>
            <a:off x="6096000" y="1433400"/>
            <a:ext cx="0" cy="4786425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16386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Layout Personaliza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id="{B2C5BBB7-FB70-4DD4-AF00-30FBFE6DAB76}"/>
              </a:ext>
            </a:extLst>
          </p:cNvPr>
          <p:cNvSpPr/>
          <p:nvPr userDrawn="1"/>
        </p:nvSpPr>
        <p:spPr>
          <a:xfrm>
            <a:off x="1" y="5269424"/>
            <a:ext cx="12192000" cy="158857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latin typeface="Roboto" panose="02000000000000000000" pitchFamily="2" charset="0"/>
            </a:endParaRPr>
          </a:p>
        </p:txBody>
      </p:sp>
      <p:sp>
        <p:nvSpPr>
          <p:cNvPr id="4" name="Título 6">
            <a:extLst>
              <a:ext uri="{FF2B5EF4-FFF2-40B4-BE49-F238E27FC236}">
                <a16:creationId xmlns:a16="http://schemas.microsoft.com/office/drawing/2014/main" id="{59725272-59A0-4F94-B753-C39B584191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3983" y="5511262"/>
            <a:ext cx="6848475" cy="857249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 dirty="0"/>
              <a:t>Título do capítulo 24pt </a:t>
            </a:r>
            <a:r>
              <a:rPr lang="pt-BR" dirty="0" err="1"/>
              <a:t>bold</a:t>
            </a:r>
            <a:endParaRPr lang="pt-BR" dirty="0"/>
          </a:p>
        </p:txBody>
      </p:sp>
      <p:sp>
        <p:nvSpPr>
          <p:cNvPr id="5" name="Espaço Reservado para Texto 6">
            <a:extLst>
              <a:ext uri="{FF2B5EF4-FFF2-40B4-BE49-F238E27FC236}">
                <a16:creationId xmlns:a16="http://schemas.microsoft.com/office/drawing/2014/main" id="{02474EFB-8A4E-440D-B5B9-943FCAD26B2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93984" y="6454237"/>
            <a:ext cx="6848475" cy="152400"/>
          </a:xfrm>
        </p:spPr>
        <p:txBody>
          <a:bodyPr lIns="0" tIns="0" rIns="0" bIns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accent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Descritivo do capítulo 12pt</a:t>
            </a:r>
          </a:p>
        </p:txBody>
      </p:sp>
      <p:sp>
        <p:nvSpPr>
          <p:cNvPr id="6" name="Espaço Reservado para Imagem 2">
            <a:extLst>
              <a:ext uri="{FF2B5EF4-FFF2-40B4-BE49-F238E27FC236}">
                <a16:creationId xmlns:a16="http://schemas.microsoft.com/office/drawing/2014/main" id="{AB4AAF84-685A-4D6A-BA7B-D729E0142A0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5269424"/>
          </a:xfrm>
          <a:solidFill>
            <a:srgbClr val="CC2362">
              <a:alpha val="20000"/>
            </a:srgbClr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accent2"/>
                </a:solidFill>
              </a:defRPr>
            </a:lvl1pPr>
          </a:lstStyle>
          <a:p>
            <a:endParaRPr lang="pt-BR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1583F35A-D8E1-48EB-9B9D-B7963F2161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06281" y="5629275"/>
            <a:ext cx="1212298" cy="876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320855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Personaliza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Uma imagem contendo edifício, ponte, luz&#10;&#10;Descrição gerada automaticamente">
            <a:extLst>
              <a:ext uri="{FF2B5EF4-FFF2-40B4-BE49-F238E27FC236}">
                <a16:creationId xmlns:a16="http://schemas.microsoft.com/office/drawing/2014/main" id="{20DFB65F-EF11-4621-AB56-38C8641A41D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51549" y="3148395"/>
            <a:ext cx="488902" cy="561210"/>
          </a:xfrm>
          <a:prstGeom prst="rect">
            <a:avLst/>
          </a:prstGeom>
        </p:spPr>
      </p:pic>
      <p:pic>
        <p:nvPicPr>
          <p:cNvPr id="3" name="Imagem 2" descr="Uma imagem contendo edifício, ponte, luz&#10;&#10;Descrição gerada automaticamente">
            <a:extLst>
              <a:ext uri="{FF2B5EF4-FFF2-40B4-BE49-F238E27FC236}">
                <a16:creationId xmlns:a16="http://schemas.microsoft.com/office/drawing/2014/main" id="{1EAF263B-3BDC-41E3-B90C-801C2D1FF15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51549" y="3148395"/>
            <a:ext cx="488902" cy="561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656467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Layout Personaliza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58826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Layout Personaliza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tângulo 18">
            <a:extLst>
              <a:ext uri="{FF2B5EF4-FFF2-40B4-BE49-F238E27FC236}">
                <a16:creationId xmlns:a16="http://schemas.microsoft.com/office/drawing/2014/main" id="{7124CFB2-90D3-45CD-B48A-5D63AE601D6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AFA7A4E-50D2-40E4-B39C-CBB6B0A713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8866" y="3105150"/>
            <a:ext cx="7150020" cy="471364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7" name="Espaço Reservado para Texto 9">
            <a:extLst>
              <a:ext uri="{FF2B5EF4-FFF2-40B4-BE49-F238E27FC236}">
                <a16:creationId xmlns:a16="http://schemas.microsoft.com/office/drawing/2014/main" id="{827BA6D1-BC3F-4661-97F1-D407BDF2DEA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28865" y="3595564"/>
            <a:ext cx="6692698" cy="233362"/>
          </a:xfrm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143">
                <a:solidFill>
                  <a:schemeClr val="accent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143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/>
              <a:t>Adicione um data para apresentação 12pt</a:t>
            </a:r>
          </a:p>
        </p:txBody>
      </p:sp>
      <p:pic>
        <p:nvPicPr>
          <p:cNvPr id="16" name="Imagem 15" descr="Foto em preto e branco&#10;&#10;Descrição gerada automaticamente">
            <a:extLst>
              <a:ext uri="{FF2B5EF4-FFF2-40B4-BE49-F238E27FC236}">
                <a16:creationId xmlns:a16="http://schemas.microsoft.com/office/drawing/2014/main" id="{827EBE4C-50ED-49CE-8CB4-77D65AF637B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3115" y="1228725"/>
            <a:ext cx="3837130" cy="4400550"/>
          </a:xfrm>
          <a:prstGeom prst="rect">
            <a:avLst/>
          </a:prstGeom>
        </p:spPr>
      </p:pic>
      <p:pic>
        <p:nvPicPr>
          <p:cNvPr id="18" name="Imagem 17">
            <a:extLst>
              <a:ext uri="{FF2B5EF4-FFF2-40B4-BE49-F238E27FC236}">
                <a16:creationId xmlns:a16="http://schemas.microsoft.com/office/drawing/2014/main" id="{C4FC3200-908C-42CB-98A1-047C78CCF31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1289" y="5720584"/>
            <a:ext cx="940330" cy="565917"/>
          </a:xfrm>
          <a:prstGeom prst="rect">
            <a:avLst/>
          </a:prstGeom>
        </p:spPr>
      </p:pic>
      <p:sp>
        <p:nvSpPr>
          <p:cNvPr id="8" name="Retângulo 7">
            <a:extLst>
              <a:ext uri="{FF2B5EF4-FFF2-40B4-BE49-F238E27FC236}">
                <a16:creationId xmlns:a16="http://schemas.microsoft.com/office/drawing/2014/main" id="{763209E8-FAC5-4EB4-AE81-7F7C77D59E1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  <p:pic>
        <p:nvPicPr>
          <p:cNvPr id="9" name="Imagem 8" descr="Foto em preto e branco&#10;&#10;Descrição gerada automaticamente">
            <a:extLst>
              <a:ext uri="{FF2B5EF4-FFF2-40B4-BE49-F238E27FC236}">
                <a16:creationId xmlns:a16="http://schemas.microsoft.com/office/drawing/2014/main" id="{B120AA44-4A93-46ED-ACE6-59A6FF40AE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3115" y="1228725"/>
            <a:ext cx="3837130" cy="4400550"/>
          </a:xfrm>
          <a:prstGeom prst="rect">
            <a:avLst/>
          </a:prstGeom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id="{8CBA49E8-5143-4758-8559-1E071C7F4E9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1289" y="5720584"/>
            <a:ext cx="940330" cy="565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99036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lide de Títul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Uma imagem contendo teclado, computador, laptop&#10;&#10;Descrição gerada automaticamente">
            <a:extLst>
              <a:ext uri="{FF2B5EF4-FFF2-40B4-BE49-F238E27FC236}">
                <a16:creationId xmlns:a16="http://schemas.microsoft.com/office/drawing/2014/main" id="{62134EBD-6152-4D20-B19D-A28F610B3E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16975"/>
            <a:ext cx="12617242" cy="7167966"/>
          </a:xfrm>
          <a:prstGeom prst="rect">
            <a:avLst/>
          </a:prstGeom>
        </p:spPr>
      </p:pic>
      <p:sp>
        <p:nvSpPr>
          <p:cNvPr id="4" name="Retângulo 3">
            <a:extLst>
              <a:ext uri="{FF2B5EF4-FFF2-40B4-BE49-F238E27FC236}">
                <a16:creationId xmlns:a16="http://schemas.microsoft.com/office/drawing/2014/main" id="{C521766B-81AA-48E4-866D-1CB4F4A86655}"/>
              </a:ext>
            </a:extLst>
          </p:cNvPr>
          <p:cNvSpPr/>
          <p:nvPr userDrawn="1"/>
        </p:nvSpPr>
        <p:spPr>
          <a:xfrm>
            <a:off x="0" y="2351867"/>
            <a:ext cx="12617242" cy="21542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latin typeface="Roboto" panose="02000000000000000000" pitchFamily="2" charset="0"/>
            </a:endParaRPr>
          </a:p>
        </p:txBody>
      </p:sp>
      <p:sp>
        <p:nvSpPr>
          <p:cNvPr id="7" name="Título 6">
            <a:extLst>
              <a:ext uri="{FF2B5EF4-FFF2-40B4-BE49-F238E27FC236}">
                <a16:creationId xmlns:a16="http://schemas.microsoft.com/office/drawing/2014/main" id="{D75A5E86-6513-4879-B8FF-C35A52F070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8750" y="3110960"/>
            <a:ext cx="7877175" cy="43338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Título da apresentação 24pt </a:t>
            </a:r>
            <a:r>
              <a:rPr lang="pt-BR" dirty="0" err="1"/>
              <a:t>bold</a:t>
            </a:r>
            <a:endParaRPr lang="pt-BR" dirty="0"/>
          </a:p>
        </p:txBody>
      </p:sp>
      <p:sp>
        <p:nvSpPr>
          <p:cNvPr id="9" name="Espaço Reservado para Texto 8">
            <a:extLst>
              <a:ext uri="{FF2B5EF4-FFF2-40B4-BE49-F238E27FC236}">
                <a16:creationId xmlns:a16="http://schemas.microsoft.com/office/drawing/2014/main" id="{92C98405-73F0-4F68-867D-456C046FC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28750" y="3550910"/>
            <a:ext cx="1952625" cy="319088"/>
          </a:xfrm>
        </p:spPr>
        <p:txBody>
          <a:bodyPr lIns="0" tIns="0" rIns="0" bIns="0"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4pPr>
            <a:lvl5pPr marL="0" indent="0" algn="l"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  <a:latin typeface="Roboto" panose="02000000000000000000" pitchFamily="2" charset="0"/>
              </a:defRPr>
            </a:lvl5pPr>
          </a:lstStyle>
          <a:p>
            <a:pPr lvl="4"/>
            <a:r>
              <a:rPr lang="pt-BR" dirty="0"/>
              <a:t>Coloque a data 12pt </a:t>
            </a:r>
            <a:r>
              <a:rPr lang="pt-BR" dirty="0" err="1"/>
              <a:t>bold</a:t>
            </a:r>
            <a:endParaRPr lang="pt-BR" dirty="0"/>
          </a:p>
        </p:txBody>
      </p:sp>
      <p:pic>
        <p:nvPicPr>
          <p:cNvPr id="6" name="Imagem 5" descr="Uma imagem contendo edifício&#10;&#10;Descrição gerada automaticamente">
            <a:extLst>
              <a:ext uri="{FF2B5EF4-FFF2-40B4-BE49-F238E27FC236}">
                <a16:creationId xmlns:a16="http://schemas.microsoft.com/office/drawing/2014/main" id="{02AEB864-C0CF-45E0-A125-C3CECA250E0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1134" y="3022169"/>
            <a:ext cx="557616" cy="813662"/>
          </a:xfrm>
          <a:prstGeom prst="rect">
            <a:avLst/>
          </a:prstGeom>
        </p:spPr>
      </p:pic>
      <p:pic>
        <p:nvPicPr>
          <p:cNvPr id="10" name="Imagem 9" descr="Uma imagem contendo relógio, placar&#10;&#10;Descrição gerada automaticamente">
            <a:extLst>
              <a:ext uri="{FF2B5EF4-FFF2-40B4-BE49-F238E27FC236}">
                <a16:creationId xmlns:a16="http://schemas.microsoft.com/office/drawing/2014/main" id="{7E017C81-8D44-4A2F-BAC7-E3C73C1C57D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0925" y="2989050"/>
            <a:ext cx="1217278" cy="879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694978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809FB2E-D6B6-4B4F-915B-EE960212DE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8325328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m 8">
            <a:extLst>
              <a:ext uri="{FF2B5EF4-FFF2-40B4-BE49-F238E27FC236}">
                <a16:creationId xmlns:a16="http://schemas.microsoft.com/office/drawing/2014/main" id="{B7020AB8-69F2-47B3-9EAF-1B62581BD3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309354"/>
            <a:ext cx="12192000" cy="2548647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58BB4F42-F0C0-4B8C-876B-E522E95CDF3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309354"/>
            <a:ext cx="12192000" cy="2548647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4D35D1E4-7270-4B2B-88C5-2971B0E6FF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382" y="3149326"/>
            <a:ext cx="7950569" cy="477711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5" name="Espaço Reservado para Texto 4" descr="Coloque a data desejada.">
            <a:extLst>
              <a:ext uri="{FF2B5EF4-FFF2-40B4-BE49-F238E27FC236}">
                <a16:creationId xmlns:a16="http://schemas.microsoft.com/office/drawing/2014/main" id="{06C43354-434C-4160-847B-D8AA2BEFC1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8382" y="3615847"/>
            <a:ext cx="7950569" cy="194466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70" b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pt-BR" dirty="0"/>
              <a:t>Insira a data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48F04902-A2D7-415A-B6EB-686BA7ED8A1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2548647"/>
          </a:xfrm>
          <a:prstGeom prst="rect">
            <a:avLst/>
          </a:prstGeom>
        </p:spPr>
      </p:pic>
      <p:pic>
        <p:nvPicPr>
          <p:cNvPr id="8" name="Imagem 7" descr="Uma imagem contendo desenho, placar&#10;&#10;Descrição gerada automaticamente">
            <a:extLst>
              <a:ext uri="{FF2B5EF4-FFF2-40B4-BE49-F238E27FC236}">
                <a16:creationId xmlns:a16="http://schemas.microsoft.com/office/drawing/2014/main" id="{C04BF0EF-3921-4A23-A7CC-11486AF591DE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97853" y="3029265"/>
            <a:ext cx="1423799" cy="854947"/>
          </a:xfrm>
          <a:prstGeom prst="rect">
            <a:avLst/>
          </a:prstGeom>
        </p:spPr>
      </p:pic>
      <p:pic>
        <p:nvPicPr>
          <p:cNvPr id="10" name="Imagem 9" descr="Uma imagem contendo edifício, ponte, luz&#10;&#10;Descrição gerada automaticamente">
            <a:extLst>
              <a:ext uri="{FF2B5EF4-FFF2-40B4-BE49-F238E27FC236}">
                <a16:creationId xmlns:a16="http://schemas.microsoft.com/office/drawing/2014/main" id="{6EA85B3A-1B61-48DA-BE1C-A0555AFD1089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9905" y="3145216"/>
            <a:ext cx="494697" cy="567864"/>
          </a:xfrm>
          <a:prstGeom prst="rect">
            <a:avLst/>
          </a:prstGeom>
        </p:spPr>
      </p:pic>
      <p:pic>
        <p:nvPicPr>
          <p:cNvPr id="11" name="Imagem 10">
            <a:extLst>
              <a:ext uri="{FF2B5EF4-FFF2-40B4-BE49-F238E27FC236}">
                <a16:creationId xmlns:a16="http://schemas.microsoft.com/office/drawing/2014/main" id="{E3BE78DF-8BAD-4868-A304-B3AE01B1A2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2548647"/>
          </a:xfrm>
          <a:prstGeom prst="rect">
            <a:avLst/>
          </a:prstGeom>
        </p:spPr>
      </p:pic>
      <p:pic>
        <p:nvPicPr>
          <p:cNvPr id="13" name="Imagem 12" descr="Uma imagem contendo edifício, ponte, luz&#10;&#10;Descrição gerada automaticamente">
            <a:extLst>
              <a:ext uri="{FF2B5EF4-FFF2-40B4-BE49-F238E27FC236}">
                <a16:creationId xmlns:a16="http://schemas.microsoft.com/office/drawing/2014/main" id="{65FF3A17-AD47-4104-9379-04EB0078DA8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9905" y="3145216"/>
            <a:ext cx="494697" cy="567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414120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m 8" descr="Uma imagem contendo objeto, relógio, céu noturno&#10;&#10;Descrição gerada automaticamente">
            <a:extLst>
              <a:ext uri="{FF2B5EF4-FFF2-40B4-BE49-F238E27FC236}">
                <a16:creationId xmlns:a16="http://schemas.microsoft.com/office/drawing/2014/main" id="{8E723A12-7A51-4BA9-9A06-26266792DD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038726"/>
            <a:ext cx="12192000" cy="1819275"/>
          </a:xfrm>
          <a:prstGeom prst="rect">
            <a:avLst/>
          </a:prstGeom>
        </p:spPr>
      </p:pic>
      <p:pic>
        <p:nvPicPr>
          <p:cNvPr id="4" name="Imagem 3" descr="Uma imagem contendo objeto, relógio, céu noturno&#10;&#10;Descrição gerada automaticamente">
            <a:extLst>
              <a:ext uri="{FF2B5EF4-FFF2-40B4-BE49-F238E27FC236}">
                <a16:creationId xmlns:a16="http://schemas.microsoft.com/office/drawing/2014/main" id="{D038DB4C-EE64-4A89-A1EB-4DBD886C26E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038726"/>
            <a:ext cx="12192000" cy="1819275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4D35D1E4-7270-4B2B-88C5-2971B0E6FF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18382" y="3899311"/>
            <a:ext cx="7950569" cy="477711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6" name="Espaço Reservado para Imagem 6">
            <a:extLst>
              <a:ext uri="{FF2B5EF4-FFF2-40B4-BE49-F238E27FC236}">
                <a16:creationId xmlns:a16="http://schemas.microsoft.com/office/drawing/2014/main" id="{D6A0A68E-83C7-4B89-8137-3A1F442ED64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2000" cy="3257551"/>
          </a:xfrm>
          <a:solidFill>
            <a:srgbClr val="CC2362">
              <a:alpha val="20000"/>
            </a:srgbClr>
          </a:solidFill>
        </p:spPr>
        <p:txBody>
          <a:bodyPr anchor="ctr" anchorCtr="0"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pt-BR"/>
              <a:t>Clique no ícone para adicionar uma imagem</a:t>
            </a:r>
          </a:p>
        </p:txBody>
      </p:sp>
      <p:pic>
        <p:nvPicPr>
          <p:cNvPr id="8" name="Imagem 7" descr="Uma imagem contendo edifício, ponte, luz&#10;&#10;Descrição gerada automaticamente">
            <a:extLst>
              <a:ext uri="{FF2B5EF4-FFF2-40B4-BE49-F238E27FC236}">
                <a16:creationId xmlns:a16="http://schemas.microsoft.com/office/drawing/2014/main" id="{83A11609-DA6B-46C5-83B7-A180B518889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8750" y="3858872"/>
            <a:ext cx="490462" cy="563003"/>
          </a:xfrm>
          <a:prstGeom prst="rect">
            <a:avLst/>
          </a:prstGeom>
        </p:spPr>
      </p:pic>
      <p:pic>
        <p:nvPicPr>
          <p:cNvPr id="10" name="Imagem 9" descr="Uma imagem contendo desenho, placar&#10;&#10;Descrição gerada automaticamente">
            <a:extLst>
              <a:ext uri="{FF2B5EF4-FFF2-40B4-BE49-F238E27FC236}">
                <a16:creationId xmlns:a16="http://schemas.microsoft.com/office/drawing/2014/main" id="{45B0A3D2-E67D-4B42-9D15-997ADBC0497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01108" y="3742332"/>
            <a:ext cx="1420286" cy="852837"/>
          </a:xfrm>
          <a:prstGeom prst="rect">
            <a:avLst/>
          </a:prstGeom>
        </p:spPr>
      </p:pic>
      <p:pic>
        <p:nvPicPr>
          <p:cNvPr id="11" name="Imagem 10" descr="Uma imagem contendo edifício, ponte, luz&#10;&#10;Descrição gerada automaticamente">
            <a:extLst>
              <a:ext uri="{FF2B5EF4-FFF2-40B4-BE49-F238E27FC236}">
                <a16:creationId xmlns:a16="http://schemas.microsoft.com/office/drawing/2014/main" id="{BD394A50-D705-42FA-9FB1-E3AF5FB8B5D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8750" y="3858872"/>
            <a:ext cx="490462" cy="563003"/>
          </a:xfrm>
          <a:prstGeom prst="rect">
            <a:avLst/>
          </a:prstGeom>
        </p:spPr>
      </p:pic>
      <p:sp>
        <p:nvSpPr>
          <p:cNvPr id="13" name="Espaço Reservado para Texto 4" descr="Coloque a data desejada.">
            <a:extLst>
              <a:ext uri="{FF2B5EF4-FFF2-40B4-BE49-F238E27FC236}">
                <a16:creationId xmlns:a16="http://schemas.microsoft.com/office/drawing/2014/main" id="{73646E8C-D4DC-412E-B042-F25565A35EC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8382" y="4358236"/>
            <a:ext cx="7950569" cy="194466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70" b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pt-BR" dirty="0"/>
              <a:t>Insira a data</a:t>
            </a:r>
          </a:p>
        </p:txBody>
      </p:sp>
    </p:spTree>
    <p:extLst>
      <p:ext uri="{BB962C8B-B14F-4D97-AF65-F5344CB8AC3E}">
        <p14:creationId xmlns:p14="http://schemas.microsoft.com/office/powerpoint/2010/main" val="297016934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8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D7ED92B8-3F9F-8F43-A246-AC5CA0D1C895}"/>
              </a:ext>
            </a:extLst>
          </p:cNvPr>
          <p:cNvSpPr/>
          <p:nvPr userDrawn="1"/>
        </p:nvSpPr>
        <p:spPr>
          <a:xfrm>
            <a:off x="4223868" y="0"/>
            <a:ext cx="7968132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86"/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8A2135AE-87FB-4BF1-9D93-AA6037E36C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11251" y="719934"/>
            <a:ext cx="5706936" cy="5418137"/>
          </a:xfrm>
        </p:spPr>
        <p:txBody>
          <a:bodyPr anchor="ctr"/>
          <a:lstStyle>
            <a:lvl1pPr marL="276460" indent="-276460">
              <a:spcAft>
                <a:spcPts val="2176"/>
              </a:spcAft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1pPr>
            <a:lvl2pPr marL="276460" indent="-276460">
              <a:spcAft>
                <a:spcPts val="2176"/>
              </a:spcAft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2pPr>
            <a:lvl3pPr marL="276460" indent="-276460">
              <a:spcAft>
                <a:spcPts val="2176"/>
              </a:spcAft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3pPr>
            <a:lvl4pPr marL="276460" indent="-276460">
              <a:spcAft>
                <a:spcPts val="2176"/>
              </a:spcAft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4pPr>
            <a:lvl5pPr marL="276460" indent="-276460">
              <a:spcAft>
                <a:spcPts val="2176"/>
              </a:spcAft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pic>
        <p:nvPicPr>
          <p:cNvPr id="6" name="Imagem 10" descr="Uma imagem contendo edifício, ponte, luz&#10;&#10;Descrição gerada automaticamente">
            <a:extLst>
              <a:ext uri="{FF2B5EF4-FFF2-40B4-BE49-F238E27FC236}">
                <a16:creationId xmlns:a16="http://schemas.microsoft.com/office/drawing/2014/main" id="{122F5C4E-A135-044D-AD59-93B5F59C58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3678" r="-10581"/>
          <a:stretch/>
        </p:blipFill>
        <p:spPr>
          <a:xfrm>
            <a:off x="0" y="1255143"/>
            <a:ext cx="2902270" cy="5602857"/>
          </a:xfrm>
          <a:prstGeom prst="rect">
            <a:avLst/>
          </a:prstGeom>
        </p:spPr>
      </p:pic>
      <p:sp>
        <p:nvSpPr>
          <p:cNvPr id="7" name="Título 3">
            <a:extLst>
              <a:ext uri="{FF2B5EF4-FFF2-40B4-BE49-F238E27FC236}">
                <a16:creationId xmlns:a16="http://schemas.microsoft.com/office/drawing/2014/main" id="{900C3CFB-378C-D84D-A1B2-E1AE72EE5C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8153" y="719933"/>
            <a:ext cx="1461492" cy="477711"/>
          </a:xfrm>
        </p:spPr>
        <p:txBody>
          <a:bodyPr>
            <a:normAutofit/>
          </a:bodyPr>
          <a:lstStyle>
            <a:lvl1pPr>
              <a:defRPr sz="3555" b="0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Índice</a:t>
            </a:r>
          </a:p>
        </p:txBody>
      </p:sp>
    </p:spTree>
    <p:extLst>
      <p:ext uri="{BB962C8B-B14F-4D97-AF65-F5344CB8AC3E}">
        <p14:creationId xmlns:p14="http://schemas.microsoft.com/office/powerpoint/2010/main" val="31440616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1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6">
            <a:extLst>
              <a:ext uri="{FF2B5EF4-FFF2-40B4-BE49-F238E27FC236}">
                <a16:creationId xmlns:a16="http://schemas.microsoft.com/office/drawing/2014/main" id="{1A079433-3B4A-4E31-8FA5-BC4FC689A53A}"/>
              </a:ext>
            </a:extLst>
          </p:cNvPr>
          <p:cNvSpPr/>
          <p:nvPr userDrawn="1"/>
        </p:nvSpPr>
        <p:spPr>
          <a:xfrm>
            <a:off x="4212518" y="0"/>
            <a:ext cx="7979482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86"/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65AF01E7-CE15-413B-82E2-023837CC3FF4}"/>
              </a:ext>
            </a:extLst>
          </p:cNvPr>
          <p:cNvSpPr/>
          <p:nvPr/>
        </p:nvSpPr>
        <p:spPr>
          <a:xfrm>
            <a:off x="4212518" y="0"/>
            <a:ext cx="7979482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86"/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8A2135AE-87FB-4BF1-9D93-AA6037E36C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11251" y="719934"/>
            <a:ext cx="5706936" cy="5418137"/>
          </a:xfrm>
        </p:spPr>
        <p:txBody>
          <a:bodyPr anchor="ctr"/>
          <a:lstStyle>
            <a:lvl1pPr marL="276460" indent="-276460">
              <a:spcAft>
                <a:spcPts val="2176"/>
              </a:spcAft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1pPr>
            <a:lvl2pPr marL="276460" indent="-276460">
              <a:spcAft>
                <a:spcPts val="2176"/>
              </a:spcAft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2pPr>
            <a:lvl3pPr marL="276460" indent="-276460">
              <a:spcAft>
                <a:spcPts val="2176"/>
              </a:spcAft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3pPr>
            <a:lvl4pPr marL="276460" indent="-276460">
              <a:spcAft>
                <a:spcPts val="2176"/>
              </a:spcAft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4pPr>
            <a:lvl5pPr marL="276460" indent="-276460">
              <a:spcAft>
                <a:spcPts val="2176"/>
              </a:spcAft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116CDA28-FD72-4681-BE67-AF2A6EC7BC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8153" y="719933"/>
            <a:ext cx="1461492" cy="477711"/>
          </a:xfrm>
        </p:spPr>
        <p:txBody>
          <a:bodyPr>
            <a:normAutofit/>
          </a:bodyPr>
          <a:lstStyle>
            <a:lvl1pPr>
              <a:defRPr sz="3555" b="0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título</a:t>
            </a:r>
          </a:p>
        </p:txBody>
      </p:sp>
      <p:pic>
        <p:nvPicPr>
          <p:cNvPr id="9" name="Imagem 10" descr="Uma imagem contendo edifício, ponte, luz&#10;&#10;Descrição gerada automaticamente">
            <a:extLst>
              <a:ext uri="{FF2B5EF4-FFF2-40B4-BE49-F238E27FC236}">
                <a16:creationId xmlns:a16="http://schemas.microsoft.com/office/drawing/2014/main" id="{358559C1-8A43-C047-ABF7-398312096B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3678" r="-10581"/>
          <a:stretch/>
        </p:blipFill>
        <p:spPr>
          <a:xfrm>
            <a:off x="0" y="1255143"/>
            <a:ext cx="2902270" cy="5602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828136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5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ângulo 8">
            <a:extLst>
              <a:ext uri="{FF2B5EF4-FFF2-40B4-BE49-F238E27FC236}">
                <a16:creationId xmlns:a16="http://schemas.microsoft.com/office/drawing/2014/main" id="{D04D2F12-442F-4B59-908F-571B3ACECF9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86"/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1023C2AC-84B0-4C9A-829B-319E1B3BC1D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86"/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2BDCC6E9-174B-4BCA-9EEE-909E41161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84640" y="2667000"/>
            <a:ext cx="7894246" cy="1238250"/>
          </a:xfrm>
        </p:spPr>
        <p:txBody>
          <a:bodyPr>
            <a:noAutofit/>
          </a:bodyPr>
          <a:lstStyle>
            <a:lvl1pPr>
              <a:defRPr sz="6531" b="0"/>
            </a:lvl1pPr>
          </a:lstStyle>
          <a:p>
            <a:r>
              <a:rPr lang="pt-BR" dirty="0"/>
              <a:t>título do capítulo 54pt </a:t>
            </a:r>
          </a:p>
        </p:txBody>
      </p:sp>
      <p:sp>
        <p:nvSpPr>
          <p:cNvPr id="7" name="Espaço Reservado para Texto 4">
            <a:extLst>
              <a:ext uri="{FF2B5EF4-FFF2-40B4-BE49-F238E27FC236}">
                <a16:creationId xmlns:a16="http://schemas.microsoft.com/office/drawing/2014/main" id="{63CD8B8F-809D-4707-AA3D-48255E766C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5446" y="2120265"/>
            <a:ext cx="7894159" cy="270510"/>
          </a:xfrm>
        </p:spPr>
        <p:txBody>
          <a:bodyPr lIns="0" tIns="0" rIns="0" bIns="0" anchor="ctr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935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/>
              <a:t>número do capítulo 16pt</a:t>
            </a:r>
          </a:p>
        </p:txBody>
      </p:sp>
      <p:sp>
        <p:nvSpPr>
          <p:cNvPr id="8" name="Espaço Reservado para Texto 4">
            <a:extLst>
              <a:ext uri="{FF2B5EF4-FFF2-40B4-BE49-F238E27FC236}">
                <a16:creationId xmlns:a16="http://schemas.microsoft.com/office/drawing/2014/main" id="{870F1A66-79F9-4D61-90E9-08869E17070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85446" y="4196716"/>
            <a:ext cx="7894159" cy="270510"/>
          </a:xfrm>
        </p:spPr>
        <p:txBody>
          <a:bodyPr lIns="0" tIns="0" rIns="0" bIns="0" anchor="ctr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45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/>
              <a:t>descritivo do capítulo 12pt</a:t>
            </a:r>
          </a:p>
        </p:txBody>
      </p:sp>
      <p:pic>
        <p:nvPicPr>
          <p:cNvPr id="11" name="Imagem 10" descr="Uma imagem contendo edifício, ponte, luz&#10;&#10;Descrição gerada automaticamente">
            <a:extLst>
              <a:ext uri="{FF2B5EF4-FFF2-40B4-BE49-F238E27FC236}">
                <a16:creationId xmlns:a16="http://schemas.microsoft.com/office/drawing/2014/main" id="{DA27C0B3-AD79-1548-B147-D14C56A20F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3678" r="-10581"/>
          <a:stretch/>
        </p:blipFill>
        <p:spPr>
          <a:xfrm>
            <a:off x="0" y="1255143"/>
            <a:ext cx="2902270" cy="5602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33927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Layout Personaliza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>
            <a:extLst>
              <a:ext uri="{FF2B5EF4-FFF2-40B4-BE49-F238E27FC236}">
                <a16:creationId xmlns:a16="http://schemas.microsoft.com/office/drawing/2014/main" id="{0AF1BA78-694B-49BD-B3F4-9DA63DDA55A7}"/>
              </a:ext>
            </a:extLst>
          </p:cNvPr>
          <p:cNvSpPr/>
          <p:nvPr userDrawn="1"/>
        </p:nvSpPr>
        <p:spPr>
          <a:xfrm>
            <a:off x="6989735" y="0"/>
            <a:ext cx="520226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latin typeface="Roboto" panose="02000000000000000000" pitchFamily="2" charset="0"/>
            </a:endParaRPr>
          </a:p>
        </p:txBody>
      </p:sp>
      <p:sp>
        <p:nvSpPr>
          <p:cNvPr id="4" name="Título 6">
            <a:extLst>
              <a:ext uri="{FF2B5EF4-FFF2-40B4-BE49-F238E27FC236}">
                <a16:creationId xmlns:a16="http://schemas.microsoft.com/office/drawing/2014/main" id="{59725272-59A0-4F94-B753-C39B584191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49152" y="3000375"/>
            <a:ext cx="2864926" cy="857249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 dirty="0"/>
              <a:t>Título da apresentação 24pt </a:t>
            </a:r>
            <a:r>
              <a:rPr lang="pt-BR" dirty="0" err="1"/>
              <a:t>bold</a:t>
            </a:r>
            <a:endParaRPr lang="pt-BR" dirty="0"/>
          </a:p>
        </p:txBody>
      </p:sp>
      <p:sp>
        <p:nvSpPr>
          <p:cNvPr id="5" name="Espaço Reservado para Texto 6">
            <a:extLst>
              <a:ext uri="{FF2B5EF4-FFF2-40B4-BE49-F238E27FC236}">
                <a16:creationId xmlns:a16="http://schemas.microsoft.com/office/drawing/2014/main" id="{02474EFB-8A4E-440D-B5B9-943FCAD26B2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749153" y="3943350"/>
            <a:ext cx="2864926" cy="152400"/>
          </a:xfrm>
        </p:spPr>
        <p:txBody>
          <a:bodyPr lIns="0" tIns="0" rIns="0" bIns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accent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Coloque a data 12pt</a:t>
            </a:r>
          </a:p>
        </p:txBody>
      </p:sp>
      <p:sp>
        <p:nvSpPr>
          <p:cNvPr id="7" name="Espaço Reservado para Imagem 2">
            <a:extLst>
              <a:ext uri="{FF2B5EF4-FFF2-40B4-BE49-F238E27FC236}">
                <a16:creationId xmlns:a16="http://schemas.microsoft.com/office/drawing/2014/main" id="{7AC8BD3D-63A9-4C5A-A6AE-232317A8A6A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989735" cy="6858000"/>
          </a:xfrm>
          <a:solidFill>
            <a:srgbClr val="CC2362">
              <a:alpha val="20000"/>
            </a:srgbClr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accent2"/>
                </a:solidFill>
              </a:defRPr>
            </a:lvl1pPr>
          </a:lstStyle>
          <a:p>
            <a:endParaRPr lang="pt-BR"/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1C44C839-526A-4884-B99C-24C757973A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06281" y="5629275"/>
            <a:ext cx="1212298" cy="876300"/>
          </a:xfrm>
          <a:prstGeom prst="rect">
            <a:avLst/>
          </a:prstGeom>
        </p:spPr>
      </p:pic>
      <p:sp>
        <p:nvSpPr>
          <p:cNvPr id="9" name="Espaço Reservado para Texto 6">
            <a:extLst>
              <a:ext uri="{FF2B5EF4-FFF2-40B4-BE49-F238E27FC236}">
                <a16:creationId xmlns:a16="http://schemas.microsoft.com/office/drawing/2014/main" id="{D39716F3-DDC7-4AE1-BCDD-7C448687D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749152" y="2409825"/>
            <a:ext cx="3223647" cy="313574"/>
          </a:xfrm>
        </p:spPr>
        <p:txBody>
          <a:bodyPr lIns="0" tIns="0" rIns="0" bIns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Coloque o número do capítulo 12pt</a:t>
            </a:r>
          </a:p>
        </p:txBody>
      </p:sp>
    </p:spTree>
    <p:extLst>
      <p:ext uri="{BB962C8B-B14F-4D97-AF65-F5344CB8AC3E}">
        <p14:creationId xmlns:p14="http://schemas.microsoft.com/office/powerpoint/2010/main" val="39761179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7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1">
            <a:extLst>
              <a:ext uri="{FF2B5EF4-FFF2-40B4-BE49-F238E27FC236}">
                <a16:creationId xmlns:a16="http://schemas.microsoft.com/office/drawing/2014/main" id="{2BDCC6E9-174B-4BCA-9EEE-909E41161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84640" y="2667000"/>
            <a:ext cx="7894246" cy="1238250"/>
          </a:xfrm>
        </p:spPr>
        <p:txBody>
          <a:bodyPr>
            <a:noAutofit/>
          </a:bodyPr>
          <a:lstStyle>
            <a:lvl1pPr>
              <a:defRPr sz="6531" b="0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título do capítulo 54pt </a:t>
            </a:r>
          </a:p>
        </p:txBody>
      </p:sp>
      <p:sp>
        <p:nvSpPr>
          <p:cNvPr id="7" name="Espaço Reservado para Texto 4">
            <a:extLst>
              <a:ext uri="{FF2B5EF4-FFF2-40B4-BE49-F238E27FC236}">
                <a16:creationId xmlns:a16="http://schemas.microsoft.com/office/drawing/2014/main" id="{63CD8B8F-809D-4707-AA3D-48255E766C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5446" y="2120265"/>
            <a:ext cx="7894159" cy="270510"/>
          </a:xfrm>
        </p:spPr>
        <p:txBody>
          <a:bodyPr lIns="0" tIns="0" rIns="0" bIns="0" anchor="ctr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935">
                <a:solidFill>
                  <a:schemeClr val="tx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/>
              <a:t>número do capítulo 16pt</a:t>
            </a:r>
          </a:p>
        </p:txBody>
      </p:sp>
      <p:sp>
        <p:nvSpPr>
          <p:cNvPr id="8" name="Espaço Reservado para Texto 4">
            <a:extLst>
              <a:ext uri="{FF2B5EF4-FFF2-40B4-BE49-F238E27FC236}">
                <a16:creationId xmlns:a16="http://schemas.microsoft.com/office/drawing/2014/main" id="{870F1A66-79F9-4D61-90E9-08869E17070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85446" y="4196716"/>
            <a:ext cx="7894159" cy="270510"/>
          </a:xfrm>
        </p:spPr>
        <p:txBody>
          <a:bodyPr lIns="0" tIns="0" rIns="0" bIns="0" anchor="ctr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451">
                <a:solidFill>
                  <a:schemeClr val="tx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/>
              <a:t>descritivo do capítulo 12pt</a:t>
            </a:r>
          </a:p>
        </p:txBody>
      </p:sp>
      <p:pic>
        <p:nvPicPr>
          <p:cNvPr id="9" name="Imagem 10" descr="Uma imagem contendo edifício, ponte, luz&#10;&#10;Descrição gerada automaticamente">
            <a:extLst>
              <a:ext uri="{FF2B5EF4-FFF2-40B4-BE49-F238E27FC236}">
                <a16:creationId xmlns:a16="http://schemas.microsoft.com/office/drawing/2014/main" id="{A90781A1-E2F2-D941-888A-8DFEA26A7D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3678" r="-10581"/>
          <a:stretch/>
        </p:blipFill>
        <p:spPr>
          <a:xfrm>
            <a:off x="0" y="1255143"/>
            <a:ext cx="2902270" cy="5602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897950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8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ângulo 9">
            <a:extLst>
              <a:ext uri="{FF2B5EF4-FFF2-40B4-BE49-F238E27FC236}">
                <a16:creationId xmlns:a16="http://schemas.microsoft.com/office/drawing/2014/main" id="{D656DA01-372C-4AB9-AC7E-0BC508462B96}"/>
              </a:ext>
            </a:extLst>
          </p:cNvPr>
          <p:cNvSpPr/>
          <p:nvPr userDrawn="1"/>
        </p:nvSpPr>
        <p:spPr>
          <a:xfrm>
            <a:off x="0" y="0"/>
            <a:ext cx="4243263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86"/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95E6030B-84ED-4341-BC19-BD397983F1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1810" y="2667000"/>
            <a:ext cx="6577074" cy="1238250"/>
          </a:xfrm>
        </p:spPr>
        <p:txBody>
          <a:bodyPr>
            <a:noAutofit/>
          </a:bodyPr>
          <a:lstStyle>
            <a:lvl1pPr>
              <a:defRPr sz="6531" b="0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título do capítulo 54pt 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783A4356-BCDC-4B36-8883-9CD3FA189C8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02602" y="2120265"/>
            <a:ext cx="6577002" cy="270510"/>
          </a:xfrm>
        </p:spPr>
        <p:txBody>
          <a:bodyPr lIns="0" tIns="0" rIns="0" bIns="0" anchor="ctr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935">
                <a:solidFill>
                  <a:schemeClr val="tx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/>
              <a:t>número do capítulo 16pt</a:t>
            </a:r>
          </a:p>
        </p:txBody>
      </p:sp>
      <p:sp>
        <p:nvSpPr>
          <p:cNvPr id="6" name="Espaço Reservado para Texto 4">
            <a:extLst>
              <a:ext uri="{FF2B5EF4-FFF2-40B4-BE49-F238E27FC236}">
                <a16:creationId xmlns:a16="http://schemas.microsoft.com/office/drawing/2014/main" id="{18EA43BE-8A84-451C-A8FB-6E755A4640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2602" y="4196716"/>
            <a:ext cx="6577002" cy="270510"/>
          </a:xfrm>
        </p:spPr>
        <p:txBody>
          <a:bodyPr lIns="0" tIns="0" rIns="0" bIns="0" anchor="ctr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451">
                <a:solidFill>
                  <a:schemeClr val="tx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/>
              <a:t>descritivo do capítulo 12pt</a:t>
            </a:r>
          </a:p>
        </p:txBody>
      </p:sp>
      <p:pic>
        <p:nvPicPr>
          <p:cNvPr id="3" name="Imagem 2" descr="Uma imagem contendo objeto, relógio&#10;&#10;Descrição gerada automaticamente">
            <a:extLst>
              <a:ext uri="{FF2B5EF4-FFF2-40B4-BE49-F238E27FC236}">
                <a16:creationId xmlns:a16="http://schemas.microsoft.com/office/drawing/2014/main" id="{5D934B87-B631-4D22-AA11-C1CB4EC86ED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4243263" cy="6858000"/>
          </a:xfrm>
          <a:prstGeom prst="rect">
            <a:avLst/>
          </a:prstGeom>
        </p:spPr>
      </p:pic>
      <p:pic>
        <p:nvPicPr>
          <p:cNvPr id="8" name="Imagem 7" descr="Uma imagem contendo desenho, placar&#10;&#10;Descrição gerada automaticamente">
            <a:extLst>
              <a:ext uri="{FF2B5EF4-FFF2-40B4-BE49-F238E27FC236}">
                <a16:creationId xmlns:a16="http://schemas.microsoft.com/office/drawing/2014/main" id="{3A140260-4D50-47FC-B4DC-7E8CA798EB8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3765" y="5711192"/>
            <a:ext cx="920029" cy="552449"/>
          </a:xfrm>
          <a:prstGeom prst="rect">
            <a:avLst/>
          </a:prstGeom>
        </p:spPr>
      </p:pic>
      <p:pic>
        <p:nvPicPr>
          <p:cNvPr id="7" name="Imagem 6" descr="Uma imagem contendo objeto, relógio&#10;&#10;Descrição gerada automaticamente">
            <a:extLst>
              <a:ext uri="{FF2B5EF4-FFF2-40B4-BE49-F238E27FC236}">
                <a16:creationId xmlns:a16="http://schemas.microsoft.com/office/drawing/2014/main" id="{10D60A1F-E7FA-4734-85F7-C4D7998907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424326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533461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9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ângulo 8">
            <a:extLst>
              <a:ext uri="{FF2B5EF4-FFF2-40B4-BE49-F238E27FC236}">
                <a16:creationId xmlns:a16="http://schemas.microsoft.com/office/drawing/2014/main" id="{7622C5A0-A9EB-478E-B206-36A43F62A78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86"/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16AF9A16-7F60-4DB0-AEC9-62686CA1C02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86"/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95E6030B-84ED-4341-BC19-BD397983F1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1810" y="2667000"/>
            <a:ext cx="6577074" cy="1238250"/>
          </a:xfrm>
        </p:spPr>
        <p:txBody>
          <a:bodyPr>
            <a:noAutofit/>
          </a:bodyPr>
          <a:lstStyle>
            <a:lvl1pPr>
              <a:defRPr sz="6531" b="0">
                <a:solidFill>
                  <a:schemeClr val="bg1"/>
                </a:solidFill>
              </a:defRPr>
            </a:lvl1pPr>
          </a:lstStyle>
          <a:p>
            <a:r>
              <a:rPr lang="pt-BR" dirty="0"/>
              <a:t>título do capítulo 54pt 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783A4356-BCDC-4B36-8883-9CD3FA189C8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02602" y="2120265"/>
            <a:ext cx="6577002" cy="270510"/>
          </a:xfrm>
        </p:spPr>
        <p:txBody>
          <a:bodyPr lIns="0" tIns="0" rIns="0" bIns="0" anchor="ctr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935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/>
              <a:t>número do capítulo 16pt</a:t>
            </a:r>
          </a:p>
        </p:txBody>
      </p:sp>
      <p:sp>
        <p:nvSpPr>
          <p:cNvPr id="6" name="Espaço Reservado para Texto 4">
            <a:extLst>
              <a:ext uri="{FF2B5EF4-FFF2-40B4-BE49-F238E27FC236}">
                <a16:creationId xmlns:a16="http://schemas.microsoft.com/office/drawing/2014/main" id="{18EA43BE-8A84-451C-A8FB-6E755A4640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2602" y="4196716"/>
            <a:ext cx="6577002" cy="270510"/>
          </a:xfrm>
        </p:spPr>
        <p:txBody>
          <a:bodyPr lIns="0" tIns="0" rIns="0" bIns="0" anchor="ctr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45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/>
              <a:t>descritivo do capítulo 12pt</a:t>
            </a:r>
          </a:p>
        </p:txBody>
      </p:sp>
      <p:pic>
        <p:nvPicPr>
          <p:cNvPr id="3" name="Imagem 2" descr="Uma imagem contendo objeto, relógio&#10;&#10;Descrição gerada automaticamente">
            <a:extLst>
              <a:ext uri="{FF2B5EF4-FFF2-40B4-BE49-F238E27FC236}">
                <a16:creationId xmlns:a16="http://schemas.microsoft.com/office/drawing/2014/main" id="{5D934B87-B631-4D22-AA11-C1CB4EC86ED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4243263" cy="6858000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3A140260-4D50-47FC-B4DC-7E8CA798EB8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54805" y="5711192"/>
            <a:ext cx="917949" cy="552449"/>
          </a:xfrm>
          <a:prstGeom prst="rect">
            <a:avLst/>
          </a:prstGeom>
        </p:spPr>
      </p:pic>
      <p:pic>
        <p:nvPicPr>
          <p:cNvPr id="10" name="Imagem 9" descr="Uma imagem contendo objeto, relógio&#10;&#10;Descrição gerada automaticamente">
            <a:extLst>
              <a:ext uri="{FF2B5EF4-FFF2-40B4-BE49-F238E27FC236}">
                <a16:creationId xmlns:a16="http://schemas.microsoft.com/office/drawing/2014/main" id="{CC158187-35B4-4F27-9287-AAFA8F2543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424326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992302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6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ângulo 8">
            <a:extLst>
              <a:ext uri="{FF2B5EF4-FFF2-40B4-BE49-F238E27FC236}">
                <a16:creationId xmlns:a16="http://schemas.microsoft.com/office/drawing/2014/main" id="{963FEE1A-1216-4A24-95B1-9A7F0C6F2A65}"/>
              </a:ext>
            </a:extLst>
          </p:cNvPr>
          <p:cNvSpPr/>
          <p:nvPr userDrawn="1"/>
        </p:nvSpPr>
        <p:spPr>
          <a:xfrm>
            <a:off x="0" y="5330824"/>
            <a:ext cx="12192000" cy="152717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86"/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911F4FAD-C5CF-43FD-86A9-27D641CC295B}"/>
              </a:ext>
            </a:extLst>
          </p:cNvPr>
          <p:cNvSpPr/>
          <p:nvPr/>
        </p:nvSpPr>
        <p:spPr>
          <a:xfrm>
            <a:off x="0" y="5330824"/>
            <a:ext cx="12192000" cy="152717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86"/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29670000-A5FF-4AB6-865D-6CFB4E6BA4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9550" y="5811278"/>
            <a:ext cx="9207490" cy="609959"/>
          </a:xfrm>
        </p:spPr>
        <p:txBody>
          <a:bodyPr>
            <a:noAutofit/>
          </a:bodyPr>
          <a:lstStyle>
            <a:lvl1pPr>
              <a:defRPr sz="3048" b="1">
                <a:solidFill>
                  <a:schemeClr val="bg1"/>
                </a:solidFill>
              </a:defRPr>
            </a:lvl1pPr>
          </a:lstStyle>
          <a:p>
            <a:r>
              <a:rPr lang="pt-BR" dirty="0"/>
              <a:t>título do capítulo 24pt 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8A4820C0-C071-483D-BC45-C7422E1A3E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0343" y="5540766"/>
            <a:ext cx="6577002" cy="270510"/>
          </a:xfrm>
        </p:spPr>
        <p:txBody>
          <a:bodyPr lIns="0" tIns="0" rIns="0" bIns="0" anchor="ctr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778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/>
              <a:t>número do capítulo 14pt</a:t>
            </a:r>
          </a:p>
        </p:txBody>
      </p:sp>
      <p:sp>
        <p:nvSpPr>
          <p:cNvPr id="6" name="Espaço Reservado para Texto 4">
            <a:extLst>
              <a:ext uri="{FF2B5EF4-FFF2-40B4-BE49-F238E27FC236}">
                <a16:creationId xmlns:a16="http://schemas.microsoft.com/office/drawing/2014/main" id="{9A959F43-5782-4AEA-960E-0EC5849011D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90343" y="6421235"/>
            <a:ext cx="6577002" cy="270510"/>
          </a:xfrm>
        </p:spPr>
        <p:txBody>
          <a:bodyPr lIns="0" tIns="0" rIns="0" bIns="0" anchor="ctr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45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/>
              <a:t>descritivo do capítulo 12pt</a:t>
            </a:r>
          </a:p>
        </p:txBody>
      </p:sp>
      <p:sp>
        <p:nvSpPr>
          <p:cNvPr id="7" name="Espaço Reservado para Imagem 6">
            <a:extLst>
              <a:ext uri="{FF2B5EF4-FFF2-40B4-BE49-F238E27FC236}">
                <a16:creationId xmlns:a16="http://schemas.microsoft.com/office/drawing/2014/main" id="{05F4483A-1CED-41C7-B946-981086678E9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2000" cy="5330825"/>
          </a:xfrm>
          <a:solidFill>
            <a:srgbClr val="CC2362">
              <a:alpha val="20000"/>
            </a:srgbClr>
          </a:solidFill>
        </p:spPr>
        <p:txBody>
          <a:bodyPr anchor="ctr" anchorCtr="0"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pt-BR"/>
              <a:t>Clique no ícone para adicionar uma imagem</a:t>
            </a:r>
          </a:p>
        </p:txBody>
      </p:sp>
      <p:pic>
        <p:nvPicPr>
          <p:cNvPr id="12" name="Imagem 11" descr="Uma imagem contendo mesa&#10;&#10;Descrição gerada automaticamente">
            <a:extLst>
              <a:ext uri="{FF2B5EF4-FFF2-40B4-BE49-F238E27FC236}">
                <a16:creationId xmlns:a16="http://schemas.microsoft.com/office/drawing/2014/main" id="{80423DB5-3242-45CB-81F0-88DF6260CD2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6232" y="5734050"/>
            <a:ext cx="1294038" cy="778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856000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3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ângulo 9">
            <a:extLst>
              <a:ext uri="{FF2B5EF4-FFF2-40B4-BE49-F238E27FC236}">
                <a16:creationId xmlns:a16="http://schemas.microsoft.com/office/drawing/2014/main" id="{0CBCAD29-DB66-4271-BEB9-0E488A6513FC}"/>
              </a:ext>
            </a:extLst>
          </p:cNvPr>
          <p:cNvSpPr/>
          <p:nvPr userDrawn="1"/>
        </p:nvSpPr>
        <p:spPr>
          <a:xfrm>
            <a:off x="7765143" y="0"/>
            <a:ext cx="4426857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86" dirty="0"/>
          </a:p>
        </p:txBody>
      </p:sp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B06C5FE4-EB08-4E9B-8B2B-47F6FB6B3D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C83533-BF64-4BD4-B66F-F63D08579F68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5" name="Espaço Reservado para Imagem 6">
            <a:extLst>
              <a:ext uri="{FF2B5EF4-FFF2-40B4-BE49-F238E27FC236}">
                <a16:creationId xmlns:a16="http://schemas.microsoft.com/office/drawing/2014/main" id="{51AEFE67-B295-4AF1-8765-6F2EEEF1900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-1"/>
            <a:ext cx="7765143" cy="6858001"/>
          </a:xfrm>
          <a:solidFill>
            <a:srgbClr val="CC2362">
              <a:alpha val="20000"/>
            </a:srgbClr>
          </a:solidFill>
        </p:spPr>
        <p:txBody>
          <a:bodyPr anchor="ctr" anchorCtr="0"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pt-BR"/>
              <a:t>Clique no ícone para adicionar uma imagem</a:t>
            </a: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7687B828-B5C2-4BD4-BBFF-E526FE661581}"/>
              </a:ext>
            </a:extLst>
          </p:cNvPr>
          <p:cNvSpPr/>
          <p:nvPr/>
        </p:nvSpPr>
        <p:spPr>
          <a:xfrm>
            <a:off x="7765143" y="0"/>
            <a:ext cx="4426857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86" dirty="0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68C214E7-676B-404E-ABAA-B16B2E1B57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78674" y="2752726"/>
            <a:ext cx="3135901" cy="1352546"/>
          </a:xfrm>
        </p:spPr>
        <p:txBody>
          <a:bodyPr/>
          <a:lstStyle>
            <a:lvl1pPr>
              <a:defRPr sz="3048">
                <a:solidFill>
                  <a:schemeClr val="bg1"/>
                </a:solidFill>
              </a:defRPr>
            </a:lvl1pPr>
          </a:lstStyle>
          <a:p>
            <a:r>
              <a:rPr lang="pt-BR" dirty="0"/>
              <a:t>clique para editar o título mestre</a:t>
            </a:r>
          </a:p>
        </p:txBody>
      </p:sp>
      <p:pic>
        <p:nvPicPr>
          <p:cNvPr id="7" name="Imagem 6" descr="Uma imagem contendo mesa&#10;&#10;Descrição gerada automaticamente">
            <a:extLst>
              <a:ext uri="{FF2B5EF4-FFF2-40B4-BE49-F238E27FC236}">
                <a16:creationId xmlns:a16="http://schemas.microsoft.com/office/drawing/2014/main" id="{27B90DA7-C352-4E84-8E51-8234EF1F115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6232" y="5734050"/>
            <a:ext cx="1294038" cy="778791"/>
          </a:xfrm>
          <a:prstGeom prst="rect">
            <a:avLst/>
          </a:prstGeom>
        </p:spPr>
      </p:pic>
      <p:sp>
        <p:nvSpPr>
          <p:cNvPr id="8" name="Espaço Reservado para Texto 4">
            <a:extLst>
              <a:ext uri="{FF2B5EF4-FFF2-40B4-BE49-F238E27FC236}">
                <a16:creationId xmlns:a16="http://schemas.microsoft.com/office/drawing/2014/main" id="{08E0CC21-653D-4939-85AA-BA5BDF9F52D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74559" y="2352722"/>
            <a:ext cx="3140017" cy="270510"/>
          </a:xfrm>
        </p:spPr>
        <p:txBody>
          <a:bodyPr lIns="0" tIns="0" rIns="0" bIns="0" anchor="ctr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778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/>
              <a:t>número do capítulo 14pt</a:t>
            </a:r>
          </a:p>
        </p:txBody>
      </p:sp>
      <p:sp>
        <p:nvSpPr>
          <p:cNvPr id="9" name="Espaço Reservado para Texto 4">
            <a:extLst>
              <a:ext uri="{FF2B5EF4-FFF2-40B4-BE49-F238E27FC236}">
                <a16:creationId xmlns:a16="http://schemas.microsoft.com/office/drawing/2014/main" id="{DCA9E5F3-38FA-438B-8ECA-83C93A984E3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74559" y="4234766"/>
            <a:ext cx="3140017" cy="270510"/>
          </a:xfrm>
        </p:spPr>
        <p:txBody>
          <a:bodyPr lIns="0" tIns="0" rIns="0" bIns="0" anchor="ctr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45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/>
              <a:t>descritivo do capítulo 12pt</a:t>
            </a:r>
          </a:p>
        </p:txBody>
      </p:sp>
    </p:spTree>
    <p:extLst>
      <p:ext uri="{BB962C8B-B14F-4D97-AF65-F5344CB8AC3E}">
        <p14:creationId xmlns:p14="http://schemas.microsoft.com/office/powerpoint/2010/main" val="171272072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Imagem 20" descr="Uma imagem contendo pássaro&#10;&#10;Descrição gerada automaticamente">
            <a:extLst>
              <a:ext uri="{FF2B5EF4-FFF2-40B4-BE49-F238E27FC236}">
                <a16:creationId xmlns:a16="http://schemas.microsoft.com/office/drawing/2014/main" id="{24B59C79-EF50-466D-AE5B-01688F8672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0395515" cy="1276680"/>
          </a:xfrm>
          <a:prstGeom prst="rect">
            <a:avLst/>
          </a:prstGeom>
        </p:spPr>
      </p:pic>
      <p:sp>
        <p:nvSpPr>
          <p:cNvPr id="23" name="Retângulo 22">
            <a:extLst>
              <a:ext uri="{FF2B5EF4-FFF2-40B4-BE49-F238E27FC236}">
                <a16:creationId xmlns:a16="http://schemas.microsoft.com/office/drawing/2014/main" id="{1F8656FF-89D2-4618-9D62-B6F9BF39C373}"/>
              </a:ext>
            </a:extLst>
          </p:cNvPr>
          <p:cNvSpPr/>
          <p:nvPr userDrawn="1"/>
        </p:nvSpPr>
        <p:spPr>
          <a:xfrm>
            <a:off x="0" y="6462844"/>
            <a:ext cx="12192000" cy="39340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86"/>
          </a:p>
        </p:txBody>
      </p:sp>
      <p:pic>
        <p:nvPicPr>
          <p:cNvPr id="24" name="Imagem 23">
            <a:extLst>
              <a:ext uri="{FF2B5EF4-FFF2-40B4-BE49-F238E27FC236}">
                <a16:creationId xmlns:a16="http://schemas.microsoft.com/office/drawing/2014/main" id="{E8CCC711-D22E-4803-8D20-03587F5561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66554" y="6587492"/>
            <a:ext cx="569027" cy="270509"/>
          </a:xfrm>
          <a:prstGeom prst="rect">
            <a:avLst/>
          </a:prstGeom>
        </p:spPr>
      </p:pic>
      <p:pic>
        <p:nvPicPr>
          <p:cNvPr id="19" name="Imagem 18" descr="Uma imagem contendo pássaro&#10;&#10;Descrição gerada automaticamente">
            <a:extLst>
              <a:ext uri="{FF2B5EF4-FFF2-40B4-BE49-F238E27FC236}">
                <a16:creationId xmlns:a16="http://schemas.microsoft.com/office/drawing/2014/main" id="{7F403C9F-EFCA-46BA-9ECA-CCC02D20BFF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0395515" cy="1276680"/>
          </a:xfrm>
          <a:prstGeom prst="rect">
            <a:avLst/>
          </a:prstGeom>
        </p:spPr>
      </p:pic>
      <p:pic>
        <p:nvPicPr>
          <p:cNvPr id="20" name="Imagem 19" descr="Uma imagem contendo desenho, placar&#10;&#10;Descrição gerada automaticamente">
            <a:extLst>
              <a:ext uri="{FF2B5EF4-FFF2-40B4-BE49-F238E27FC236}">
                <a16:creationId xmlns:a16="http://schemas.microsoft.com/office/drawing/2014/main" id="{61C89A27-A830-428F-843D-2A378D62B1C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0286" y="348210"/>
            <a:ext cx="919368" cy="552052"/>
          </a:xfrm>
          <a:prstGeom prst="rect">
            <a:avLst/>
          </a:prstGeom>
        </p:spPr>
      </p:pic>
      <p:sp>
        <p:nvSpPr>
          <p:cNvPr id="15" name="Retângulo 14">
            <a:extLst>
              <a:ext uri="{FF2B5EF4-FFF2-40B4-BE49-F238E27FC236}">
                <a16:creationId xmlns:a16="http://schemas.microsoft.com/office/drawing/2014/main" id="{04B4B737-B1B8-48CB-ABDC-7A8755D254F1}"/>
              </a:ext>
            </a:extLst>
          </p:cNvPr>
          <p:cNvSpPr/>
          <p:nvPr/>
        </p:nvSpPr>
        <p:spPr>
          <a:xfrm>
            <a:off x="0" y="6462844"/>
            <a:ext cx="12192000" cy="39340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86"/>
          </a:p>
        </p:txBody>
      </p:sp>
      <p:pic>
        <p:nvPicPr>
          <p:cNvPr id="18" name="Imagem 17">
            <a:extLst>
              <a:ext uri="{FF2B5EF4-FFF2-40B4-BE49-F238E27FC236}">
                <a16:creationId xmlns:a16="http://schemas.microsoft.com/office/drawing/2014/main" id="{085CEE3B-0F9B-441E-83BB-A11B1846B82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66554" y="6587492"/>
            <a:ext cx="569027" cy="27050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3E0673AE-3C05-45DB-A1E3-1160479FD9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8007" y="384178"/>
            <a:ext cx="8450943" cy="253997"/>
          </a:xfrm>
        </p:spPr>
        <p:txBody>
          <a:bodyPr>
            <a:normAutofit/>
          </a:bodyPr>
          <a:lstStyle>
            <a:lvl1pPr>
              <a:defRPr sz="2176"/>
            </a:lvl1pPr>
          </a:lstStyle>
          <a:p>
            <a:r>
              <a:rPr lang="pt-BR" dirty="0"/>
              <a:t>título do slide 18pt </a:t>
            </a:r>
            <a:r>
              <a:rPr lang="pt-BR" dirty="0" err="1"/>
              <a:t>bold</a:t>
            </a:r>
            <a:endParaRPr lang="pt-BR" dirty="0"/>
          </a:p>
        </p:txBody>
      </p:sp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691DE608-32F9-42EF-A759-0D836707AF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96638CD-16BE-4C6D-BCD9-DBAA1C8BF6B7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6" name="Espaço Reservado para Texto 5">
            <a:extLst>
              <a:ext uri="{FF2B5EF4-FFF2-40B4-BE49-F238E27FC236}">
                <a16:creationId xmlns:a16="http://schemas.microsoft.com/office/drawing/2014/main" id="{722283FA-172F-41D7-BC0D-4CDE81F0B0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2397" y="1476376"/>
            <a:ext cx="10567208" cy="742950"/>
          </a:xfrm>
        </p:spPr>
        <p:txBody>
          <a:bodyPr lIns="0" tIns="0" rIns="0" bIns="0" anchor="ctr" anchorCtr="0"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pt-BR" dirty="0"/>
              <a:t>Texto corrido de destaque 14pt</a:t>
            </a:r>
          </a:p>
        </p:txBody>
      </p:sp>
      <p:sp>
        <p:nvSpPr>
          <p:cNvPr id="8" name="Espaço Reservado para Imagem 7">
            <a:extLst>
              <a:ext uri="{FF2B5EF4-FFF2-40B4-BE49-F238E27FC236}">
                <a16:creationId xmlns:a16="http://schemas.microsoft.com/office/drawing/2014/main" id="{B7DFDCF7-B989-4448-89CB-CCD20451CCB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12398" y="2620173"/>
            <a:ext cx="1110745" cy="874713"/>
          </a:xfrm>
        </p:spPr>
        <p:txBody>
          <a:bodyPr anchor="ctr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1270">
                <a:solidFill>
                  <a:schemeClr val="accent2"/>
                </a:solidFill>
              </a:defRPr>
            </a:lvl1pPr>
          </a:lstStyle>
          <a:p>
            <a:r>
              <a:rPr lang="pt-BR" dirty="0"/>
              <a:t>Adicione um ícone</a:t>
            </a:r>
          </a:p>
        </p:txBody>
      </p:sp>
      <p:sp>
        <p:nvSpPr>
          <p:cNvPr id="9" name="Espaço Reservado para Imagem 7">
            <a:extLst>
              <a:ext uri="{FF2B5EF4-FFF2-40B4-BE49-F238E27FC236}">
                <a16:creationId xmlns:a16="http://schemas.microsoft.com/office/drawing/2014/main" id="{3FF86751-ED61-4568-B37B-370CD2D2FE9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12398" y="5343528"/>
            <a:ext cx="1110745" cy="874713"/>
          </a:xfrm>
        </p:spPr>
        <p:txBody>
          <a:bodyPr anchor="ctr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1270">
                <a:solidFill>
                  <a:schemeClr val="accent2"/>
                </a:solidFill>
              </a:defRPr>
            </a:lvl1pPr>
          </a:lstStyle>
          <a:p>
            <a:r>
              <a:rPr lang="pt-BR" dirty="0"/>
              <a:t>Adicione um ícone</a:t>
            </a:r>
          </a:p>
        </p:txBody>
      </p:sp>
      <p:sp>
        <p:nvSpPr>
          <p:cNvPr id="10" name="Espaço Reservado para Imagem 7">
            <a:extLst>
              <a:ext uri="{FF2B5EF4-FFF2-40B4-BE49-F238E27FC236}">
                <a16:creationId xmlns:a16="http://schemas.microsoft.com/office/drawing/2014/main" id="{B7BF82DD-C601-4163-A746-3B5E862339C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12398" y="3981850"/>
            <a:ext cx="1110745" cy="874713"/>
          </a:xfrm>
        </p:spPr>
        <p:txBody>
          <a:bodyPr anchor="ctr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1270">
                <a:solidFill>
                  <a:schemeClr val="accent2"/>
                </a:solidFill>
              </a:defRPr>
            </a:lvl1pPr>
          </a:lstStyle>
          <a:p>
            <a:r>
              <a:rPr lang="pt-BR" dirty="0"/>
              <a:t>Adicione um ícone</a:t>
            </a:r>
          </a:p>
        </p:txBody>
      </p:sp>
      <p:sp>
        <p:nvSpPr>
          <p:cNvPr id="12" name="Espaço Reservado para Texto 11">
            <a:extLst>
              <a:ext uri="{FF2B5EF4-FFF2-40B4-BE49-F238E27FC236}">
                <a16:creationId xmlns:a16="http://schemas.microsoft.com/office/drawing/2014/main" id="{2EB556A8-736D-4F82-AA71-82394052CE9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40858" y="2620173"/>
            <a:ext cx="4269619" cy="874713"/>
          </a:xfrm>
        </p:spPr>
        <p:txBody>
          <a:bodyPr lIns="0" tIns="0" rIns="0" bIns="0" anchor="ctr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451"/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Texto corrido 12pt</a:t>
            </a:r>
          </a:p>
        </p:txBody>
      </p:sp>
      <p:sp>
        <p:nvSpPr>
          <p:cNvPr id="13" name="Espaço Reservado para Texto 11">
            <a:extLst>
              <a:ext uri="{FF2B5EF4-FFF2-40B4-BE49-F238E27FC236}">
                <a16:creationId xmlns:a16="http://schemas.microsoft.com/office/drawing/2014/main" id="{8A63DB3E-BDE2-4E1E-999B-94723D8657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140858" y="3981850"/>
            <a:ext cx="4269619" cy="874713"/>
          </a:xfrm>
        </p:spPr>
        <p:txBody>
          <a:bodyPr lIns="0" tIns="0" rIns="0" bIns="0" anchor="ctr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451"/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Texto corrido 12pt</a:t>
            </a:r>
          </a:p>
        </p:txBody>
      </p:sp>
      <p:sp>
        <p:nvSpPr>
          <p:cNvPr id="14" name="Espaço Reservado para Texto 11">
            <a:extLst>
              <a:ext uri="{FF2B5EF4-FFF2-40B4-BE49-F238E27FC236}">
                <a16:creationId xmlns:a16="http://schemas.microsoft.com/office/drawing/2014/main" id="{6EEEFC87-BE12-495C-B238-BAFCBFA9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140858" y="5343527"/>
            <a:ext cx="4269619" cy="874713"/>
          </a:xfrm>
        </p:spPr>
        <p:txBody>
          <a:bodyPr lIns="0" tIns="0" rIns="0" bIns="0" anchor="ctr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451"/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Texto corrido 12pt</a:t>
            </a:r>
          </a:p>
        </p:txBody>
      </p:sp>
      <p:sp>
        <p:nvSpPr>
          <p:cNvPr id="16" name="Espaço Reservado para Conteúdo 15">
            <a:extLst>
              <a:ext uri="{FF2B5EF4-FFF2-40B4-BE49-F238E27FC236}">
                <a16:creationId xmlns:a16="http://schemas.microsoft.com/office/drawing/2014/main" id="{863F88CA-8735-4A0D-994C-B9716DE57A04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978956" y="2620170"/>
            <a:ext cx="4400651" cy="3598068"/>
          </a:xfrm>
        </p:spPr>
        <p:txBody>
          <a:bodyPr anchor="ctr" anchorCtr="1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331">
                <a:solidFill>
                  <a:schemeClr val="accent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Adicione um gráfico, tabela ou imagem.</a:t>
            </a:r>
          </a:p>
        </p:txBody>
      </p:sp>
      <p:sp>
        <p:nvSpPr>
          <p:cNvPr id="17" name="Espaço Reservado para Texto 9">
            <a:extLst>
              <a:ext uri="{FF2B5EF4-FFF2-40B4-BE49-F238E27FC236}">
                <a16:creationId xmlns:a16="http://schemas.microsoft.com/office/drawing/2014/main" id="{0FACC948-0CCB-40EA-B340-03457EE4A63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12398" y="673895"/>
            <a:ext cx="6692698" cy="233362"/>
          </a:xfrm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45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51">
                <a:solidFill>
                  <a:schemeClr val="accent2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451">
                <a:solidFill>
                  <a:schemeClr val="accent2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451">
                <a:solidFill>
                  <a:schemeClr val="accent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451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/>
              <a:t>adicione um subtítulo para apresentação 12pt</a:t>
            </a:r>
          </a:p>
        </p:txBody>
      </p:sp>
    </p:spTree>
    <p:extLst>
      <p:ext uri="{BB962C8B-B14F-4D97-AF65-F5344CB8AC3E}">
        <p14:creationId xmlns:p14="http://schemas.microsoft.com/office/powerpoint/2010/main" val="397464584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m 21">
            <a:extLst>
              <a:ext uri="{FF2B5EF4-FFF2-40B4-BE49-F238E27FC236}">
                <a16:creationId xmlns:a16="http://schemas.microsoft.com/office/drawing/2014/main" id="{BD8088F4-1CE2-4C7F-8758-C6283FEA48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20" y="0"/>
            <a:ext cx="10390474" cy="1276680"/>
          </a:xfrm>
          <a:prstGeom prst="rect">
            <a:avLst/>
          </a:prstGeom>
        </p:spPr>
      </p:pic>
      <p:sp>
        <p:nvSpPr>
          <p:cNvPr id="4" name="Retângulo 3">
            <a:extLst>
              <a:ext uri="{FF2B5EF4-FFF2-40B4-BE49-F238E27FC236}">
                <a16:creationId xmlns:a16="http://schemas.microsoft.com/office/drawing/2014/main" id="{3792E50D-241B-4E82-B9FB-E03E081FA56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86"/>
          </a:p>
        </p:txBody>
      </p:sp>
      <p:pic>
        <p:nvPicPr>
          <p:cNvPr id="24" name="Imagem 23">
            <a:extLst>
              <a:ext uri="{FF2B5EF4-FFF2-40B4-BE49-F238E27FC236}">
                <a16:creationId xmlns:a16="http://schemas.microsoft.com/office/drawing/2014/main" id="{62EC3120-4B0F-4215-9CF8-E2F304EC08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66554" y="6587492"/>
            <a:ext cx="569027" cy="270509"/>
          </a:xfrm>
          <a:prstGeom prst="rect">
            <a:avLst/>
          </a:prstGeom>
        </p:spPr>
      </p:pic>
      <p:sp>
        <p:nvSpPr>
          <p:cNvPr id="21" name="Retângulo 20">
            <a:extLst>
              <a:ext uri="{FF2B5EF4-FFF2-40B4-BE49-F238E27FC236}">
                <a16:creationId xmlns:a16="http://schemas.microsoft.com/office/drawing/2014/main" id="{FCA90D2B-F705-4B1B-B00B-CE35154A4EA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86"/>
          </a:p>
        </p:txBody>
      </p:sp>
      <p:pic>
        <p:nvPicPr>
          <p:cNvPr id="19" name="Imagem 18">
            <a:extLst>
              <a:ext uri="{FF2B5EF4-FFF2-40B4-BE49-F238E27FC236}">
                <a16:creationId xmlns:a16="http://schemas.microsoft.com/office/drawing/2014/main" id="{7F403C9F-EFCA-46BA-9ECA-CCC02D20BFF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20" y="0"/>
            <a:ext cx="10390474" cy="1276680"/>
          </a:xfrm>
          <a:prstGeom prst="rect">
            <a:avLst/>
          </a:prstGeom>
        </p:spPr>
      </p:pic>
      <p:pic>
        <p:nvPicPr>
          <p:cNvPr id="20" name="Imagem 19">
            <a:extLst>
              <a:ext uri="{FF2B5EF4-FFF2-40B4-BE49-F238E27FC236}">
                <a16:creationId xmlns:a16="http://schemas.microsoft.com/office/drawing/2014/main" id="{61C89A27-A830-428F-843D-2A378D62B1C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51325" y="348210"/>
            <a:ext cx="917289" cy="552052"/>
          </a:xfrm>
          <a:prstGeom prst="rect">
            <a:avLst/>
          </a:prstGeom>
        </p:spPr>
      </p:pic>
      <p:pic>
        <p:nvPicPr>
          <p:cNvPr id="18" name="Imagem 17">
            <a:extLst>
              <a:ext uri="{FF2B5EF4-FFF2-40B4-BE49-F238E27FC236}">
                <a16:creationId xmlns:a16="http://schemas.microsoft.com/office/drawing/2014/main" id="{085CEE3B-0F9B-441E-83BB-A11B1846B82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66554" y="6587492"/>
            <a:ext cx="569027" cy="27050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3E0673AE-3C05-45DB-A1E3-1160479FD9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8007" y="384178"/>
            <a:ext cx="8450943" cy="253997"/>
          </a:xfrm>
        </p:spPr>
        <p:txBody>
          <a:bodyPr>
            <a:normAutofit/>
          </a:bodyPr>
          <a:lstStyle>
            <a:lvl1pPr>
              <a:defRPr sz="2176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título do slide 18pt </a:t>
            </a:r>
            <a:r>
              <a:rPr lang="pt-BR" dirty="0" err="1"/>
              <a:t>bold</a:t>
            </a:r>
            <a:endParaRPr lang="pt-BR" dirty="0"/>
          </a:p>
        </p:txBody>
      </p:sp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691DE608-32F9-42EF-A759-0D836707AF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96638CD-16BE-4C6D-BCD9-DBAA1C8BF6B7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6" name="Espaço Reservado para Texto 5">
            <a:extLst>
              <a:ext uri="{FF2B5EF4-FFF2-40B4-BE49-F238E27FC236}">
                <a16:creationId xmlns:a16="http://schemas.microsoft.com/office/drawing/2014/main" id="{722283FA-172F-41D7-BC0D-4CDE81F0B0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2397" y="1476376"/>
            <a:ext cx="10567208" cy="742950"/>
          </a:xfrm>
        </p:spPr>
        <p:txBody>
          <a:bodyPr lIns="0" tIns="0" rIns="0" bIns="0" anchor="ctr" anchorCtr="0"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pt-BR" dirty="0"/>
              <a:t>Texto corrido de destaque 14pt</a:t>
            </a:r>
          </a:p>
        </p:txBody>
      </p:sp>
      <p:sp>
        <p:nvSpPr>
          <p:cNvPr id="8" name="Espaço Reservado para Imagem 7">
            <a:extLst>
              <a:ext uri="{FF2B5EF4-FFF2-40B4-BE49-F238E27FC236}">
                <a16:creationId xmlns:a16="http://schemas.microsoft.com/office/drawing/2014/main" id="{B7DFDCF7-B989-4448-89CB-CCD20451CCB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12398" y="2620173"/>
            <a:ext cx="1110745" cy="874713"/>
          </a:xfrm>
        </p:spPr>
        <p:txBody>
          <a:bodyPr anchor="ctr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1270">
                <a:solidFill>
                  <a:schemeClr val="accent2"/>
                </a:solidFill>
              </a:defRPr>
            </a:lvl1pPr>
          </a:lstStyle>
          <a:p>
            <a:r>
              <a:rPr lang="pt-BR" dirty="0"/>
              <a:t>Adicione um ícone</a:t>
            </a:r>
          </a:p>
        </p:txBody>
      </p:sp>
      <p:sp>
        <p:nvSpPr>
          <p:cNvPr id="9" name="Espaço Reservado para Imagem 7">
            <a:extLst>
              <a:ext uri="{FF2B5EF4-FFF2-40B4-BE49-F238E27FC236}">
                <a16:creationId xmlns:a16="http://schemas.microsoft.com/office/drawing/2014/main" id="{3FF86751-ED61-4568-B37B-370CD2D2FE9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12398" y="5343528"/>
            <a:ext cx="1110745" cy="874713"/>
          </a:xfrm>
        </p:spPr>
        <p:txBody>
          <a:bodyPr anchor="ctr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1270">
                <a:solidFill>
                  <a:schemeClr val="accent2"/>
                </a:solidFill>
              </a:defRPr>
            </a:lvl1pPr>
          </a:lstStyle>
          <a:p>
            <a:r>
              <a:rPr lang="pt-BR" dirty="0"/>
              <a:t>Adicione um ícone</a:t>
            </a:r>
          </a:p>
        </p:txBody>
      </p:sp>
      <p:sp>
        <p:nvSpPr>
          <p:cNvPr id="10" name="Espaço Reservado para Imagem 7">
            <a:extLst>
              <a:ext uri="{FF2B5EF4-FFF2-40B4-BE49-F238E27FC236}">
                <a16:creationId xmlns:a16="http://schemas.microsoft.com/office/drawing/2014/main" id="{B7BF82DD-C601-4163-A746-3B5E862339C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12398" y="3981850"/>
            <a:ext cx="1110745" cy="874713"/>
          </a:xfrm>
        </p:spPr>
        <p:txBody>
          <a:bodyPr anchor="ctr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1270">
                <a:solidFill>
                  <a:schemeClr val="accent2"/>
                </a:solidFill>
              </a:defRPr>
            </a:lvl1pPr>
          </a:lstStyle>
          <a:p>
            <a:r>
              <a:rPr lang="pt-BR" dirty="0"/>
              <a:t>Adicione um ícone</a:t>
            </a:r>
          </a:p>
        </p:txBody>
      </p:sp>
      <p:sp>
        <p:nvSpPr>
          <p:cNvPr id="12" name="Espaço Reservado para Texto 11">
            <a:extLst>
              <a:ext uri="{FF2B5EF4-FFF2-40B4-BE49-F238E27FC236}">
                <a16:creationId xmlns:a16="http://schemas.microsoft.com/office/drawing/2014/main" id="{2EB556A8-736D-4F82-AA71-82394052CE9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40858" y="2620173"/>
            <a:ext cx="4269619" cy="874713"/>
          </a:xfrm>
        </p:spPr>
        <p:txBody>
          <a:bodyPr lIns="0" tIns="0" rIns="0" bIns="0" anchor="ctr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45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Texto corrido 12pt</a:t>
            </a:r>
          </a:p>
        </p:txBody>
      </p:sp>
      <p:sp>
        <p:nvSpPr>
          <p:cNvPr id="13" name="Espaço Reservado para Texto 11">
            <a:extLst>
              <a:ext uri="{FF2B5EF4-FFF2-40B4-BE49-F238E27FC236}">
                <a16:creationId xmlns:a16="http://schemas.microsoft.com/office/drawing/2014/main" id="{8A63DB3E-BDE2-4E1E-999B-94723D8657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140858" y="3981850"/>
            <a:ext cx="4269619" cy="874713"/>
          </a:xfrm>
        </p:spPr>
        <p:txBody>
          <a:bodyPr lIns="0" tIns="0" rIns="0" bIns="0" anchor="ctr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45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Texto corrido 12pt</a:t>
            </a:r>
          </a:p>
        </p:txBody>
      </p:sp>
      <p:sp>
        <p:nvSpPr>
          <p:cNvPr id="14" name="Espaço Reservado para Texto 11">
            <a:extLst>
              <a:ext uri="{FF2B5EF4-FFF2-40B4-BE49-F238E27FC236}">
                <a16:creationId xmlns:a16="http://schemas.microsoft.com/office/drawing/2014/main" id="{6EEEFC87-BE12-495C-B238-BAFCBFA9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140858" y="5343527"/>
            <a:ext cx="4269619" cy="874713"/>
          </a:xfrm>
        </p:spPr>
        <p:txBody>
          <a:bodyPr lIns="0" tIns="0" rIns="0" bIns="0" anchor="ctr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45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Texto corrido 12pt</a:t>
            </a:r>
          </a:p>
        </p:txBody>
      </p:sp>
      <p:sp>
        <p:nvSpPr>
          <p:cNvPr id="16" name="Espaço Reservado para Conteúdo 15">
            <a:extLst>
              <a:ext uri="{FF2B5EF4-FFF2-40B4-BE49-F238E27FC236}">
                <a16:creationId xmlns:a16="http://schemas.microsoft.com/office/drawing/2014/main" id="{863F88CA-8735-4A0D-994C-B9716DE57A04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978956" y="2620170"/>
            <a:ext cx="4400651" cy="3598068"/>
          </a:xfrm>
        </p:spPr>
        <p:txBody>
          <a:bodyPr anchor="ctr" anchorCtr="1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331">
                <a:solidFill>
                  <a:schemeClr val="accent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Adicione um gráfico, tabela ou imagem.</a:t>
            </a:r>
          </a:p>
        </p:txBody>
      </p:sp>
      <p:sp>
        <p:nvSpPr>
          <p:cNvPr id="17" name="Espaço Reservado para Texto 9">
            <a:extLst>
              <a:ext uri="{FF2B5EF4-FFF2-40B4-BE49-F238E27FC236}">
                <a16:creationId xmlns:a16="http://schemas.microsoft.com/office/drawing/2014/main" id="{0FACC948-0CCB-40EA-B340-03457EE4A63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12398" y="673895"/>
            <a:ext cx="6692698" cy="233362"/>
          </a:xfrm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451">
                <a:solidFill>
                  <a:schemeClr val="accent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51">
                <a:solidFill>
                  <a:schemeClr val="accent2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451">
                <a:solidFill>
                  <a:schemeClr val="accent2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451">
                <a:solidFill>
                  <a:schemeClr val="accent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451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/>
              <a:t>adicione um subtítulo para apresentação 12pt</a:t>
            </a:r>
          </a:p>
        </p:txBody>
      </p:sp>
    </p:spTree>
    <p:extLst>
      <p:ext uri="{BB962C8B-B14F-4D97-AF65-F5344CB8AC3E}">
        <p14:creationId xmlns:p14="http://schemas.microsoft.com/office/powerpoint/2010/main" val="409805761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m 11" descr="Uma imagem contendo pássaro&#10;&#10;Descrição gerada automaticamente">
            <a:extLst>
              <a:ext uri="{FF2B5EF4-FFF2-40B4-BE49-F238E27FC236}">
                <a16:creationId xmlns:a16="http://schemas.microsoft.com/office/drawing/2014/main" id="{BC7793A1-AB92-48BA-811B-BC2E5374F1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0395515" cy="1276680"/>
          </a:xfrm>
          <a:prstGeom prst="rect">
            <a:avLst/>
          </a:prstGeom>
        </p:spPr>
      </p:pic>
      <p:sp>
        <p:nvSpPr>
          <p:cNvPr id="14" name="Retângulo 13">
            <a:extLst>
              <a:ext uri="{FF2B5EF4-FFF2-40B4-BE49-F238E27FC236}">
                <a16:creationId xmlns:a16="http://schemas.microsoft.com/office/drawing/2014/main" id="{5A9673D4-F8C6-477E-BEC9-3ED00B5D2328}"/>
              </a:ext>
            </a:extLst>
          </p:cNvPr>
          <p:cNvSpPr/>
          <p:nvPr userDrawn="1"/>
        </p:nvSpPr>
        <p:spPr>
          <a:xfrm>
            <a:off x="0" y="6462844"/>
            <a:ext cx="12192000" cy="39340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86"/>
          </a:p>
        </p:txBody>
      </p:sp>
      <p:pic>
        <p:nvPicPr>
          <p:cNvPr id="16" name="Imagem 15">
            <a:extLst>
              <a:ext uri="{FF2B5EF4-FFF2-40B4-BE49-F238E27FC236}">
                <a16:creationId xmlns:a16="http://schemas.microsoft.com/office/drawing/2014/main" id="{6819AE52-5346-4F79-818D-242D25199F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66554" y="6587492"/>
            <a:ext cx="569027" cy="270509"/>
          </a:xfrm>
          <a:prstGeom prst="rect">
            <a:avLst/>
          </a:prstGeom>
        </p:spPr>
      </p:pic>
      <p:pic>
        <p:nvPicPr>
          <p:cNvPr id="19" name="Imagem 18" descr="Uma imagem contendo pássaro&#10;&#10;Descrição gerada automaticamente">
            <a:extLst>
              <a:ext uri="{FF2B5EF4-FFF2-40B4-BE49-F238E27FC236}">
                <a16:creationId xmlns:a16="http://schemas.microsoft.com/office/drawing/2014/main" id="{7F403C9F-EFCA-46BA-9ECA-CCC02D20BFF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0395515" cy="1276680"/>
          </a:xfrm>
          <a:prstGeom prst="rect">
            <a:avLst/>
          </a:prstGeom>
        </p:spPr>
      </p:pic>
      <p:pic>
        <p:nvPicPr>
          <p:cNvPr id="20" name="Imagem 19" descr="Uma imagem contendo desenho, placar&#10;&#10;Descrição gerada automaticamente">
            <a:extLst>
              <a:ext uri="{FF2B5EF4-FFF2-40B4-BE49-F238E27FC236}">
                <a16:creationId xmlns:a16="http://schemas.microsoft.com/office/drawing/2014/main" id="{61C89A27-A830-428F-843D-2A378D62B1C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0286" y="348210"/>
            <a:ext cx="919368" cy="552052"/>
          </a:xfrm>
          <a:prstGeom prst="rect">
            <a:avLst/>
          </a:prstGeom>
        </p:spPr>
      </p:pic>
      <p:sp>
        <p:nvSpPr>
          <p:cNvPr id="15" name="Retângulo 14">
            <a:extLst>
              <a:ext uri="{FF2B5EF4-FFF2-40B4-BE49-F238E27FC236}">
                <a16:creationId xmlns:a16="http://schemas.microsoft.com/office/drawing/2014/main" id="{04B4B737-B1B8-48CB-ABDC-7A8755D254F1}"/>
              </a:ext>
            </a:extLst>
          </p:cNvPr>
          <p:cNvSpPr/>
          <p:nvPr/>
        </p:nvSpPr>
        <p:spPr>
          <a:xfrm>
            <a:off x="0" y="6473354"/>
            <a:ext cx="12192000" cy="39340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86"/>
          </a:p>
        </p:txBody>
      </p:sp>
      <p:pic>
        <p:nvPicPr>
          <p:cNvPr id="18" name="Imagem 17">
            <a:extLst>
              <a:ext uri="{FF2B5EF4-FFF2-40B4-BE49-F238E27FC236}">
                <a16:creationId xmlns:a16="http://schemas.microsoft.com/office/drawing/2014/main" id="{085CEE3B-0F9B-441E-83BB-A11B1846B82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66554" y="6587492"/>
            <a:ext cx="569027" cy="27050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3E0673AE-3C05-45DB-A1E3-1160479FD9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8007" y="384178"/>
            <a:ext cx="8450943" cy="253997"/>
          </a:xfrm>
        </p:spPr>
        <p:txBody>
          <a:bodyPr>
            <a:normAutofit/>
          </a:bodyPr>
          <a:lstStyle>
            <a:lvl1pPr>
              <a:defRPr sz="2176"/>
            </a:lvl1pPr>
          </a:lstStyle>
          <a:p>
            <a:r>
              <a:rPr lang="pt-BR" dirty="0"/>
              <a:t>título do slide 18pt </a:t>
            </a:r>
            <a:r>
              <a:rPr lang="pt-BR" dirty="0" err="1"/>
              <a:t>bold</a:t>
            </a:r>
            <a:endParaRPr lang="pt-BR" dirty="0"/>
          </a:p>
        </p:txBody>
      </p:sp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691DE608-32F9-42EF-A759-0D836707AF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8886" y="6587490"/>
            <a:ext cx="556697" cy="27051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96638CD-16BE-4C6D-BCD9-DBAA1C8BF6B7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7" name="Espaço Reservado para Texto 9">
            <a:extLst>
              <a:ext uri="{FF2B5EF4-FFF2-40B4-BE49-F238E27FC236}">
                <a16:creationId xmlns:a16="http://schemas.microsoft.com/office/drawing/2014/main" id="{0FACC948-0CCB-40EA-B340-03457EE4A63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12398" y="673895"/>
            <a:ext cx="6692698" cy="233362"/>
          </a:xfrm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45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51">
                <a:solidFill>
                  <a:schemeClr val="accent2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451">
                <a:solidFill>
                  <a:schemeClr val="accent2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451">
                <a:solidFill>
                  <a:schemeClr val="accent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451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/>
              <a:t>adicione um subtítulo para apresentação 12pt</a:t>
            </a:r>
          </a:p>
        </p:txBody>
      </p:sp>
      <p:sp>
        <p:nvSpPr>
          <p:cNvPr id="21" name="Espaço Reservado para Imagem 7">
            <a:extLst>
              <a:ext uri="{FF2B5EF4-FFF2-40B4-BE49-F238E27FC236}">
                <a16:creationId xmlns:a16="http://schemas.microsoft.com/office/drawing/2014/main" id="{AE53897D-1C35-42A1-A0B3-B8192D4EAAD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12398" y="1853911"/>
            <a:ext cx="4269619" cy="1580358"/>
          </a:xfrm>
        </p:spPr>
        <p:txBody>
          <a:bodyPr anchor="ctr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1270">
                <a:solidFill>
                  <a:schemeClr val="accent2"/>
                </a:solidFill>
              </a:defRPr>
            </a:lvl1pPr>
          </a:lstStyle>
          <a:p>
            <a:r>
              <a:rPr lang="pt-BR" dirty="0"/>
              <a:t>Adicione um ícone</a:t>
            </a:r>
          </a:p>
        </p:txBody>
      </p:sp>
      <p:sp>
        <p:nvSpPr>
          <p:cNvPr id="22" name="Espaço Reservado para Texto 11">
            <a:extLst>
              <a:ext uri="{FF2B5EF4-FFF2-40B4-BE49-F238E27FC236}">
                <a16:creationId xmlns:a16="http://schemas.microsoft.com/office/drawing/2014/main" id="{FCD433E7-D429-4C58-8534-EC5A41D3EB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2399" y="3675042"/>
            <a:ext cx="4269619" cy="2171700"/>
          </a:xfrm>
        </p:spPr>
        <p:txBody>
          <a:bodyPr lIns="0" tIns="0" rIns="0" bIns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51"/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Texto corrido 12pt</a:t>
            </a:r>
          </a:p>
        </p:txBody>
      </p:sp>
      <p:sp>
        <p:nvSpPr>
          <p:cNvPr id="23" name="Espaço Reservado para Conteúdo 15">
            <a:extLst>
              <a:ext uri="{FF2B5EF4-FFF2-40B4-BE49-F238E27FC236}">
                <a16:creationId xmlns:a16="http://schemas.microsoft.com/office/drawing/2014/main" id="{E7377847-EA87-43CA-A0F3-F0E1B58A4348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696138" y="1510359"/>
            <a:ext cx="5682747" cy="4694238"/>
          </a:xfrm>
        </p:spPr>
        <p:txBody>
          <a:bodyPr anchor="ctr" anchorCtr="1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331">
                <a:solidFill>
                  <a:schemeClr val="accent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Adicione um gráfico, tabela ou imagem.</a:t>
            </a:r>
          </a:p>
        </p:txBody>
      </p:sp>
    </p:spTree>
    <p:extLst>
      <p:ext uri="{BB962C8B-B14F-4D97-AF65-F5344CB8AC3E}">
        <p14:creationId xmlns:p14="http://schemas.microsoft.com/office/powerpoint/2010/main" val="193491135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14">
            <a:extLst>
              <a:ext uri="{FF2B5EF4-FFF2-40B4-BE49-F238E27FC236}">
                <a16:creationId xmlns:a16="http://schemas.microsoft.com/office/drawing/2014/main" id="{04B4B737-B1B8-48CB-ABDC-7A8755D254F1}"/>
              </a:ext>
            </a:extLst>
          </p:cNvPr>
          <p:cNvSpPr/>
          <p:nvPr/>
        </p:nvSpPr>
        <p:spPr>
          <a:xfrm>
            <a:off x="0" y="-1"/>
            <a:ext cx="12192000" cy="685624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86"/>
          </a:p>
        </p:txBody>
      </p:sp>
      <p:pic>
        <p:nvPicPr>
          <p:cNvPr id="13" name="Imagem 12">
            <a:extLst>
              <a:ext uri="{FF2B5EF4-FFF2-40B4-BE49-F238E27FC236}">
                <a16:creationId xmlns:a16="http://schemas.microsoft.com/office/drawing/2014/main" id="{3FA2B63C-FA90-4ABE-A42D-7F7AE733B9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20" y="0"/>
            <a:ext cx="10390474" cy="1276680"/>
          </a:xfrm>
          <a:prstGeom prst="rect">
            <a:avLst/>
          </a:prstGeom>
        </p:spPr>
      </p:pic>
      <p:sp>
        <p:nvSpPr>
          <p:cNvPr id="12" name="Retângulo 11">
            <a:extLst>
              <a:ext uri="{FF2B5EF4-FFF2-40B4-BE49-F238E27FC236}">
                <a16:creationId xmlns:a16="http://schemas.microsoft.com/office/drawing/2014/main" id="{1DC6C722-0567-4E54-B85C-4DFEF5ECBBD2}"/>
              </a:ext>
            </a:extLst>
          </p:cNvPr>
          <p:cNvSpPr/>
          <p:nvPr userDrawn="1"/>
        </p:nvSpPr>
        <p:spPr>
          <a:xfrm>
            <a:off x="0" y="-1"/>
            <a:ext cx="12192000" cy="685624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86"/>
          </a:p>
        </p:txBody>
      </p:sp>
      <p:pic>
        <p:nvPicPr>
          <p:cNvPr id="16" name="Imagem 15">
            <a:extLst>
              <a:ext uri="{FF2B5EF4-FFF2-40B4-BE49-F238E27FC236}">
                <a16:creationId xmlns:a16="http://schemas.microsoft.com/office/drawing/2014/main" id="{205C7AA7-5473-4693-A042-C69781B815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66554" y="6587492"/>
            <a:ext cx="569027" cy="270509"/>
          </a:xfrm>
          <a:prstGeom prst="rect">
            <a:avLst/>
          </a:prstGeom>
        </p:spPr>
      </p:pic>
      <p:pic>
        <p:nvPicPr>
          <p:cNvPr id="19" name="Imagem 18">
            <a:extLst>
              <a:ext uri="{FF2B5EF4-FFF2-40B4-BE49-F238E27FC236}">
                <a16:creationId xmlns:a16="http://schemas.microsoft.com/office/drawing/2014/main" id="{7F403C9F-EFCA-46BA-9ECA-CCC02D20BFF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20" y="0"/>
            <a:ext cx="10390474" cy="1276680"/>
          </a:xfrm>
          <a:prstGeom prst="rect">
            <a:avLst/>
          </a:prstGeom>
        </p:spPr>
      </p:pic>
      <p:pic>
        <p:nvPicPr>
          <p:cNvPr id="20" name="Imagem 19">
            <a:extLst>
              <a:ext uri="{FF2B5EF4-FFF2-40B4-BE49-F238E27FC236}">
                <a16:creationId xmlns:a16="http://schemas.microsoft.com/office/drawing/2014/main" id="{61C89A27-A830-428F-843D-2A378D62B1C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51325" y="348210"/>
            <a:ext cx="917289" cy="552052"/>
          </a:xfrm>
          <a:prstGeom prst="rect">
            <a:avLst/>
          </a:prstGeom>
        </p:spPr>
      </p:pic>
      <p:pic>
        <p:nvPicPr>
          <p:cNvPr id="18" name="Imagem 17">
            <a:extLst>
              <a:ext uri="{FF2B5EF4-FFF2-40B4-BE49-F238E27FC236}">
                <a16:creationId xmlns:a16="http://schemas.microsoft.com/office/drawing/2014/main" id="{085CEE3B-0F9B-441E-83BB-A11B1846B82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66554" y="6587492"/>
            <a:ext cx="569027" cy="27050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3E0673AE-3C05-45DB-A1E3-1160479FD9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8007" y="384178"/>
            <a:ext cx="8450943" cy="253997"/>
          </a:xfrm>
        </p:spPr>
        <p:txBody>
          <a:bodyPr>
            <a:normAutofit/>
          </a:bodyPr>
          <a:lstStyle>
            <a:lvl1pPr>
              <a:defRPr sz="2176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título do slide 18pt </a:t>
            </a:r>
            <a:r>
              <a:rPr lang="pt-BR" dirty="0" err="1"/>
              <a:t>bold</a:t>
            </a:r>
            <a:endParaRPr lang="pt-BR" dirty="0"/>
          </a:p>
        </p:txBody>
      </p:sp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691DE608-32F9-42EF-A759-0D836707AF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96638CD-16BE-4C6D-BCD9-DBAA1C8BF6B7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7" name="Espaço Reservado para Texto 9">
            <a:extLst>
              <a:ext uri="{FF2B5EF4-FFF2-40B4-BE49-F238E27FC236}">
                <a16:creationId xmlns:a16="http://schemas.microsoft.com/office/drawing/2014/main" id="{0FACC948-0CCB-40EA-B340-03457EE4A63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12398" y="673895"/>
            <a:ext cx="6692698" cy="233362"/>
          </a:xfrm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451">
                <a:solidFill>
                  <a:schemeClr val="accent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51">
                <a:solidFill>
                  <a:schemeClr val="accent2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451">
                <a:solidFill>
                  <a:schemeClr val="accent2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451">
                <a:solidFill>
                  <a:schemeClr val="accent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451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/>
              <a:t>adicione um subtítulo para apresentação 12pt</a:t>
            </a:r>
          </a:p>
        </p:txBody>
      </p:sp>
      <p:sp>
        <p:nvSpPr>
          <p:cNvPr id="21" name="Espaço Reservado para Imagem 7">
            <a:extLst>
              <a:ext uri="{FF2B5EF4-FFF2-40B4-BE49-F238E27FC236}">
                <a16:creationId xmlns:a16="http://schemas.microsoft.com/office/drawing/2014/main" id="{AE53897D-1C35-42A1-A0B3-B8192D4EAAD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12398" y="1853911"/>
            <a:ext cx="4269619" cy="1580358"/>
          </a:xfrm>
        </p:spPr>
        <p:txBody>
          <a:bodyPr anchor="ctr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1270">
                <a:solidFill>
                  <a:schemeClr val="accent2"/>
                </a:solidFill>
              </a:defRPr>
            </a:lvl1pPr>
          </a:lstStyle>
          <a:p>
            <a:r>
              <a:rPr lang="pt-BR" dirty="0"/>
              <a:t>Adicione um ícone</a:t>
            </a:r>
          </a:p>
        </p:txBody>
      </p:sp>
      <p:sp>
        <p:nvSpPr>
          <p:cNvPr id="22" name="Espaço Reservado para Texto 11">
            <a:extLst>
              <a:ext uri="{FF2B5EF4-FFF2-40B4-BE49-F238E27FC236}">
                <a16:creationId xmlns:a16="http://schemas.microsoft.com/office/drawing/2014/main" id="{FCD433E7-D429-4C58-8534-EC5A41D3EB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2399" y="3675042"/>
            <a:ext cx="4269619" cy="2171700"/>
          </a:xfrm>
        </p:spPr>
        <p:txBody>
          <a:bodyPr lIns="0" tIns="0" rIns="0" bIns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5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Texto corrido 12pt</a:t>
            </a:r>
          </a:p>
        </p:txBody>
      </p:sp>
      <p:sp>
        <p:nvSpPr>
          <p:cNvPr id="23" name="Espaço Reservado para Conteúdo 15">
            <a:extLst>
              <a:ext uri="{FF2B5EF4-FFF2-40B4-BE49-F238E27FC236}">
                <a16:creationId xmlns:a16="http://schemas.microsoft.com/office/drawing/2014/main" id="{E7377847-EA87-43CA-A0F3-F0E1B58A4348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696138" y="1510359"/>
            <a:ext cx="5682747" cy="4694238"/>
          </a:xfrm>
        </p:spPr>
        <p:txBody>
          <a:bodyPr anchor="ctr" anchorCtr="1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331">
                <a:solidFill>
                  <a:schemeClr val="accent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Adicione um gráfico, tabela ou imagem.</a:t>
            </a:r>
          </a:p>
        </p:txBody>
      </p:sp>
    </p:spTree>
    <p:extLst>
      <p:ext uri="{BB962C8B-B14F-4D97-AF65-F5344CB8AC3E}">
        <p14:creationId xmlns:p14="http://schemas.microsoft.com/office/powerpoint/2010/main" val="193785146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 12">
            <a:extLst>
              <a:ext uri="{FF2B5EF4-FFF2-40B4-BE49-F238E27FC236}">
                <a16:creationId xmlns:a16="http://schemas.microsoft.com/office/drawing/2014/main" id="{F58568A2-89E7-41EA-95CA-93BCDE74C8AB}"/>
              </a:ext>
            </a:extLst>
          </p:cNvPr>
          <p:cNvSpPr/>
          <p:nvPr userDrawn="1"/>
        </p:nvSpPr>
        <p:spPr>
          <a:xfrm>
            <a:off x="0" y="6462844"/>
            <a:ext cx="12192000" cy="39340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86"/>
          </a:p>
        </p:txBody>
      </p:sp>
      <p:pic>
        <p:nvPicPr>
          <p:cNvPr id="14" name="Imagem 13">
            <a:extLst>
              <a:ext uri="{FF2B5EF4-FFF2-40B4-BE49-F238E27FC236}">
                <a16:creationId xmlns:a16="http://schemas.microsoft.com/office/drawing/2014/main" id="{5A6CFE1C-18A2-4B41-B4C5-C0143469FD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66554" y="6587492"/>
            <a:ext cx="569027" cy="270509"/>
          </a:xfrm>
          <a:prstGeom prst="rect">
            <a:avLst/>
          </a:prstGeom>
        </p:spPr>
      </p:pic>
      <p:pic>
        <p:nvPicPr>
          <p:cNvPr id="5" name="Imagem 4" descr="Tela de celular com texto preto sobre fundo branco&#10;&#10;Descrição gerada automaticamente">
            <a:extLst>
              <a:ext uri="{FF2B5EF4-FFF2-40B4-BE49-F238E27FC236}">
                <a16:creationId xmlns:a16="http://schemas.microsoft.com/office/drawing/2014/main" id="{7AD55CE1-74E2-459E-987A-5554744E836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81489" y="1"/>
            <a:ext cx="2134990" cy="1104332"/>
          </a:xfrm>
          <a:prstGeom prst="rect">
            <a:avLst/>
          </a:prstGeom>
        </p:spPr>
      </p:pic>
      <p:sp>
        <p:nvSpPr>
          <p:cNvPr id="9" name="Retângulo 8">
            <a:extLst>
              <a:ext uri="{FF2B5EF4-FFF2-40B4-BE49-F238E27FC236}">
                <a16:creationId xmlns:a16="http://schemas.microsoft.com/office/drawing/2014/main" id="{E04DC0EB-3418-4C3F-98D1-58754C95189A}"/>
              </a:ext>
            </a:extLst>
          </p:cNvPr>
          <p:cNvSpPr/>
          <p:nvPr/>
        </p:nvSpPr>
        <p:spPr>
          <a:xfrm>
            <a:off x="0" y="6462844"/>
            <a:ext cx="12192000" cy="39340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86"/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F674DBBE-FE67-4828-AFD9-8E2806FFFA8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66554" y="6587492"/>
            <a:ext cx="569027" cy="270509"/>
          </a:xfrm>
          <a:prstGeom prst="rect">
            <a:avLst/>
          </a:prstGeom>
        </p:spPr>
      </p:pic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EF80648E-2D0D-4FBE-B4C5-520CD377655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B06766-DC36-4174-9907-BEF22DE810EF}" type="slidenum">
              <a:rPr lang="pt-BR" smtClean="0">
                <a:solidFill>
                  <a:schemeClr val="tx2"/>
                </a:solidFill>
              </a:rPr>
              <a:pPr/>
              <a:t>‹nº›</a:t>
            </a:fld>
            <a:r>
              <a:rPr lang="pt-BR" dirty="0"/>
              <a:t> </a:t>
            </a:r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5124F407-C6B4-4CC0-879E-9FFCDB265F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8007" y="384178"/>
            <a:ext cx="8882375" cy="253997"/>
          </a:xfrm>
        </p:spPr>
        <p:txBody>
          <a:bodyPr>
            <a:normAutofit/>
          </a:bodyPr>
          <a:lstStyle>
            <a:lvl1pPr>
              <a:defRPr sz="2176" b="1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título do slide 18pt </a:t>
            </a:r>
            <a:r>
              <a:rPr lang="pt-BR" dirty="0" err="1"/>
              <a:t>bold</a:t>
            </a:r>
            <a:endParaRPr lang="pt-BR" dirty="0"/>
          </a:p>
        </p:txBody>
      </p:sp>
      <p:sp>
        <p:nvSpPr>
          <p:cNvPr id="6" name="Espaço Reservado para Conteúdo 15">
            <a:extLst>
              <a:ext uri="{FF2B5EF4-FFF2-40B4-BE49-F238E27FC236}">
                <a16:creationId xmlns:a16="http://schemas.microsoft.com/office/drawing/2014/main" id="{A44ECD8B-7954-41EC-9B46-82078D55D17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805913" y="1181100"/>
            <a:ext cx="5682747" cy="5038725"/>
          </a:xfrm>
        </p:spPr>
        <p:txBody>
          <a:bodyPr anchor="ctr" anchorCtr="1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331">
                <a:solidFill>
                  <a:schemeClr val="accent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Adicione um gráfico, tabela ou imagem.</a:t>
            </a:r>
          </a:p>
        </p:txBody>
      </p:sp>
      <p:sp>
        <p:nvSpPr>
          <p:cNvPr id="7" name="Espaço Reservado para Texto 11">
            <a:extLst>
              <a:ext uri="{FF2B5EF4-FFF2-40B4-BE49-F238E27FC236}">
                <a16:creationId xmlns:a16="http://schemas.microsoft.com/office/drawing/2014/main" id="{4E301545-9F91-4B66-9BF9-2BDA99EE2CE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96935" y="1352551"/>
            <a:ext cx="4269619" cy="4695820"/>
          </a:xfrm>
        </p:spPr>
        <p:txBody>
          <a:bodyPr lIns="0" tIns="0" rIns="0" bIns="0" anchor="ctr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451"/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Texto corrido 12pt</a:t>
            </a:r>
          </a:p>
        </p:txBody>
      </p:sp>
      <p:sp>
        <p:nvSpPr>
          <p:cNvPr id="8" name="Espaço Reservado para Texto 9">
            <a:extLst>
              <a:ext uri="{FF2B5EF4-FFF2-40B4-BE49-F238E27FC236}">
                <a16:creationId xmlns:a16="http://schemas.microsoft.com/office/drawing/2014/main" id="{A0BD38B6-C265-4209-B9C2-8800B510A6D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12398" y="673895"/>
            <a:ext cx="6692698" cy="233362"/>
          </a:xfrm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451">
                <a:solidFill>
                  <a:schemeClr val="accent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51">
                <a:solidFill>
                  <a:schemeClr val="accent2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451">
                <a:solidFill>
                  <a:schemeClr val="accent2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451">
                <a:solidFill>
                  <a:schemeClr val="accent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451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/>
              <a:t>adicione um subtítulo para apresentação 12pt</a:t>
            </a:r>
          </a:p>
        </p:txBody>
      </p:sp>
      <p:pic>
        <p:nvPicPr>
          <p:cNvPr id="11" name="Imagem 10">
            <a:extLst>
              <a:ext uri="{FF2B5EF4-FFF2-40B4-BE49-F238E27FC236}">
                <a16:creationId xmlns:a16="http://schemas.microsoft.com/office/drawing/2014/main" id="{A86B28A2-D43F-41D8-962A-C997614EDFF1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55805" y="349518"/>
            <a:ext cx="915143" cy="550760"/>
          </a:xfrm>
          <a:prstGeom prst="rect">
            <a:avLst/>
          </a:prstGeom>
        </p:spPr>
      </p:pic>
      <p:pic>
        <p:nvPicPr>
          <p:cNvPr id="12" name="Imagem 11" descr="Tela de celular com texto preto sobre fundo branco&#10;&#10;Descrição gerada automaticamente">
            <a:extLst>
              <a:ext uri="{FF2B5EF4-FFF2-40B4-BE49-F238E27FC236}">
                <a16:creationId xmlns:a16="http://schemas.microsoft.com/office/drawing/2014/main" id="{D4F0DB17-9328-4F02-8707-ECBF0CBC9D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81489" y="1"/>
            <a:ext cx="2134990" cy="1104332"/>
          </a:xfrm>
          <a:prstGeom prst="rect">
            <a:avLst/>
          </a:prstGeom>
        </p:spPr>
      </p:pic>
      <p:pic>
        <p:nvPicPr>
          <p:cNvPr id="15" name="Imagem 14">
            <a:extLst>
              <a:ext uri="{FF2B5EF4-FFF2-40B4-BE49-F238E27FC236}">
                <a16:creationId xmlns:a16="http://schemas.microsoft.com/office/drawing/2014/main" id="{C4E52620-BFEC-436E-B94D-93E90E8411B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55805" y="349518"/>
            <a:ext cx="915143" cy="550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08097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Layout Personaliza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D5646EC8-A361-6048-B90C-151A953B85FA}"/>
              </a:ext>
            </a:extLst>
          </p:cNvPr>
          <p:cNvSpPr/>
          <p:nvPr userDrawn="1"/>
        </p:nvSpPr>
        <p:spPr>
          <a:xfrm>
            <a:off x="-4035" y="0"/>
            <a:ext cx="3341819" cy="685800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Roboto" panose="02000000000000000000" pitchFamily="2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5FA242C8-007A-4875-A0CB-61EECEB203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0" y="2324100"/>
            <a:ext cx="6810375" cy="1866900"/>
          </a:xfrm>
        </p:spPr>
        <p:txBody>
          <a:bodyPr>
            <a:noAutofit/>
          </a:bodyPr>
          <a:lstStyle>
            <a:lvl1pPr>
              <a:defRPr sz="5400" b="0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Título do capítulo 54pt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DAC4E853-834C-43B3-80B8-F0D188926CA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50" y="1905000"/>
            <a:ext cx="6810375" cy="209550"/>
          </a:xfrm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pt-BR" dirty="0"/>
              <a:t>Nome do capítulo</a:t>
            </a:r>
          </a:p>
        </p:txBody>
      </p:sp>
      <p:sp>
        <p:nvSpPr>
          <p:cNvPr id="6" name="Espaço Reservado para Texto 4">
            <a:extLst>
              <a:ext uri="{FF2B5EF4-FFF2-40B4-BE49-F238E27FC236}">
                <a16:creationId xmlns:a16="http://schemas.microsoft.com/office/drawing/2014/main" id="{84BD97C9-26E4-4A17-A1CA-39A3F1FAD5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0" y="4400550"/>
            <a:ext cx="6810375" cy="704850"/>
          </a:xfrm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pt-BR" dirty="0"/>
              <a:t>Descritivo do capítulo 14pt</a:t>
            </a:r>
          </a:p>
        </p:txBody>
      </p:sp>
      <p:pic>
        <p:nvPicPr>
          <p:cNvPr id="4" name="Imagem 3" descr="Uma imagem contendo objeto, relógio&#10;&#10;Descrição gerada automaticamente">
            <a:extLst>
              <a:ext uri="{FF2B5EF4-FFF2-40B4-BE49-F238E27FC236}">
                <a16:creationId xmlns:a16="http://schemas.microsoft.com/office/drawing/2014/main" id="{F5A184B2-1C33-48B4-8E57-FD162F177F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035" y="0"/>
            <a:ext cx="3341819" cy="6858000"/>
          </a:xfrm>
          <a:prstGeom prst="rect">
            <a:avLst/>
          </a:prstGeom>
        </p:spPr>
      </p:pic>
      <p:pic>
        <p:nvPicPr>
          <p:cNvPr id="10" name="Imagem 9" descr="Uma imagem contendo relógio, placar&#10;&#10;Descrição gerada automaticamente">
            <a:extLst>
              <a:ext uri="{FF2B5EF4-FFF2-40B4-BE49-F238E27FC236}">
                <a16:creationId xmlns:a16="http://schemas.microsoft.com/office/drawing/2014/main" id="{B7138702-CB8F-463E-A4FC-5CEABB9AEE9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1283" y="5643101"/>
            <a:ext cx="1087753" cy="786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44077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tângulo 10">
            <a:extLst>
              <a:ext uri="{FF2B5EF4-FFF2-40B4-BE49-F238E27FC236}">
                <a16:creationId xmlns:a16="http://schemas.microsoft.com/office/drawing/2014/main" id="{814E7593-55D8-441C-99B9-4B2864583468}"/>
              </a:ext>
            </a:extLst>
          </p:cNvPr>
          <p:cNvSpPr/>
          <p:nvPr userDrawn="1"/>
        </p:nvSpPr>
        <p:spPr>
          <a:xfrm>
            <a:off x="1" y="0"/>
            <a:ext cx="422602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86"/>
          </a:p>
        </p:txBody>
      </p:sp>
      <p:pic>
        <p:nvPicPr>
          <p:cNvPr id="12" name="Imagem 11">
            <a:extLst>
              <a:ext uri="{FF2B5EF4-FFF2-40B4-BE49-F238E27FC236}">
                <a16:creationId xmlns:a16="http://schemas.microsoft.com/office/drawing/2014/main" id="{46FD03CB-DBDA-4E78-BC01-1C3BB561F7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66284" y="6587492"/>
            <a:ext cx="969299" cy="270509"/>
          </a:xfrm>
          <a:prstGeom prst="rect">
            <a:avLst/>
          </a:prstGeom>
        </p:spPr>
      </p:pic>
      <p:sp>
        <p:nvSpPr>
          <p:cNvPr id="4" name="Retângulo 3">
            <a:extLst>
              <a:ext uri="{FF2B5EF4-FFF2-40B4-BE49-F238E27FC236}">
                <a16:creationId xmlns:a16="http://schemas.microsoft.com/office/drawing/2014/main" id="{324664EA-7AAB-42DF-A609-13315A061D77}"/>
              </a:ext>
            </a:extLst>
          </p:cNvPr>
          <p:cNvSpPr/>
          <p:nvPr/>
        </p:nvSpPr>
        <p:spPr>
          <a:xfrm>
            <a:off x="1" y="0"/>
            <a:ext cx="422602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86"/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DA4370AC-9C60-4F74-98E2-60B6AE50BA4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66284" y="6587492"/>
            <a:ext cx="969299" cy="27050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31A0B97-DBC6-4979-8CBF-516AEF2251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0573" y="1181101"/>
            <a:ext cx="3156857" cy="5038724"/>
          </a:xfrm>
        </p:spPr>
        <p:txBody>
          <a:bodyPr/>
          <a:lstStyle>
            <a:lvl1pPr marL="322536" indent="-322536">
              <a:buSzPct val="170000"/>
              <a:buFontTx/>
              <a:buBlip>
                <a:blip r:embed="rId3"/>
              </a:buBlip>
              <a:defRPr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47C72D25-BAA4-472D-A6E7-B0701374A37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B06766-DC36-4174-9907-BEF22DE810EF}" type="slidenum">
              <a:rPr lang="pt-BR" smtClean="0"/>
              <a:pPr/>
              <a:t>‹nº›</a:t>
            </a:fld>
            <a:r>
              <a:rPr lang="pt-BR"/>
              <a:t> </a:t>
            </a:r>
            <a:endParaRPr lang="pt-BR" dirty="0"/>
          </a:p>
        </p:txBody>
      </p:sp>
      <p:sp>
        <p:nvSpPr>
          <p:cNvPr id="6" name="Espaço Reservado para Texto 5">
            <a:extLst>
              <a:ext uri="{FF2B5EF4-FFF2-40B4-BE49-F238E27FC236}">
                <a16:creationId xmlns:a16="http://schemas.microsoft.com/office/drawing/2014/main" id="{20F5CE72-0B13-4841-AF08-A6D05112E45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11097" y="1414463"/>
            <a:ext cx="6668508" cy="4805362"/>
          </a:xfrm>
        </p:spPr>
        <p:txBody>
          <a:bodyPr anchor="ctr" anchorCtr="0"/>
          <a:lstStyle>
            <a:lvl1pPr marL="276460" indent="-276460">
              <a:buFontTx/>
              <a:buBlip>
                <a:blip r:embed="rId4"/>
              </a:buBlip>
              <a:defRPr/>
            </a:lvl1pPr>
          </a:lstStyle>
          <a:p>
            <a:pPr lvl="0"/>
            <a:r>
              <a:rPr lang="pt-BR" dirty="0"/>
              <a:t>Coloque os </a:t>
            </a:r>
            <a:r>
              <a:rPr lang="pt-BR" dirty="0" err="1"/>
              <a:t>bullets</a:t>
            </a:r>
            <a:r>
              <a:rPr lang="pt-BR" dirty="0"/>
              <a:t> points aqui;</a:t>
            </a:r>
          </a:p>
          <a:p>
            <a:pPr lvl="0"/>
            <a:r>
              <a:rPr lang="pt-BR" dirty="0"/>
              <a:t>E mais;</a:t>
            </a:r>
          </a:p>
          <a:p>
            <a:pPr lvl="0"/>
            <a:r>
              <a:rPr lang="pt-BR" dirty="0"/>
              <a:t>E mais.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FD6062F1-A3E4-4283-B54C-8EBB337580C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05402" y="2179"/>
            <a:ext cx="2486598" cy="1178925"/>
          </a:xfrm>
          <a:prstGeom prst="rect">
            <a:avLst/>
          </a:prstGeom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DA3870B3-BBEF-4545-91B8-7297CF39A80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05402" y="2177"/>
            <a:ext cx="2486598" cy="1178925"/>
          </a:xfrm>
          <a:prstGeom prst="rect">
            <a:avLst/>
          </a:prstGeom>
        </p:spPr>
      </p:pic>
      <p:pic>
        <p:nvPicPr>
          <p:cNvPr id="8" name="Imagem 7" descr="Tela de celular com texto preto sobre fundo branco&#10;&#10;Descrição gerada automaticamente">
            <a:extLst>
              <a:ext uri="{FF2B5EF4-FFF2-40B4-BE49-F238E27FC236}">
                <a16:creationId xmlns:a16="http://schemas.microsoft.com/office/drawing/2014/main" id="{41C6CC4C-7F7A-4BDF-AB64-22A86C13C33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81489" y="1"/>
            <a:ext cx="2134990" cy="1104332"/>
          </a:xfrm>
          <a:prstGeom prst="rect">
            <a:avLst/>
          </a:prstGeom>
        </p:spPr>
      </p:pic>
      <p:pic>
        <p:nvPicPr>
          <p:cNvPr id="9" name="Imagem 8">
            <a:extLst>
              <a:ext uri="{FF2B5EF4-FFF2-40B4-BE49-F238E27FC236}">
                <a16:creationId xmlns:a16="http://schemas.microsoft.com/office/drawing/2014/main" id="{218C0334-BDE4-43A1-8819-7A2C454A33E6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55805" y="349518"/>
            <a:ext cx="915143" cy="550760"/>
          </a:xfrm>
          <a:prstGeom prst="rect">
            <a:avLst/>
          </a:prstGeom>
        </p:spPr>
      </p:pic>
      <p:pic>
        <p:nvPicPr>
          <p:cNvPr id="13" name="Imagem 12">
            <a:extLst>
              <a:ext uri="{FF2B5EF4-FFF2-40B4-BE49-F238E27FC236}">
                <a16:creationId xmlns:a16="http://schemas.microsoft.com/office/drawing/2014/main" id="{B8C8875E-7202-4B58-BE8B-89344A408A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05402" y="2177"/>
            <a:ext cx="2486598" cy="1178925"/>
          </a:xfrm>
          <a:prstGeom prst="rect">
            <a:avLst/>
          </a:prstGeom>
        </p:spPr>
      </p:pic>
      <p:pic>
        <p:nvPicPr>
          <p:cNvPr id="14" name="Imagem 13" descr="Tela de celular com texto preto sobre fundo branco&#10;&#10;Descrição gerada automaticamente">
            <a:extLst>
              <a:ext uri="{FF2B5EF4-FFF2-40B4-BE49-F238E27FC236}">
                <a16:creationId xmlns:a16="http://schemas.microsoft.com/office/drawing/2014/main" id="{93D1E5A8-E4D2-4E81-B2E6-23CB2F2698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81489" y="1"/>
            <a:ext cx="2134990" cy="1104332"/>
          </a:xfrm>
          <a:prstGeom prst="rect">
            <a:avLst/>
          </a:prstGeom>
        </p:spPr>
      </p:pic>
      <p:pic>
        <p:nvPicPr>
          <p:cNvPr id="15" name="Imagem 14">
            <a:extLst>
              <a:ext uri="{FF2B5EF4-FFF2-40B4-BE49-F238E27FC236}">
                <a16:creationId xmlns:a16="http://schemas.microsoft.com/office/drawing/2014/main" id="{B3DF2223-39DA-4F6C-9CE9-782E84338E3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55805" y="349518"/>
            <a:ext cx="915143" cy="550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722831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m 11">
            <a:extLst>
              <a:ext uri="{FF2B5EF4-FFF2-40B4-BE49-F238E27FC236}">
                <a16:creationId xmlns:a16="http://schemas.microsoft.com/office/drawing/2014/main" id="{F952F962-68C8-4181-A471-925845E6A4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66284" y="6587492"/>
            <a:ext cx="969299" cy="270509"/>
          </a:xfrm>
          <a:prstGeom prst="rect">
            <a:avLst/>
          </a:prstGeom>
        </p:spPr>
      </p:pic>
      <p:sp>
        <p:nvSpPr>
          <p:cNvPr id="11" name="Espaço Reservado para Imagem 6">
            <a:extLst>
              <a:ext uri="{FF2B5EF4-FFF2-40B4-BE49-F238E27FC236}">
                <a16:creationId xmlns:a16="http://schemas.microsoft.com/office/drawing/2014/main" id="{8AABD8C3-D366-4352-A97F-D052D7C3E66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757" y="-1"/>
            <a:ext cx="4226020" cy="6858001"/>
          </a:xfrm>
          <a:solidFill>
            <a:srgbClr val="CC2362">
              <a:alpha val="20000"/>
            </a:srgbClr>
          </a:solidFill>
        </p:spPr>
        <p:txBody>
          <a:bodyPr anchor="ctr" anchorCtr="0"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pt-BR"/>
              <a:t>Clique no ícone para adicionar uma imagem</a:t>
            </a:r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DA4370AC-9C60-4F74-98E2-60B6AE50BA4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66284" y="6587492"/>
            <a:ext cx="969299" cy="27050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31A0B97-DBC6-4979-8CBF-516AEF2251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0573" y="1181101"/>
            <a:ext cx="3156857" cy="5038724"/>
          </a:xfrm>
          <a:ln>
            <a:noFill/>
          </a:ln>
        </p:spPr>
        <p:txBody>
          <a:bodyPr/>
          <a:lstStyle>
            <a:lvl1pPr marL="322536" indent="-322536">
              <a:buSzPct val="170000"/>
              <a:buFontTx/>
              <a:buBlip>
                <a:blip r:embed="rId3"/>
              </a:buBlip>
              <a:defRPr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47C72D25-BAA4-472D-A6E7-B0701374A37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B06766-DC36-4174-9907-BEF22DE810EF}" type="slidenum">
              <a:rPr lang="pt-BR" smtClean="0"/>
              <a:pPr/>
              <a:t>‹nº›</a:t>
            </a:fld>
            <a:r>
              <a:rPr lang="pt-BR"/>
              <a:t> </a:t>
            </a:r>
            <a:endParaRPr lang="pt-BR" dirty="0"/>
          </a:p>
        </p:txBody>
      </p:sp>
      <p:sp>
        <p:nvSpPr>
          <p:cNvPr id="6" name="Espaço Reservado para Texto 5">
            <a:extLst>
              <a:ext uri="{FF2B5EF4-FFF2-40B4-BE49-F238E27FC236}">
                <a16:creationId xmlns:a16="http://schemas.microsoft.com/office/drawing/2014/main" id="{20F5CE72-0B13-4841-AF08-A6D05112E45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11097" y="1414463"/>
            <a:ext cx="6668508" cy="4805362"/>
          </a:xfrm>
        </p:spPr>
        <p:txBody>
          <a:bodyPr anchor="ctr" anchorCtr="0"/>
          <a:lstStyle>
            <a:lvl1pPr marL="276460" indent="-276460">
              <a:buFontTx/>
              <a:buBlip>
                <a:blip r:embed="rId4"/>
              </a:buBlip>
              <a:defRPr/>
            </a:lvl1pPr>
          </a:lstStyle>
          <a:p>
            <a:pPr lvl="0"/>
            <a:r>
              <a:rPr lang="pt-BR" dirty="0"/>
              <a:t>Coloque os </a:t>
            </a:r>
            <a:r>
              <a:rPr lang="pt-BR" dirty="0" err="1"/>
              <a:t>bullets</a:t>
            </a:r>
            <a:r>
              <a:rPr lang="pt-BR" dirty="0"/>
              <a:t> points aqui;</a:t>
            </a:r>
          </a:p>
          <a:p>
            <a:pPr lvl="0"/>
            <a:r>
              <a:rPr lang="pt-BR" dirty="0"/>
              <a:t>E mais;</a:t>
            </a:r>
          </a:p>
          <a:p>
            <a:pPr lvl="0"/>
            <a:r>
              <a:rPr lang="pt-BR" dirty="0"/>
              <a:t>E mais.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FD6062F1-A3E4-4283-B54C-8EBB337580C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05402" y="2179"/>
            <a:ext cx="2486598" cy="1178925"/>
          </a:xfrm>
          <a:prstGeom prst="rect">
            <a:avLst/>
          </a:prstGeom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DA3870B3-BBEF-4545-91B8-7297CF39A80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05402" y="2177"/>
            <a:ext cx="2486598" cy="1178925"/>
          </a:xfrm>
          <a:prstGeom prst="rect">
            <a:avLst/>
          </a:prstGeom>
        </p:spPr>
      </p:pic>
      <p:pic>
        <p:nvPicPr>
          <p:cNvPr id="8" name="Imagem 7" descr="Tela de celular com texto preto sobre fundo branco&#10;&#10;Descrição gerada automaticamente">
            <a:extLst>
              <a:ext uri="{FF2B5EF4-FFF2-40B4-BE49-F238E27FC236}">
                <a16:creationId xmlns:a16="http://schemas.microsoft.com/office/drawing/2014/main" id="{41C6CC4C-7F7A-4BDF-AB64-22A86C13C33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81489" y="1"/>
            <a:ext cx="2134990" cy="1104332"/>
          </a:xfrm>
          <a:prstGeom prst="rect">
            <a:avLst/>
          </a:prstGeom>
        </p:spPr>
      </p:pic>
      <p:pic>
        <p:nvPicPr>
          <p:cNvPr id="9" name="Imagem 8">
            <a:extLst>
              <a:ext uri="{FF2B5EF4-FFF2-40B4-BE49-F238E27FC236}">
                <a16:creationId xmlns:a16="http://schemas.microsoft.com/office/drawing/2014/main" id="{218C0334-BDE4-43A1-8819-7A2C454A33E6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55805" y="349518"/>
            <a:ext cx="915143" cy="550760"/>
          </a:xfrm>
          <a:prstGeom prst="rect">
            <a:avLst/>
          </a:prstGeom>
        </p:spPr>
      </p:pic>
      <p:pic>
        <p:nvPicPr>
          <p:cNvPr id="13" name="Imagem 12">
            <a:extLst>
              <a:ext uri="{FF2B5EF4-FFF2-40B4-BE49-F238E27FC236}">
                <a16:creationId xmlns:a16="http://schemas.microsoft.com/office/drawing/2014/main" id="{9D3AA9D6-7F4F-4C05-AFC4-F6C378F00E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05402" y="2177"/>
            <a:ext cx="2486598" cy="1178925"/>
          </a:xfrm>
          <a:prstGeom prst="rect">
            <a:avLst/>
          </a:prstGeom>
        </p:spPr>
      </p:pic>
      <p:pic>
        <p:nvPicPr>
          <p:cNvPr id="14" name="Imagem 13" descr="Tela de celular com texto preto sobre fundo branco&#10;&#10;Descrição gerada automaticamente">
            <a:extLst>
              <a:ext uri="{FF2B5EF4-FFF2-40B4-BE49-F238E27FC236}">
                <a16:creationId xmlns:a16="http://schemas.microsoft.com/office/drawing/2014/main" id="{E4A6F942-4524-4538-9AFC-F581826EA5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81489" y="1"/>
            <a:ext cx="2134990" cy="1104332"/>
          </a:xfrm>
          <a:prstGeom prst="rect">
            <a:avLst/>
          </a:prstGeom>
        </p:spPr>
      </p:pic>
      <p:pic>
        <p:nvPicPr>
          <p:cNvPr id="15" name="Imagem 14">
            <a:extLst>
              <a:ext uri="{FF2B5EF4-FFF2-40B4-BE49-F238E27FC236}">
                <a16:creationId xmlns:a16="http://schemas.microsoft.com/office/drawing/2014/main" id="{016FE828-B58A-48EA-8585-1A51822DCD6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55805" y="349518"/>
            <a:ext cx="915143" cy="550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60440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tângulo 16">
            <a:extLst>
              <a:ext uri="{FF2B5EF4-FFF2-40B4-BE49-F238E27FC236}">
                <a16:creationId xmlns:a16="http://schemas.microsoft.com/office/drawing/2014/main" id="{0BF4521B-163F-4B65-9984-23544689F305}"/>
              </a:ext>
            </a:extLst>
          </p:cNvPr>
          <p:cNvSpPr/>
          <p:nvPr userDrawn="1"/>
        </p:nvSpPr>
        <p:spPr>
          <a:xfrm>
            <a:off x="0" y="1"/>
            <a:ext cx="12192000" cy="310470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86"/>
          </a:p>
        </p:txBody>
      </p:sp>
      <p:pic>
        <p:nvPicPr>
          <p:cNvPr id="16" name="Imagem 15">
            <a:extLst>
              <a:ext uri="{FF2B5EF4-FFF2-40B4-BE49-F238E27FC236}">
                <a16:creationId xmlns:a16="http://schemas.microsoft.com/office/drawing/2014/main" id="{191B4127-06BA-4F7C-9DB8-3143FA85A96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66284" y="6587492"/>
            <a:ext cx="969299" cy="270509"/>
          </a:xfrm>
          <a:prstGeom prst="rect">
            <a:avLst/>
          </a:prstGeom>
        </p:spPr>
      </p:pic>
      <p:pic>
        <p:nvPicPr>
          <p:cNvPr id="15" name="Imagem 14">
            <a:extLst>
              <a:ext uri="{FF2B5EF4-FFF2-40B4-BE49-F238E27FC236}">
                <a16:creationId xmlns:a16="http://schemas.microsoft.com/office/drawing/2014/main" id="{32C2D2EC-14A2-47F9-BBCE-3D02DBBAE2B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66284" y="6587492"/>
            <a:ext cx="969299" cy="270509"/>
          </a:xfrm>
          <a:prstGeom prst="rect">
            <a:avLst/>
          </a:prstGeom>
        </p:spPr>
      </p:pic>
      <p:sp>
        <p:nvSpPr>
          <p:cNvPr id="4" name="Retângulo 3">
            <a:extLst>
              <a:ext uri="{FF2B5EF4-FFF2-40B4-BE49-F238E27FC236}">
                <a16:creationId xmlns:a16="http://schemas.microsoft.com/office/drawing/2014/main" id="{3CEC0927-B04C-40EF-8722-EE5791C41ECA}"/>
              </a:ext>
            </a:extLst>
          </p:cNvPr>
          <p:cNvSpPr/>
          <p:nvPr/>
        </p:nvSpPr>
        <p:spPr>
          <a:xfrm>
            <a:off x="0" y="1"/>
            <a:ext cx="12192000" cy="310470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86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3E4EEED-7F8E-4C63-9A08-47EC3F4D11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93324" y="1312389"/>
            <a:ext cx="6545258" cy="368296"/>
          </a:xfrm>
        </p:spPr>
        <p:txBody>
          <a:bodyPr/>
          <a:lstStyle>
            <a:lvl1pPr>
              <a:defRPr/>
            </a:lvl1pPr>
          </a:lstStyle>
          <a:p>
            <a:r>
              <a:rPr lang="pt-BR" dirty="0"/>
              <a:t>título de 24pt </a:t>
            </a:r>
            <a:r>
              <a:rPr lang="pt-BR" dirty="0" err="1"/>
              <a:t>bold</a:t>
            </a:r>
            <a:endParaRPr lang="pt-BR" dirty="0"/>
          </a:p>
        </p:txBody>
      </p:sp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FD152A23-C4DB-428E-9E93-1CCAA24D76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B06766-DC36-4174-9907-BEF22DE810EF}" type="slidenum">
              <a:rPr lang="pt-BR" smtClean="0"/>
              <a:pPr/>
              <a:t>‹nº›</a:t>
            </a:fld>
            <a:r>
              <a:rPr lang="pt-BR"/>
              <a:t> </a:t>
            </a:r>
            <a:endParaRPr lang="pt-BR" dirty="0"/>
          </a:p>
        </p:txBody>
      </p:sp>
      <p:sp>
        <p:nvSpPr>
          <p:cNvPr id="5" name="Espaço Reservado para Texto 11">
            <a:extLst>
              <a:ext uri="{FF2B5EF4-FFF2-40B4-BE49-F238E27FC236}">
                <a16:creationId xmlns:a16="http://schemas.microsoft.com/office/drawing/2014/main" id="{C4C93A35-E558-43C2-9DAB-BE94DA0CBE4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2399" y="4876802"/>
            <a:ext cx="3275793" cy="1343025"/>
          </a:xfrm>
        </p:spPr>
        <p:txBody>
          <a:bodyPr lIns="72000" tIns="0" rIns="72000" bIns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51"/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Texto corrido 12pt</a:t>
            </a:r>
          </a:p>
        </p:txBody>
      </p:sp>
      <p:sp>
        <p:nvSpPr>
          <p:cNvPr id="6" name="Espaço Reservado para Texto 11">
            <a:extLst>
              <a:ext uri="{FF2B5EF4-FFF2-40B4-BE49-F238E27FC236}">
                <a16:creationId xmlns:a16="http://schemas.microsoft.com/office/drawing/2014/main" id="{1C0F6430-F9C1-4A35-8F5C-A4630471B53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58106" y="4876802"/>
            <a:ext cx="3275793" cy="1343025"/>
          </a:xfrm>
        </p:spPr>
        <p:txBody>
          <a:bodyPr lIns="72000" tIns="0" rIns="72000" bIns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51"/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Texto corrido 12pt</a:t>
            </a:r>
          </a:p>
        </p:txBody>
      </p:sp>
      <p:sp>
        <p:nvSpPr>
          <p:cNvPr id="7" name="Espaço Reservado para Texto 11">
            <a:extLst>
              <a:ext uri="{FF2B5EF4-FFF2-40B4-BE49-F238E27FC236}">
                <a16:creationId xmlns:a16="http://schemas.microsoft.com/office/drawing/2014/main" id="{8457251A-6A0A-4574-A550-8DDACF79A1D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03093" y="4876802"/>
            <a:ext cx="3275793" cy="1343025"/>
          </a:xfrm>
        </p:spPr>
        <p:txBody>
          <a:bodyPr lIns="72000" tIns="0" rIns="72000" bIns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51"/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Texto corrido 12pt</a:t>
            </a:r>
          </a:p>
        </p:txBody>
      </p:sp>
      <p:sp>
        <p:nvSpPr>
          <p:cNvPr id="8" name="Espaço Reservado para Imagem 7">
            <a:extLst>
              <a:ext uri="{FF2B5EF4-FFF2-40B4-BE49-F238E27FC236}">
                <a16:creationId xmlns:a16="http://schemas.microsoft.com/office/drawing/2014/main" id="{C04647F4-CDE4-4222-B77F-4CE3D52C8ECD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368777" y="3629025"/>
            <a:ext cx="2163032" cy="1047754"/>
          </a:xfrm>
        </p:spPr>
        <p:txBody>
          <a:bodyPr anchor="ctr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1270">
                <a:solidFill>
                  <a:schemeClr val="accent2"/>
                </a:solidFill>
              </a:defRPr>
            </a:lvl1pPr>
          </a:lstStyle>
          <a:p>
            <a:r>
              <a:rPr lang="pt-BR" dirty="0"/>
              <a:t>Adicione um ícone</a:t>
            </a:r>
          </a:p>
        </p:txBody>
      </p:sp>
      <p:sp>
        <p:nvSpPr>
          <p:cNvPr id="9" name="Espaço Reservado para Imagem 7">
            <a:extLst>
              <a:ext uri="{FF2B5EF4-FFF2-40B4-BE49-F238E27FC236}">
                <a16:creationId xmlns:a16="http://schemas.microsoft.com/office/drawing/2014/main" id="{E3A75D2B-2D0A-4EFF-BA32-E680ABFC165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014483" y="3629025"/>
            <a:ext cx="2163032" cy="1047754"/>
          </a:xfrm>
        </p:spPr>
        <p:txBody>
          <a:bodyPr anchor="ctr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1270">
                <a:solidFill>
                  <a:schemeClr val="accent2"/>
                </a:solidFill>
              </a:defRPr>
            </a:lvl1pPr>
          </a:lstStyle>
          <a:p>
            <a:r>
              <a:rPr lang="pt-BR" dirty="0"/>
              <a:t>Adicione um ícone</a:t>
            </a:r>
          </a:p>
        </p:txBody>
      </p:sp>
      <p:sp>
        <p:nvSpPr>
          <p:cNvPr id="11" name="Espaço Reservado para Imagem 7">
            <a:extLst>
              <a:ext uri="{FF2B5EF4-FFF2-40B4-BE49-F238E27FC236}">
                <a16:creationId xmlns:a16="http://schemas.microsoft.com/office/drawing/2014/main" id="{EFD2C4B8-786A-4168-A523-A51AC619A19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660191" y="3629025"/>
            <a:ext cx="2163032" cy="1047754"/>
          </a:xfrm>
        </p:spPr>
        <p:txBody>
          <a:bodyPr anchor="ctr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1270">
                <a:solidFill>
                  <a:schemeClr val="accent2"/>
                </a:solidFill>
              </a:defRPr>
            </a:lvl1pPr>
          </a:lstStyle>
          <a:p>
            <a:r>
              <a:rPr lang="pt-BR" dirty="0"/>
              <a:t>Adicione um ícone</a:t>
            </a:r>
          </a:p>
        </p:txBody>
      </p:sp>
      <p:sp>
        <p:nvSpPr>
          <p:cNvPr id="12" name="Espaço Reservado para Texto 9">
            <a:extLst>
              <a:ext uri="{FF2B5EF4-FFF2-40B4-BE49-F238E27FC236}">
                <a16:creationId xmlns:a16="http://schemas.microsoft.com/office/drawing/2014/main" id="{9F9F62A1-1F53-40CD-AC1F-FBB2C2A306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993323" y="1747837"/>
            <a:ext cx="6692698" cy="233362"/>
          </a:xfrm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45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51">
                <a:solidFill>
                  <a:schemeClr val="accent2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451">
                <a:solidFill>
                  <a:schemeClr val="accent2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451">
                <a:solidFill>
                  <a:schemeClr val="accent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451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/>
              <a:t>adicione um subtítulo para apresentação 12pt</a:t>
            </a:r>
          </a:p>
        </p:txBody>
      </p:sp>
      <p:pic>
        <p:nvPicPr>
          <p:cNvPr id="13" name="Imagem 12">
            <a:extLst>
              <a:ext uri="{FF2B5EF4-FFF2-40B4-BE49-F238E27FC236}">
                <a16:creationId xmlns:a16="http://schemas.microsoft.com/office/drawing/2014/main" id="{03A6693E-506D-4AD6-9691-B7B6A03EE39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332505" y="603143"/>
            <a:ext cx="1659547" cy="1906142"/>
          </a:xfrm>
          <a:prstGeom prst="rect">
            <a:avLst/>
          </a:prstGeom>
        </p:spPr>
      </p:pic>
      <p:pic>
        <p:nvPicPr>
          <p:cNvPr id="14" name="Imagem 13">
            <a:extLst>
              <a:ext uri="{FF2B5EF4-FFF2-40B4-BE49-F238E27FC236}">
                <a16:creationId xmlns:a16="http://schemas.microsoft.com/office/drawing/2014/main" id="{C6909946-30DF-4687-ABF0-76F965C50F7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51325" y="348210"/>
            <a:ext cx="917289" cy="552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976606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Imagem 17">
            <a:extLst>
              <a:ext uri="{FF2B5EF4-FFF2-40B4-BE49-F238E27FC236}">
                <a16:creationId xmlns:a16="http://schemas.microsoft.com/office/drawing/2014/main" id="{828B2275-FE54-48B4-889A-36C35D8A5E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66284" y="6587492"/>
            <a:ext cx="969299" cy="270509"/>
          </a:xfrm>
          <a:prstGeom prst="rect">
            <a:avLst/>
          </a:prstGeom>
        </p:spPr>
      </p:pic>
      <p:sp>
        <p:nvSpPr>
          <p:cNvPr id="16" name="Espaço Reservado para Imagem 6">
            <a:extLst>
              <a:ext uri="{FF2B5EF4-FFF2-40B4-BE49-F238E27FC236}">
                <a16:creationId xmlns:a16="http://schemas.microsoft.com/office/drawing/2014/main" id="{37326795-D0C9-4763-A547-A7A5B29AC47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757" y="0"/>
            <a:ext cx="12193757" cy="3104708"/>
          </a:xfrm>
          <a:solidFill>
            <a:srgbClr val="CC2362">
              <a:alpha val="20000"/>
            </a:srgbClr>
          </a:solidFill>
        </p:spPr>
        <p:txBody>
          <a:bodyPr anchor="ctr" anchorCtr="0"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pt-BR"/>
              <a:t>Clique no ícone para adicionar uma imagem</a:t>
            </a:r>
          </a:p>
        </p:txBody>
      </p:sp>
      <p:pic>
        <p:nvPicPr>
          <p:cNvPr id="15" name="Imagem 14">
            <a:extLst>
              <a:ext uri="{FF2B5EF4-FFF2-40B4-BE49-F238E27FC236}">
                <a16:creationId xmlns:a16="http://schemas.microsoft.com/office/drawing/2014/main" id="{32C2D2EC-14A2-47F9-BBCE-3D02DBBAE2B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66284" y="6587492"/>
            <a:ext cx="969299" cy="27050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E3E4EEED-7F8E-4C63-9A08-47EC3F4D11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93324" y="1312389"/>
            <a:ext cx="6545258" cy="368296"/>
          </a:xfrm>
        </p:spPr>
        <p:txBody>
          <a:bodyPr/>
          <a:lstStyle>
            <a:lvl1pPr>
              <a:defRPr/>
            </a:lvl1pPr>
          </a:lstStyle>
          <a:p>
            <a:r>
              <a:rPr lang="pt-BR" dirty="0"/>
              <a:t>título de 24pt </a:t>
            </a:r>
            <a:r>
              <a:rPr lang="pt-BR" dirty="0" err="1"/>
              <a:t>bold</a:t>
            </a:r>
            <a:endParaRPr lang="pt-BR" dirty="0"/>
          </a:p>
        </p:txBody>
      </p:sp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FD152A23-C4DB-428E-9E93-1CCAA24D76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B06766-DC36-4174-9907-BEF22DE810EF}" type="slidenum">
              <a:rPr lang="pt-BR" smtClean="0"/>
              <a:pPr/>
              <a:t>‹nº›</a:t>
            </a:fld>
            <a:r>
              <a:rPr lang="pt-BR"/>
              <a:t> </a:t>
            </a:r>
            <a:endParaRPr lang="pt-BR" dirty="0"/>
          </a:p>
        </p:txBody>
      </p:sp>
      <p:sp>
        <p:nvSpPr>
          <p:cNvPr id="5" name="Espaço Reservado para Texto 11">
            <a:extLst>
              <a:ext uri="{FF2B5EF4-FFF2-40B4-BE49-F238E27FC236}">
                <a16:creationId xmlns:a16="http://schemas.microsoft.com/office/drawing/2014/main" id="{C4C93A35-E558-43C2-9DAB-BE94DA0CBE4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2399" y="4876802"/>
            <a:ext cx="3275793" cy="1343025"/>
          </a:xfrm>
        </p:spPr>
        <p:txBody>
          <a:bodyPr lIns="72000" tIns="0" rIns="72000" bIns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51"/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Texto corrido 12pt</a:t>
            </a:r>
          </a:p>
        </p:txBody>
      </p:sp>
      <p:sp>
        <p:nvSpPr>
          <p:cNvPr id="6" name="Espaço Reservado para Texto 11">
            <a:extLst>
              <a:ext uri="{FF2B5EF4-FFF2-40B4-BE49-F238E27FC236}">
                <a16:creationId xmlns:a16="http://schemas.microsoft.com/office/drawing/2014/main" id="{1C0F6430-F9C1-4A35-8F5C-A4630471B53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58106" y="4876802"/>
            <a:ext cx="3275793" cy="1343025"/>
          </a:xfrm>
        </p:spPr>
        <p:txBody>
          <a:bodyPr lIns="72000" tIns="0" rIns="72000" bIns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51"/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Texto corrido 12pt</a:t>
            </a:r>
          </a:p>
        </p:txBody>
      </p:sp>
      <p:sp>
        <p:nvSpPr>
          <p:cNvPr id="7" name="Espaço Reservado para Texto 11">
            <a:extLst>
              <a:ext uri="{FF2B5EF4-FFF2-40B4-BE49-F238E27FC236}">
                <a16:creationId xmlns:a16="http://schemas.microsoft.com/office/drawing/2014/main" id="{8457251A-6A0A-4574-A550-8DDACF79A1D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03093" y="4876802"/>
            <a:ext cx="3275793" cy="1343025"/>
          </a:xfrm>
        </p:spPr>
        <p:txBody>
          <a:bodyPr lIns="72000" tIns="0" rIns="72000" bIns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51"/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Texto corrido 12pt</a:t>
            </a:r>
          </a:p>
        </p:txBody>
      </p:sp>
      <p:sp>
        <p:nvSpPr>
          <p:cNvPr id="8" name="Espaço Reservado para Imagem 7">
            <a:extLst>
              <a:ext uri="{FF2B5EF4-FFF2-40B4-BE49-F238E27FC236}">
                <a16:creationId xmlns:a16="http://schemas.microsoft.com/office/drawing/2014/main" id="{C04647F4-CDE4-4222-B77F-4CE3D52C8ECD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368777" y="3629025"/>
            <a:ext cx="2163032" cy="1047754"/>
          </a:xfrm>
        </p:spPr>
        <p:txBody>
          <a:bodyPr anchor="ctr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1270">
                <a:solidFill>
                  <a:schemeClr val="accent2"/>
                </a:solidFill>
              </a:defRPr>
            </a:lvl1pPr>
          </a:lstStyle>
          <a:p>
            <a:r>
              <a:rPr lang="pt-BR" dirty="0"/>
              <a:t>Adicione um ícone</a:t>
            </a:r>
          </a:p>
        </p:txBody>
      </p:sp>
      <p:sp>
        <p:nvSpPr>
          <p:cNvPr id="9" name="Espaço Reservado para Imagem 7">
            <a:extLst>
              <a:ext uri="{FF2B5EF4-FFF2-40B4-BE49-F238E27FC236}">
                <a16:creationId xmlns:a16="http://schemas.microsoft.com/office/drawing/2014/main" id="{E3A75D2B-2D0A-4EFF-BA32-E680ABFC165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014483" y="3629025"/>
            <a:ext cx="2163032" cy="1047754"/>
          </a:xfrm>
        </p:spPr>
        <p:txBody>
          <a:bodyPr anchor="ctr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1270">
                <a:solidFill>
                  <a:schemeClr val="accent2"/>
                </a:solidFill>
              </a:defRPr>
            </a:lvl1pPr>
          </a:lstStyle>
          <a:p>
            <a:r>
              <a:rPr lang="pt-BR" dirty="0"/>
              <a:t>Adicione um ícone</a:t>
            </a:r>
          </a:p>
        </p:txBody>
      </p:sp>
      <p:sp>
        <p:nvSpPr>
          <p:cNvPr id="11" name="Espaço Reservado para Imagem 7">
            <a:extLst>
              <a:ext uri="{FF2B5EF4-FFF2-40B4-BE49-F238E27FC236}">
                <a16:creationId xmlns:a16="http://schemas.microsoft.com/office/drawing/2014/main" id="{EFD2C4B8-786A-4168-A523-A51AC619A19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660191" y="3629025"/>
            <a:ext cx="2163032" cy="1047754"/>
          </a:xfrm>
        </p:spPr>
        <p:txBody>
          <a:bodyPr anchor="ctr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1270">
                <a:solidFill>
                  <a:schemeClr val="accent2"/>
                </a:solidFill>
              </a:defRPr>
            </a:lvl1pPr>
          </a:lstStyle>
          <a:p>
            <a:r>
              <a:rPr lang="pt-BR" dirty="0"/>
              <a:t>Adicione um ícone</a:t>
            </a:r>
          </a:p>
        </p:txBody>
      </p:sp>
      <p:sp>
        <p:nvSpPr>
          <p:cNvPr id="12" name="Espaço Reservado para Texto 9">
            <a:extLst>
              <a:ext uri="{FF2B5EF4-FFF2-40B4-BE49-F238E27FC236}">
                <a16:creationId xmlns:a16="http://schemas.microsoft.com/office/drawing/2014/main" id="{9F9F62A1-1F53-40CD-AC1F-FBB2C2A306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993323" y="1747837"/>
            <a:ext cx="6692698" cy="233362"/>
          </a:xfrm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451">
                <a:solidFill>
                  <a:schemeClr val="accent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51">
                <a:solidFill>
                  <a:schemeClr val="accent2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451">
                <a:solidFill>
                  <a:schemeClr val="accent2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451">
                <a:solidFill>
                  <a:schemeClr val="accent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451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/>
              <a:t>adicione um subtítulo para apresentação 12pt</a:t>
            </a:r>
          </a:p>
        </p:txBody>
      </p:sp>
      <p:pic>
        <p:nvPicPr>
          <p:cNvPr id="14" name="Imagem 13">
            <a:extLst>
              <a:ext uri="{FF2B5EF4-FFF2-40B4-BE49-F238E27FC236}">
                <a16:creationId xmlns:a16="http://schemas.microsoft.com/office/drawing/2014/main" id="{C6909946-30DF-4687-ABF0-76F965C50F7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51325" y="348210"/>
            <a:ext cx="917289" cy="552052"/>
          </a:xfrm>
          <a:prstGeom prst="rect">
            <a:avLst/>
          </a:prstGeom>
        </p:spPr>
      </p:pic>
      <p:pic>
        <p:nvPicPr>
          <p:cNvPr id="17" name="Imagem 16" descr="Uma imagem contendo edifício, ponte, luz&#10;&#10;Descrição gerada automaticamente">
            <a:extLst>
              <a:ext uri="{FF2B5EF4-FFF2-40B4-BE49-F238E27FC236}">
                <a16:creationId xmlns:a16="http://schemas.microsoft.com/office/drawing/2014/main" id="{CDBE0EB2-1D4D-49FD-8139-55093A0DCBC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92232" y="1149264"/>
            <a:ext cx="828084" cy="950560"/>
          </a:xfrm>
          <a:prstGeom prst="rect">
            <a:avLst/>
          </a:prstGeom>
        </p:spPr>
      </p:pic>
      <p:pic>
        <p:nvPicPr>
          <p:cNvPr id="20" name="Imagem 19" descr="Uma imagem contendo edifício, ponte, luz&#10;&#10;Descrição gerada automaticamente">
            <a:extLst>
              <a:ext uri="{FF2B5EF4-FFF2-40B4-BE49-F238E27FC236}">
                <a16:creationId xmlns:a16="http://schemas.microsoft.com/office/drawing/2014/main" id="{2A9C34A1-0B9D-4431-A98C-3020316BC53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92232" y="1149264"/>
            <a:ext cx="828084" cy="950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847414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4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tângulo 10">
            <a:extLst>
              <a:ext uri="{FF2B5EF4-FFF2-40B4-BE49-F238E27FC236}">
                <a16:creationId xmlns:a16="http://schemas.microsoft.com/office/drawing/2014/main" id="{DC178221-6CCB-4532-BEB4-9A107D45FC86}"/>
              </a:ext>
            </a:extLst>
          </p:cNvPr>
          <p:cNvSpPr/>
          <p:nvPr userDrawn="1"/>
        </p:nvSpPr>
        <p:spPr>
          <a:xfrm>
            <a:off x="0" y="6462844"/>
            <a:ext cx="12192000" cy="39340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86"/>
          </a:p>
        </p:txBody>
      </p:sp>
      <p:pic>
        <p:nvPicPr>
          <p:cNvPr id="14" name="Imagem 13">
            <a:extLst>
              <a:ext uri="{FF2B5EF4-FFF2-40B4-BE49-F238E27FC236}">
                <a16:creationId xmlns:a16="http://schemas.microsoft.com/office/drawing/2014/main" id="{79D50621-4536-4628-9FFB-6914365CA1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66554" y="6587492"/>
            <a:ext cx="569027" cy="270509"/>
          </a:xfrm>
          <a:prstGeom prst="rect">
            <a:avLst/>
          </a:prstGeom>
        </p:spPr>
      </p:pic>
      <p:pic>
        <p:nvPicPr>
          <p:cNvPr id="2" name="Gráfico 1">
            <a:extLst>
              <a:ext uri="{FF2B5EF4-FFF2-40B4-BE49-F238E27FC236}">
                <a16:creationId xmlns:a16="http://schemas.microsoft.com/office/drawing/2014/main" id="{12B529C2-61F7-40FB-A0FD-52A98B4A144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27850" y="1647907"/>
            <a:ext cx="3532338" cy="4057213"/>
          </a:xfrm>
          <a:prstGeom prst="rect">
            <a:avLst/>
          </a:prstGeom>
        </p:spPr>
      </p:pic>
      <p:sp>
        <p:nvSpPr>
          <p:cNvPr id="12" name="Retângulo 11">
            <a:extLst>
              <a:ext uri="{FF2B5EF4-FFF2-40B4-BE49-F238E27FC236}">
                <a16:creationId xmlns:a16="http://schemas.microsoft.com/office/drawing/2014/main" id="{5EDC8041-72BF-4067-991B-28707200B4AB}"/>
              </a:ext>
            </a:extLst>
          </p:cNvPr>
          <p:cNvSpPr/>
          <p:nvPr/>
        </p:nvSpPr>
        <p:spPr>
          <a:xfrm>
            <a:off x="0" y="6462844"/>
            <a:ext cx="12192000" cy="39340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86"/>
          </a:p>
        </p:txBody>
      </p:sp>
      <p:pic>
        <p:nvPicPr>
          <p:cNvPr id="13" name="Imagem 12">
            <a:extLst>
              <a:ext uri="{FF2B5EF4-FFF2-40B4-BE49-F238E27FC236}">
                <a16:creationId xmlns:a16="http://schemas.microsoft.com/office/drawing/2014/main" id="{A5B4117D-F084-484C-9BC1-E9671F48BD5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66554" y="6587492"/>
            <a:ext cx="569027" cy="270509"/>
          </a:xfrm>
          <a:prstGeom prst="rect">
            <a:avLst/>
          </a:prstGeom>
        </p:spPr>
      </p:pic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36918696-EB8E-421F-B5D6-E2E89FCF5D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FB06766-DC36-4174-9907-BEF22DE810EF}" type="slidenum">
              <a:rPr lang="pt-BR" smtClean="0"/>
              <a:pPr/>
              <a:t>‹nº›</a:t>
            </a:fld>
            <a:r>
              <a:rPr lang="pt-BR" dirty="0"/>
              <a:t> </a:t>
            </a:r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00ED86AE-262F-471A-8A1C-3CE5CA964D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06286" y="418685"/>
            <a:ext cx="7962664" cy="47771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título para apresentação 24 </a:t>
            </a:r>
            <a:r>
              <a:rPr lang="pt-BR" dirty="0" err="1"/>
              <a:t>pt</a:t>
            </a:r>
            <a:endParaRPr lang="pt-BR" dirty="0"/>
          </a:p>
        </p:txBody>
      </p:sp>
      <p:sp>
        <p:nvSpPr>
          <p:cNvPr id="5" name="Espaço Reservado para Texto 11">
            <a:extLst>
              <a:ext uri="{FF2B5EF4-FFF2-40B4-BE49-F238E27FC236}">
                <a16:creationId xmlns:a16="http://schemas.microsoft.com/office/drawing/2014/main" id="{B948BD46-CE4D-4508-97E9-7C71E278273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7237" y="1181101"/>
            <a:ext cx="6869316" cy="1504950"/>
          </a:xfrm>
        </p:spPr>
        <p:txBody>
          <a:bodyPr lIns="0" tIns="0" rIns="0" bIns="0" anchor="ctr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451"/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Texto corrido 12pt</a:t>
            </a:r>
          </a:p>
        </p:txBody>
      </p:sp>
      <p:sp>
        <p:nvSpPr>
          <p:cNvPr id="6" name="Espaço Reservado para Conteúdo 15">
            <a:extLst>
              <a:ext uri="{FF2B5EF4-FFF2-40B4-BE49-F238E27FC236}">
                <a16:creationId xmlns:a16="http://schemas.microsoft.com/office/drawing/2014/main" id="{0ABEED0C-5824-4793-A49B-3954DB6DDE9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497238" y="3114678"/>
            <a:ext cx="6869316" cy="3105149"/>
          </a:xfrm>
        </p:spPr>
        <p:txBody>
          <a:bodyPr anchor="ctr" anchorCtr="1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331">
                <a:solidFill>
                  <a:schemeClr val="accent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Adicione um gráfico, tabela ou imagem.</a:t>
            </a:r>
          </a:p>
        </p:txBody>
      </p:sp>
      <p:pic>
        <p:nvPicPr>
          <p:cNvPr id="7" name="Imagem 6" descr="Uma imagem contendo edifício, ponte, luz&#10;&#10;Descrição gerada automaticamente">
            <a:extLst>
              <a:ext uri="{FF2B5EF4-FFF2-40B4-BE49-F238E27FC236}">
                <a16:creationId xmlns:a16="http://schemas.microsoft.com/office/drawing/2014/main" id="{FDAE1793-5421-407F-A17B-134E64F6B461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1716" y="371131"/>
            <a:ext cx="431743" cy="495600"/>
          </a:xfrm>
          <a:prstGeom prst="rect">
            <a:avLst/>
          </a:prstGeom>
        </p:spPr>
      </p:pic>
      <p:pic>
        <p:nvPicPr>
          <p:cNvPr id="8" name="Imagem 7" descr="Uma imagem contendo desenho, placar&#10;&#10;Descrição gerada automaticamente">
            <a:extLst>
              <a:ext uri="{FF2B5EF4-FFF2-40B4-BE49-F238E27FC236}">
                <a16:creationId xmlns:a16="http://schemas.microsoft.com/office/drawing/2014/main" id="{CD4D7636-FC20-4CFC-8A78-3BC6D75B8D0E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0286" y="348210"/>
            <a:ext cx="919368" cy="552052"/>
          </a:xfrm>
          <a:prstGeom prst="rect">
            <a:avLst/>
          </a:prstGeom>
        </p:spPr>
      </p:pic>
      <p:pic>
        <p:nvPicPr>
          <p:cNvPr id="15" name="Imagem 14" descr="Uma imagem contendo edifício, ponte, luz&#10;&#10;Descrição gerada automaticamente">
            <a:extLst>
              <a:ext uri="{FF2B5EF4-FFF2-40B4-BE49-F238E27FC236}">
                <a16:creationId xmlns:a16="http://schemas.microsoft.com/office/drawing/2014/main" id="{EF1A409C-11D3-4068-B734-7177A2CF709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1716" y="371131"/>
            <a:ext cx="431743" cy="49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889650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6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tângulo 11">
            <a:extLst>
              <a:ext uri="{FF2B5EF4-FFF2-40B4-BE49-F238E27FC236}">
                <a16:creationId xmlns:a16="http://schemas.microsoft.com/office/drawing/2014/main" id="{0352407F-CC93-4ACA-A464-82D216581698}"/>
              </a:ext>
            </a:extLst>
          </p:cNvPr>
          <p:cNvSpPr/>
          <p:nvPr userDrawn="1"/>
        </p:nvSpPr>
        <p:spPr>
          <a:xfrm>
            <a:off x="0" y="6462844"/>
            <a:ext cx="12192000" cy="39340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86"/>
          </a:p>
        </p:txBody>
      </p:sp>
      <p:pic>
        <p:nvPicPr>
          <p:cNvPr id="14" name="Imagem 13">
            <a:extLst>
              <a:ext uri="{FF2B5EF4-FFF2-40B4-BE49-F238E27FC236}">
                <a16:creationId xmlns:a16="http://schemas.microsoft.com/office/drawing/2014/main" id="{C63E8E2A-831B-4AE4-8268-7248425C3A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66554" y="6587492"/>
            <a:ext cx="569027" cy="270509"/>
          </a:xfrm>
          <a:prstGeom prst="rect">
            <a:avLst/>
          </a:prstGeom>
        </p:spPr>
      </p:pic>
      <p:sp>
        <p:nvSpPr>
          <p:cNvPr id="11" name="Retângulo 10">
            <a:extLst>
              <a:ext uri="{FF2B5EF4-FFF2-40B4-BE49-F238E27FC236}">
                <a16:creationId xmlns:a16="http://schemas.microsoft.com/office/drawing/2014/main" id="{5778B847-68A8-4C60-B893-21126B146A03}"/>
              </a:ext>
            </a:extLst>
          </p:cNvPr>
          <p:cNvSpPr/>
          <p:nvPr/>
        </p:nvSpPr>
        <p:spPr>
          <a:xfrm>
            <a:off x="0" y="6462844"/>
            <a:ext cx="12192000" cy="39340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86"/>
          </a:p>
        </p:txBody>
      </p:sp>
      <p:pic>
        <p:nvPicPr>
          <p:cNvPr id="13" name="Imagem 12">
            <a:extLst>
              <a:ext uri="{FF2B5EF4-FFF2-40B4-BE49-F238E27FC236}">
                <a16:creationId xmlns:a16="http://schemas.microsoft.com/office/drawing/2014/main" id="{28F4B9E7-AD37-458B-B291-BFF8BDFAE69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66554" y="6598125"/>
            <a:ext cx="569027" cy="270509"/>
          </a:xfrm>
          <a:prstGeom prst="rect">
            <a:avLst/>
          </a:prstGeom>
        </p:spPr>
      </p:pic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2D74326C-DF01-4981-BBA0-3F5FEB9E89B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8886" y="6587490"/>
            <a:ext cx="556697" cy="27051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B06766-DC36-4174-9907-BEF22DE810EF}" type="slidenum">
              <a:rPr lang="pt-BR" smtClean="0">
                <a:solidFill>
                  <a:schemeClr val="tx2"/>
                </a:solidFill>
              </a:rPr>
              <a:pPr/>
              <a:t>‹nº›</a:t>
            </a:fld>
            <a:r>
              <a:rPr lang="pt-BR" dirty="0"/>
              <a:t> </a:t>
            </a:r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D1956255-09BB-4AF4-88D9-E68FEAE07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06286" y="418685"/>
            <a:ext cx="7962664" cy="47771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título para apresentação 24 </a:t>
            </a:r>
            <a:r>
              <a:rPr lang="pt-BR" dirty="0" err="1"/>
              <a:t>pt</a:t>
            </a:r>
            <a:endParaRPr lang="pt-BR" dirty="0"/>
          </a:p>
        </p:txBody>
      </p:sp>
      <p:sp>
        <p:nvSpPr>
          <p:cNvPr id="5" name="Espaço Reservado para Texto 11">
            <a:extLst>
              <a:ext uri="{FF2B5EF4-FFF2-40B4-BE49-F238E27FC236}">
                <a16:creationId xmlns:a16="http://schemas.microsoft.com/office/drawing/2014/main" id="{89EEB3E4-9687-4632-81A2-46160FE26E4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06287" y="1828800"/>
            <a:ext cx="2624667" cy="3733800"/>
          </a:xfrm>
        </p:spPr>
        <p:txBody>
          <a:bodyPr lIns="0" tIns="0" rIns="0" bIns="0" anchor="ctr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935"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Texto corrido 16pt em </a:t>
            </a:r>
            <a:r>
              <a:rPr lang="pt-BR" dirty="0" err="1"/>
              <a:t>bold</a:t>
            </a:r>
            <a:r>
              <a:rPr lang="pt-BR" dirty="0"/>
              <a:t>, para dar destaque ou uma colocar alguma citação</a:t>
            </a:r>
          </a:p>
        </p:txBody>
      </p:sp>
      <p:sp>
        <p:nvSpPr>
          <p:cNvPr id="6" name="Espaço Reservado para Texto 11">
            <a:extLst>
              <a:ext uri="{FF2B5EF4-FFF2-40B4-BE49-F238E27FC236}">
                <a16:creationId xmlns:a16="http://schemas.microsoft.com/office/drawing/2014/main" id="{12DD4A6D-FE76-4A20-AD77-E819B27222D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95333" y="1181101"/>
            <a:ext cx="6371220" cy="5048249"/>
          </a:xfrm>
        </p:spPr>
        <p:txBody>
          <a:bodyPr lIns="0" tIns="0" rIns="0" bIns="0" anchor="ctr" anchorCtr="0">
            <a:normAutofit/>
          </a:bodyPr>
          <a:lstStyle>
            <a:lvl1pPr marL="0" marR="0" indent="0" algn="l" defTabSz="1105837" rtl="0" eaLnBrk="1" fontAlgn="auto" latinLnBrk="0" hangingPunct="1">
              <a:lnSpc>
                <a:spcPct val="130000"/>
              </a:lnSpc>
              <a:spcBef>
                <a:spcPts val="217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51"/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Texto corrido 12pt;</a:t>
            </a:r>
          </a:p>
          <a:p>
            <a:pPr marL="0" marR="0" lvl="0" indent="0" algn="l" defTabSz="1105837" rtl="0" eaLnBrk="1" fontAlgn="auto" latinLnBrk="0" hangingPunct="1">
              <a:lnSpc>
                <a:spcPct val="130000"/>
              </a:lnSpc>
              <a:spcBef>
                <a:spcPts val="217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 shall see the face of Mars, anyhow, and that will be a rare experience. It seems to me that a view of the heavenly bodies through a fine telescope, as well as a tour round the world, should form a part of a liberal education.</a:t>
            </a:r>
            <a:endParaRPr lang="pt-BR" dirty="0"/>
          </a:p>
          <a:p>
            <a:pPr marL="0" marR="0" lvl="0" indent="0" algn="l" defTabSz="1105837" rtl="0" eaLnBrk="1" fontAlgn="auto" latinLnBrk="0" hangingPunct="1">
              <a:lnSpc>
                <a:spcPct val="130000"/>
              </a:lnSpc>
              <a:spcBef>
                <a:spcPts val="217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 shall see the face of Mars, anyhow, and that will be a rare experience. It seems to me that a view of the heavenly bodies through a fine telescope, as well as a tour round the world, should form a part of a liberal education.</a:t>
            </a:r>
            <a:endParaRPr lang="pt-BR" dirty="0"/>
          </a:p>
          <a:p>
            <a:pPr marL="0" marR="0" lvl="0" indent="0" algn="l" defTabSz="1105837" rtl="0" eaLnBrk="1" fontAlgn="auto" latinLnBrk="0" hangingPunct="1">
              <a:lnSpc>
                <a:spcPct val="130000"/>
              </a:lnSpc>
              <a:spcBef>
                <a:spcPts val="217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 shall see </a:t>
            </a:r>
            <a:r>
              <a:rPr lang="en-US" dirty="0" err="1"/>
              <a:t>tI</a:t>
            </a:r>
            <a:r>
              <a:rPr lang="en-US" dirty="0"/>
              <a:t> shall see the face of Mars, anyhow, and that will be a rare experience. It seems to me that a view of the heavenly bodies through a fine telescope, as well as a tour round the world, should form a part of a liberal education.</a:t>
            </a:r>
            <a:endParaRPr lang="pt-BR" dirty="0"/>
          </a:p>
          <a:p>
            <a:pPr marL="0" marR="0" lvl="0" indent="0" algn="l" defTabSz="1105837" rtl="0" eaLnBrk="1" fontAlgn="auto" latinLnBrk="0" hangingPunct="1">
              <a:lnSpc>
                <a:spcPct val="130000"/>
              </a:lnSpc>
              <a:spcBef>
                <a:spcPts val="217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he face of Mars, anyhow, and that will be a rare experience. It seems to me that a view of the heavenly bodies through a fine telescope, as well as a tour round the world, should form a part of a liberal education.</a:t>
            </a:r>
            <a:endParaRPr lang="pt-BR" dirty="0"/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CA9C3A92-A999-4EE8-A70B-04FF4689ABC7}"/>
              </a:ext>
            </a:extLst>
          </p:cNvPr>
          <p:cNvSpPr/>
          <p:nvPr/>
        </p:nvSpPr>
        <p:spPr>
          <a:xfrm>
            <a:off x="796212" y="1175657"/>
            <a:ext cx="3638248" cy="4885509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86"/>
          </a:p>
        </p:txBody>
      </p:sp>
      <p:pic>
        <p:nvPicPr>
          <p:cNvPr id="8" name="Imagem 7" descr="Uma imagem contendo edifício, ponte, luz&#10;&#10;Descrição gerada automaticamente">
            <a:extLst>
              <a:ext uri="{FF2B5EF4-FFF2-40B4-BE49-F238E27FC236}">
                <a16:creationId xmlns:a16="http://schemas.microsoft.com/office/drawing/2014/main" id="{4B367A48-7296-4DDD-8DFE-9989E8D7F33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1716" y="371131"/>
            <a:ext cx="431743" cy="495600"/>
          </a:xfrm>
          <a:prstGeom prst="rect">
            <a:avLst/>
          </a:prstGeom>
        </p:spPr>
      </p:pic>
      <p:pic>
        <p:nvPicPr>
          <p:cNvPr id="10" name="Imagem 9" descr="Uma imagem contendo desenho, placar&#10;&#10;Descrição gerada automaticamente">
            <a:extLst>
              <a:ext uri="{FF2B5EF4-FFF2-40B4-BE49-F238E27FC236}">
                <a16:creationId xmlns:a16="http://schemas.microsoft.com/office/drawing/2014/main" id="{97FF5664-023A-4C7E-9402-D26CA87B334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4768" y="349518"/>
            <a:ext cx="917217" cy="550760"/>
          </a:xfrm>
          <a:prstGeom prst="rect">
            <a:avLst/>
          </a:prstGeom>
        </p:spPr>
      </p:pic>
      <p:sp>
        <p:nvSpPr>
          <p:cNvPr id="15" name="Retângulo 14">
            <a:extLst>
              <a:ext uri="{FF2B5EF4-FFF2-40B4-BE49-F238E27FC236}">
                <a16:creationId xmlns:a16="http://schemas.microsoft.com/office/drawing/2014/main" id="{4F9EF669-DDBE-4743-9843-C986C02F5E77}"/>
              </a:ext>
            </a:extLst>
          </p:cNvPr>
          <p:cNvSpPr/>
          <p:nvPr userDrawn="1"/>
        </p:nvSpPr>
        <p:spPr>
          <a:xfrm>
            <a:off x="796212" y="1175657"/>
            <a:ext cx="3638248" cy="488550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86"/>
          </a:p>
        </p:txBody>
      </p:sp>
      <p:pic>
        <p:nvPicPr>
          <p:cNvPr id="16" name="Imagem 15" descr="Uma imagem contendo edifício, ponte, luz&#10;&#10;Descrição gerada automaticamente">
            <a:extLst>
              <a:ext uri="{FF2B5EF4-FFF2-40B4-BE49-F238E27FC236}">
                <a16:creationId xmlns:a16="http://schemas.microsoft.com/office/drawing/2014/main" id="{3B8DBB1E-16A5-4DD3-8FE7-7DE9115AA98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1716" y="371131"/>
            <a:ext cx="431743" cy="49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131420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7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tângulo 16">
            <a:extLst>
              <a:ext uri="{FF2B5EF4-FFF2-40B4-BE49-F238E27FC236}">
                <a16:creationId xmlns:a16="http://schemas.microsoft.com/office/drawing/2014/main" id="{832B2EE5-FBE6-4371-BED7-34FD75CE2FFA}"/>
              </a:ext>
            </a:extLst>
          </p:cNvPr>
          <p:cNvSpPr/>
          <p:nvPr userDrawn="1"/>
        </p:nvSpPr>
        <p:spPr>
          <a:xfrm>
            <a:off x="0" y="6462844"/>
            <a:ext cx="12192000" cy="39340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86"/>
          </a:p>
        </p:txBody>
      </p:sp>
      <p:pic>
        <p:nvPicPr>
          <p:cNvPr id="18" name="Imagem 17">
            <a:extLst>
              <a:ext uri="{FF2B5EF4-FFF2-40B4-BE49-F238E27FC236}">
                <a16:creationId xmlns:a16="http://schemas.microsoft.com/office/drawing/2014/main" id="{484649D6-06A5-4841-8166-F5A979AD48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66554" y="6587492"/>
            <a:ext cx="569027" cy="270509"/>
          </a:xfrm>
          <a:prstGeom prst="rect">
            <a:avLst/>
          </a:prstGeom>
        </p:spPr>
      </p:pic>
      <p:sp>
        <p:nvSpPr>
          <p:cNvPr id="15" name="Retângulo 14">
            <a:extLst>
              <a:ext uri="{FF2B5EF4-FFF2-40B4-BE49-F238E27FC236}">
                <a16:creationId xmlns:a16="http://schemas.microsoft.com/office/drawing/2014/main" id="{87C1E618-D4D2-4B77-8C28-1E154D4FF570}"/>
              </a:ext>
            </a:extLst>
          </p:cNvPr>
          <p:cNvSpPr/>
          <p:nvPr/>
        </p:nvSpPr>
        <p:spPr>
          <a:xfrm>
            <a:off x="0" y="6476492"/>
            <a:ext cx="12192000" cy="39340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86"/>
          </a:p>
        </p:txBody>
      </p:sp>
      <p:pic>
        <p:nvPicPr>
          <p:cNvPr id="16" name="Imagem 15">
            <a:extLst>
              <a:ext uri="{FF2B5EF4-FFF2-40B4-BE49-F238E27FC236}">
                <a16:creationId xmlns:a16="http://schemas.microsoft.com/office/drawing/2014/main" id="{75C8D076-07E4-4954-88F1-E9575BEE144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66554" y="6598125"/>
            <a:ext cx="569027" cy="270509"/>
          </a:xfrm>
          <a:prstGeom prst="rect">
            <a:avLst/>
          </a:prstGeom>
        </p:spPr>
      </p:pic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C4E52588-D050-4CEA-99D1-A5E17E31E7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78886" y="6587490"/>
            <a:ext cx="556697" cy="27051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B06766-DC36-4174-9907-BEF22DE810EF}" type="slidenum">
              <a:rPr lang="pt-BR" smtClean="0">
                <a:solidFill>
                  <a:schemeClr val="tx2"/>
                </a:solidFill>
              </a:rPr>
              <a:pPr/>
              <a:t>‹nº›</a:t>
            </a:fld>
            <a:r>
              <a:rPr lang="pt-BR" dirty="0"/>
              <a:t> </a:t>
            </a:r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BD835E13-142B-434C-B4B3-4E55447B56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06286" y="418685"/>
            <a:ext cx="7962664" cy="47771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título para apresentação 24 </a:t>
            </a:r>
            <a:r>
              <a:rPr lang="pt-BR" dirty="0" err="1"/>
              <a:t>pt</a:t>
            </a:r>
            <a:endParaRPr lang="pt-BR" dirty="0"/>
          </a:p>
        </p:txBody>
      </p:sp>
      <p:sp>
        <p:nvSpPr>
          <p:cNvPr id="5" name="Espaço Reservado para Texto 5">
            <a:extLst>
              <a:ext uri="{FF2B5EF4-FFF2-40B4-BE49-F238E27FC236}">
                <a16:creationId xmlns:a16="http://schemas.microsoft.com/office/drawing/2014/main" id="{313A2141-6257-4C36-BB98-8C4E71AB12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2397" y="1253969"/>
            <a:ext cx="10567208" cy="742950"/>
          </a:xfrm>
        </p:spPr>
        <p:txBody>
          <a:bodyPr lIns="0" tIns="0" rIns="0" bIns="0" anchor="ctr" anchorCtr="0"/>
          <a:lstStyle>
            <a:lvl1pPr marL="0" indent="0" algn="ctr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pt-BR" dirty="0"/>
              <a:t>“Espaço para citação 14pt </a:t>
            </a:r>
            <a:r>
              <a:rPr lang="pt-BR" dirty="0" err="1"/>
              <a:t>bold</a:t>
            </a:r>
            <a:r>
              <a:rPr lang="pt-BR" dirty="0"/>
              <a:t>”</a:t>
            </a:r>
          </a:p>
        </p:txBody>
      </p:sp>
      <p:sp>
        <p:nvSpPr>
          <p:cNvPr id="6" name="Espaço Reservado para Imagem 7">
            <a:extLst>
              <a:ext uri="{FF2B5EF4-FFF2-40B4-BE49-F238E27FC236}">
                <a16:creationId xmlns:a16="http://schemas.microsoft.com/office/drawing/2014/main" id="{DC1C0AB6-6DD5-4A1A-9079-635527C864D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12398" y="2350611"/>
            <a:ext cx="1110745" cy="1138057"/>
          </a:xfrm>
        </p:spPr>
        <p:txBody>
          <a:bodyPr anchor="ctr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1270">
                <a:solidFill>
                  <a:schemeClr val="accent2"/>
                </a:solidFill>
              </a:defRPr>
            </a:lvl1pPr>
          </a:lstStyle>
          <a:p>
            <a:r>
              <a:rPr lang="pt-BR" dirty="0"/>
              <a:t>Adicione um ícone</a:t>
            </a:r>
          </a:p>
        </p:txBody>
      </p:sp>
      <p:sp>
        <p:nvSpPr>
          <p:cNvPr id="7" name="Espaço Reservado para Imagem 7">
            <a:extLst>
              <a:ext uri="{FF2B5EF4-FFF2-40B4-BE49-F238E27FC236}">
                <a16:creationId xmlns:a16="http://schemas.microsoft.com/office/drawing/2014/main" id="{F287DB84-A24A-48CE-87C6-2DB4FDC6832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12398" y="5080185"/>
            <a:ext cx="1110745" cy="1138057"/>
          </a:xfrm>
        </p:spPr>
        <p:txBody>
          <a:bodyPr anchor="ctr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1270">
                <a:solidFill>
                  <a:schemeClr val="accent2"/>
                </a:solidFill>
              </a:defRPr>
            </a:lvl1pPr>
          </a:lstStyle>
          <a:p>
            <a:r>
              <a:rPr lang="pt-BR" dirty="0"/>
              <a:t>Adicione um ícone</a:t>
            </a:r>
          </a:p>
        </p:txBody>
      </p:sp>
      <p:sp>
        <p:nvSpPr>
          <p:cNvPr id="8" name="Espaço Reservado para Imagem 7">
            <a:extLst>
              <a:ext uri="{FF2B5EF4-FFF2-40B4-BE49-F238E27FC236}">
                <a16:creationId xmlns:a16="http://schemas.microsoft.com/office/drawing/2014/main" id="{666F9676-633E-4AED-B500-22BEA93F25D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12398" y="3733270"/>
            <a:ext cx="1110745" cy="1138057"/>
          </a:xfrm>
        </p:spPr>
        <p:txBody>
          <a:bodyPr anchor="ctr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1270">
                <a:solidFill>
                  <a:schemeClr val="accent2"/>
                </a:solidFill>
              </a:defRPr>
            </a:lvl1pPr>
          </a:lstStyle>
          <a:p>
            <a:r>
              <a:rPr lang="pt-BR" dirty="0"/>
              <a:t>Adicione um ícone</a:t>
            </a:r>
          </a:p>
        </p:txBody>
      </p:sp>
      <p:sp>
        <p:nvSpPr>
          <p:cNvPr id="9" name="Espaço Reservado para Texto 11">
            <a:extLst>
              <a:ext uri="{FF2B5EF4-FFF2-40B4-BE49-F238E27FC236}">
                <a16:creationId xmlns:a16="http://schemas.microsoft.com/office/drawing/2014/main" id="{685BE90E-D77D-4CDD-8822-FE81B7CBF4E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40858" y="2350611"/>
            <a:ext cx="4269619" cy="1138057"/>
          </a:xfrm>
        </p:spPr>
        <p:txBody>
          <a:bodyPr lIns="0" tIns="0" rIns="0" bIns="0" anchor="ctr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451"/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Texto corrido 12pt</a:t>
            </a:r>
          </a:p>
        </p:txBody>
      </p:sp>
      <p:sp>
        <p:nvSpPr>
          <p:cNvPr id="10" name="Espaço Reservado para Texto 11">
            <a:extLst>
              <a:ext uri="{FF2B5EF4-FFF2-40B4-BE49-F238E27FC236}">
                <a16:creationId xmlns:a16="http://schemas.microsoft.com/office/drawing/2014/main" id="{66DAD74B-A9B9-4611-8FEC-7EC65C3B7E4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140858" y="3733270"/>
            <a:ext cx="4269619" cy="1138057"/>
          </a:xfrm>
        </p:spPr>
        <p:txBody>
          <a:bodyPr lIns="0" tIns="0" rIns="0" bIns="0" anchor="ctr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451"/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Texto corrido 12pt</a:t>
            </a:r>
          </a:p>
        </p:txBody>
      </p:sp>
      <p:sp>
        <p:nvSpPr>
          <p:cNvPr id="11" name="Espaço Reservado para Texto 11">
            <a:extLst>
              <a:ext uri="{FF2B5EF4-FFF2-40B4-BE49-F238E27FC236}">
                <a16:creationId xmlns:a16="http://schemas.microsoft.com/office/drawing/2014/main" id="{AA55EA0D-0EF1-4A1C-84D6-5B587687EF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140858" y="5080184"/>
            <a:ext cx="4269619" cy="1138057"/>
          </a:xfrm>
        </p:spPr>
        <p:txBody>
          <a:bodyPr lIns="0" tIns="0" rIns="0" bIns="0" anchor="ctr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451"/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Texto corrido 12pt</a:t>
            </a:r>
          </a:p>
        </p:txBody>
      </p:sp>
      <p:sp>
        <p:nvSpPr>
          <p:cNvPr id="12" name="Espaço Reservado para Conteúdo 15">
            <a:extLst>
              <a:ext uri="{FF2B5EF4-FFF2-40B4-BE49-F238E27FC236}">
                <a16:creationId xmlns:a16="http://schemas.microsoft.com/office/drawing/2014/main" id="{91323887-997D-4839-B7FB-8B2E27541D1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791337" y="2350611"/>
            <a:ext cx="4588270" cy="3867628"/>
          </a:xfrm>
        </p:spPr>
        <p:txBody>
          <a:bodyPr anchor="ctr" anchorCtr="1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331">
                <a:solidFill>
                  <a:schemeClr val="accent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Adicione um gráfico, tabela ou imagem.</a:t>
            </a:r>
          </a:p>
        </p:txBody>
      </p:sp>
      <p:pic>
        <p:nvPicPr>
          <p:cNvPr id="13" name="Imagem 12" descr="Uma imagem contendo edifício, ponte, luz&#10;&#10;Descrição gerada automaticamente">
            <a:extLst>
              <a:ext uri="{FF2B5EF4-FFF2-40B4-BE49-F238E27FC236}">
                <a16:creationId xmlns:a16="http://schemas.microsoft.com/office/drawing/2014/main" id="{A082083A-4FB1-4D33-BD87-30591A0E107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1716" y="371131"/>
            <a:ext cx="431743" cy="495600"/>
          </a:xfrm>
          <a:prstGeom prst="rect">
            <a:avLst/>
          </a:prstGeom>
        </p:spPr>
      </p:pic>
      <p:pic>
        <p:nvPicPr>
          <p:cNvPr id="14" name="Imagem 13" descr="Uma imagem contendo desenho, placar&#10;&#10;Descrição gerada automaticamente">
            <a:extLst>
              <a:ext uri="{FF2B5EF4-FFF2-40B4-BE49-F238E27FC236}">
                <a16:creationId xmlns:a16="http://schemas.microsoft.com/office/drawing/2014/main" id="{1180D6E3-35BB-429B-9FBF-040E7603A8D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4768" y="349518"/>
            <a:ext cx="917217" cy="550760"/>
          </a:xfrm>
          <a:prstGeom prst="rect">
            <a:avLst/>
          </a:prstGeom>
        </p:spPr>
      </p:pic>
      <p:pic>
        <p:nvPicPr>
          <p:cNvPr id="19" name="Imagem 18" descr="Uma imagem contendo edifício, ponte, luz&#10;&#10;Descrição gerada automaticamente">
            <a:extLst>
              <a:ext uri="{FF2B5EF4-FFF2-40B4-BE49-F238E27FC236}">
                <a16:creationId xmlns:a16="http://schemas.microsoft.com/office/drawing/2014/main" id="{21F7A227-E51C-480E-B9B2-9898881C034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1716" y="371131"/>
            <a:ext cx="431743" cy="49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96174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0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Imagem 26" descr="Uma imagem contendo pássaro&#10;&#10;Descrição gerada automaticamente">
            <a:extLst>
              <a:ext uri="{FF2B5EF4-FFF2-40B4-BE49-F238E27FC236}">
                <a16:creationId xmlns:a16="http://schemas.microsoft.com/office/drawing/2014/main" id="{6EE60A77-7FC1-4B66-8AD7-7E7C2B78AF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0395515" cy="1276680"/>
          </a:xfrm>
          <a:prstGeom prst="rect">
            <a:avLst/>
          </a:prstGeom>
        </p:spPr>
      </p:pic>
      <p:sp>
        <p:nvSpPr>
          <p:cNvPr id="28" name="Retângulo 27">
            <a:extLst>
              <a:ext uri="{FF2B5EF4-FFF2-40B4-BE49-F238E27FC236}">
                <a16:creationId xmlns:a16="http://schemas.microsoft.com/office/drawing/2014/main" id="{CEC6B7FF-B513-4B04-8923-B1A08B8CE823}"/>
              </a:ext>
            </a:extLst>
          </p:cNvPr>
          <p:cNvSpPr/>
          <p:nvPr userDrawn="1"/>
        </p:nvSpPr>
        <p:spPr>
          <a:xfrm>
            <a:off x="0" y="6462844"/>
            <a:ext cx="12192000" cy="39340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86"/>
          </a:p>
        </p:txBody>
      </p:sp>
      <p:pic>
        <p:nvPicPr>
          <p:cNvPr id="29" name="Imagem 28">
            <a:extLst>
              <a:ext uri="{FF2B5EF4-FFF2-40B4-BE49-F238E27FC236}">
                <a16:creationId xmlns:a16="http://schemas.microsoft.com/office/drawing/2014/main" id="{763F3EE8-6F1B-46D8-8264-EE487AAE0F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66554" y="6587492"/>
            <a:ext cx="569027" cy="270509"/>
          </a:xfrm>
          <a:prstGeom prst="rect">
            <a:avLst/>
          </a:prstGeom>
        </p:spPr>
      </p:pic>
      <p:pic>
        <p:nvPicPr>
          <p:cNvPr id="15" name="Imagem 14" descr="Uma imagem contendo pássaro&#10;&#10;Descrição gerada automaticamente">
            <a:extLst>
              <a:ext uri="{FF2B5EF4-FFF2-40B4-BE49-F238E27FC236}">
                <a16:creationId xmlns:a16="http://schemas.microsoft.com/office/drawing/2014/main" id="{117F8E27-02D0-48B7-9B00-ACE3D7B6B99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0395515" cy="1276680"/>
          </a:xfrm>
          <a:prstGeom prst="rect">
            <a:avLst/>
          </a:prstGeom>
        </p:spPr>
      </p:pic>
      <p:sp>
        <p:nvSpPr>
          <p:cNvPr id="25" name="Retângulo 24">
            <a:extLst>
              <a:ext uri="{FF2B5EF4-FFF2-40B4-BE49-F238E27FC236}">
                <a16:creationId xmlns:a16="http://schemas.microsoft.com/office/drawing/2014/main" id="{B0D7E1B6-6F4D-4F64-9FB0-47B5297AC4CB}"/>
              </a:ext>
            </a:extLst>
          </p:cNvPr>
          <p:cNvSpPr/>
          <p:nvPr/>
        </p:nvSpPr>
        <p:spPr>
          <a:xfrm>
            <a:off x="0" y="6462844"/>
            <a:ext cx="12192000" cy="39340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86"/>
          </a:p>
        </p:txBody>
      </p:sp>
      <p:pic>
        <p:nvPicPr>
          <p:cNvPr id="26" name="Imagem 25">
            <a:extLst>
              <a:ext uri="{FF2B5EF4-FFF2-40B4-BE49-F238E27FC236}">
                <a16:creationId xmlns:a16="http://schemas.microsoft.com/office/drawing/2014/main" id="{09074E70-1CA7-45D5-A316-814C5125DFA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66554" y="6587492"/>
            <a:ext cx="569027" cy="270509"/>
          </a:xfrm>
          <a:prstGeom prst="rect">
            <a:avLst/>
          </a:prstGeom>
        </p:spPr>
      </p:pic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2CB81207-A865-48AB-BB9B-A1CFB11A7D9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FB06766-DC36-4174-9907-BEF22DE810EF}" type="slidenum">
              <a:rPr lang="pt-BR" smtClean="0">
                <a:solidFill>
                  <a:schemeClr val="tx2"/>
                </a:solidFill>
              </a:rPr>
              <a:pPr/>
              <a:t>‹nº›</a:t>
            </a:fld>
            <a:r>
              <a:rPr lang="pt-BR" dirty="0"/>
              <a:t> </a:t>
            </a:r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EE992AAB-2D7A-45E4-A85B-F00557F582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8007" y="384178"/>
            <a:ext cx="8450943" cy="253997"/>
          </a:xfrm>
        </p:spPr>
        <p:txBody>
          <a:bodyPr>
            <a:normAutofit/>
          </a:bodyPr>
          <a:lstStyle>
            <a:lvl1pPr>
              <a:defRPr sz="2176"/>
            </a:lvl1pPr>
          </a:lstStyle>
          <a:p>
            <a:r>
              <a:rPr lang="pt-BR" dirty="0"/>
              <a:t>título do slide 18pt </a:t>
            </a:r>
            <a:r>
              <a:rPr lang="pt-BR" dirty="0" err="1"/>
              <a:t>bold</a:t>
            </a:r>
            <a:endParaRPr lang="pt-BR" dirty="0"/>
          </a:p>
        </p:txBody>
      </p:sp>
      <p:sp>
        <p:nvSpPr>
          <p:cNvPr id="10" name="Espaço Reservado para Conteúdo 15">
            <a:extLst>
              <a:ext uri="{FF2B5EF4-FFF2-40B4-BE49-F238E27FC236}">
                <a16:creationId xmlns:a16="http://schemas.microsoft.com/office/drawing/2014/main" id="{4F6D3BE8-7A7F-42C3-ABE5-6FAB67DFED48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664477" y="4552950"/>
            <a:ext cx="4702079" cy="1666874"/>
          </a:xfrm>
        </p:spPr>
        <p:txBody>
          <a:bodyPr anchor="ctr" anchorCtr="1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331">
                <a:solidFill>
                  <a:schemeClr val="accent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Adicione um gráfico, tabela ou imagem.</a:t>
            </a:r>
          </a:p>
        </p:txBody>
      </p:sp>
      <p:sp>
        <p:nvSpPr>
          <p:cNvPr id="11" name="Espaço Reservado para Conteúdo 15">
            <a:extLst>
              <a:ext uri="{FF2B5EF4-FFF2-40B4-BE49-F238E27FC236}">
                <a16:creationId xmlns:a16="http://schemas.microsoft.com/office/drawing/2014/main" id="{01084CC8-D942-4CE3-8D7E-A2C07ECF8D18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825449" y="4552950"/>
            <a:ext cx="4702079" cy="1666874"/>
          </a:xfrm>
        </p:spPr>
        <p:txBody>
          <a:bodyPr anchor="ctr" anchorCtr="1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331">
                <a:solidFill>
                  <a:schemeClr val="accent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Adicione um gráfico, tabela ou imagem.</a:t>
            </a:r>
          </a:p>
        </p:txBody>
      </p:sp>
      <p:sp>
        <p:nvSpPr>
          <p:cNvPr id="12" name="Espaço Reservado para Conteúdo 15">
            <a:extLst>
              <a:ext uri="{FF2B5EF4-FFF2-40B4-BE49-F238E27FC236}">
                <a16:creationId xmlns:a16="http://schemas.microsoft.com/office/drawing/2014/main" id="{9E766386-7520-4951-A09D-9245DF8255B9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664477" y="1911987"/>
            <a:ext cx="4702079" cy="1666874"/>
          </a:xfrm>
        </p:spPr>
        <p:txBody>
          <a:bodyPr anchor="ctr" anchorCtr="1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331">
                <a:solidFill>
                  <a:schemeClr val="accent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Adicione um gráfico, tabela ou imagem.</a:t>
            </a:r>
          </a:p>
        </p:txBody>
      </p:sp>
      <p:sp>
        <p:nvSpPr>
          <p:cNvPr id="13" name="Espaço Reservado para Conteúdo 15">
            <a:extLst>
              <a:ext uri="{FF2B5EF4-FFF2-40B4-BE49-F238E27FC236}">
                <a16:creationId xmlns:a16="http://schemas.microsoft.com/office/drawing/2014/main" id="{4C6D78B3-7046-44A5-A6E8-5B68F64D21CD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25449" y="1911987"/>
            <a:ext cx="4702079" cy="1666874"/>
          </a:xfrm>
        </p:spPr>
        <p:txBody>
          <a:bodyPr anchor="ctr" anchorCtr="1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331">
                <a:solidFill>
                  <a:schemeClr val="accent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pt-BR" dirty="0"/>
              <a:t>Adicione um gráfico, tabela ou imagem.</a:t>
            </a:r>
          </a:p>
        </p:txBody>
      </p:sp>
      <p:sp>
        <p:nvSpPr>
          <p:cNvPr id="14" name="Espaço Reservado para Texto 9">
            <a:extLst>
              <a:ext uri="{FF2B5EF4-FFF2-40B4-BE49-F238E27FC236}">
                <a16:creationId xmlns:a16="http://schemas.microsoft.com/office/drawing/2014/main" id="{27371D5B-FD28-4EF9-991D-E33D29C45DA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2398" y="673895"/>
            <a:ext cx="6692698" cy="233362"/>
          </a:xfrm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45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51">
                <a:solidFill>
                  <a:schemeClr val="accent2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451">
                <a:solidFill>
                  <a:schemeClr val="accent2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451">
                <a:solidFill>
                  <a:schemeClr val="accent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451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/>
              <a:t>adicione um subtítulo para apresentação 12pt</a:t>
            </a:r>
          </a:p>
        </p:txBody>
      </p:sp>
      <p:sp>
        <p:nvSpPr>
          <p:cNvPr id="20" name="Espaço Reservado para Texto 9">
            <a:extLst>
              <a:ext uri="{FF2B5EF4-FFF2-40B4-BE49-F238E27FC236}">
                <a16:creationId xmlns:a16="http://schemas.microsoft.com/office/drawing/2014/main" id="{8A878336-43FA-4E0C-BD3C-8F0D02CD0AC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73512" y="1426575"/>
            <a:ext cx="4454017" cy="233362"/>
          </a:xfrm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935" b="1">
                <a:solidFill>
                  <a:schemeClr val="tx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51">
                <a:solidFill>
                  <a:schemeClr val="accent2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451">
                <a:solidFill>
                  <a:schemeClr val="accent2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451">
                <a:solidFill>
                  <a:schemeClr val="accent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451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/>
              <a:t>titulo do gráfico 16 </a:t>
            </a:r>
            <a:r>
              <a:rPr lang="pt-BR" dirty="0" err="1"/>
              <a:t>pt</a:t>
            </a:r>
            <a:r>
              <a:rPr lang="pt-BR" dirty="0"/>
              <a:t> </a:t>
            </a:r>
            <a:r>
              <a:rPr lang="pt-BR" dirty="0" err="1"/>
              <a:t>bold</a:t>
            </a:r>
            <a:endParaRPr lang="pt-BR" dirty="0"/>
          </a:p>
        </p:txBody>
      </p:sp>
      <p:sp>
        <p:nvSpPr>
          <p:cNvPr id="21" name="Espaço Reservado para Texto 9">
            <a:extLst>
              <a:ext uri="{FF2B5EF4-FFF2-40B4-BE49-F238E27FC236}">
                <a16:creationId xmlns:a16="http://schemas.microsoft.com/office/drawing/2014/main" id="{31470554-1936-4C33-AA94-9F44AC5D04F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675" y="1426575"/>
            <a:ext cx="4368210" cy="233362"/>
          </a:xfrm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935" b="1">
                <a:solidFill>
                  <a:schemeClr val="tx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51">
                <a:solidFill>
                  <a:schemeClr val="accent2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451">
                <a:solidFill>
                  <a:schemeClr val="accent2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451">
                <a:solidFill>
                  <a:schemeClr val="accent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451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/>
              <a:t>titulo do gráfico 16 </a:t>
            </a:r>
            <a:r>
              <a:rPr lang="pt-BR" dirty="0" err="1"/>
              <a:t>pt</a:t>
            </a:r>
            <a:r>
              <a:rPr lang="pt-BR" dirty="0"/>
              <a:t> </a:t>
            </a:r>
            <a:r>
              <a:rPr lang="pt-BR" dirty="0" err="1"/>
              <a:t>bold</a:t>
            </a:r>
            <a:endParaRPr lang="pt-BR" dirty="0"/>
          </a:p>
        </p:txBody>
      </p:sp>
      <p:sp>
        <p:nvSpPr>
          <p:cNvPr id="22" name="Espaço Reservado para Texto 9">
            <a:extLst>
              <a:ext uri="{FF2B5EF4-FFF2-40B4-BE49-F238E27FC236}">
                <a16:creationId xmlns:a16="http://schemas.microsoft.com/office/drawing/2014/main" id="{0CF0D194-9755-4698-AC9A-E1BB5CE0F6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73512" y="4053829"/>
            <a:ext cx="4454017" cy="233362"/>
          </a:xfrm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935" b="1">
                <a:solidFill>
                  <a:schemeClr val="tx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51">
                <a:solidFill>
                  <a:schemeClr val="accent2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451">
                <a:solidFill>
                  <a:schemeClr val="accent2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451">
                <a:solidFill>
                  <a:schemeClr val="accent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451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/>
              <a:t>titulo do gráfico 16 </a:t>
            </a:r>
            <a:r>
              <a:rPr lang="pt-BR" dirty="0" err="1"/>
              <a:t>pt</a:t>
            </a:r>
            <a:r>
              <a:rPr lang="pt-BR" dirty="0"/>
              <a:t> </a:t>
            </a:r>
            <a:r>
              <a:rPr lang="pt-BR" dirty="0" err="1"/>
              <a:t>bold</a:t>
            </a:r>
            <a:endParaRPr lang="pt-BR" dirty="0"/>
          </a:p>
        </p:txBody>
      </p:sp>
      <p:sp>
        <p:nvSpPr>
          <p:cNvPr id="23" name="Espaço Reservado para Texto 9">
            <a:extLst>
              <a:ext uri="{FF2B5EF4-FFF2-40B4-BE49-F238E27FC236}">
                <a16:creationId xmlns:a16="http://schemas.microsoft.com/office/drawing/2014/main" id="{477E3DD2-35B5-4A4B-995F-2C4BDBB08FB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010675" y="4053829"/>
            <a:ext cx="4368210" cy="233362"/>
          </a:xfrm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935" b="1">
                <a:solidFill>
                  <a:schemeClr val="tx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51">
                <a:solidFill>
                  <a:schemeClr val="accent2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451">
                <a:solidFill>
                  <a:schemeClr val="accent2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451">
                <a:solidFill>
                  <a:schemeClr val="accent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451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/>
              <a:t>titulo do gráfico 16 </a:t>
            </a:r>
            <a:r>
              <a:rPr lang="pt-BR" dirty="0" err="1"/>
              <a:t>pt</a:t>
            </a:r>
            <a:r>
              <a:rPr lang="pt-BR" dirty="0"/>
              <a:t> </a:t>
            </a:r>
            <a:r>
              <a:rPr lang="pt-BR" dirty="0" err="1"/>
              <a:t>bold</a:t>
            </a:r>
            <a:endParaRPr lang="pt-BR" dirty="0"/>
          </a:p>
        </p:txBody>
      </p:sp>
      <p:pic>
        <p:nvPicPr>
          <p:cNvPr id="16" name="Imagem 15" descr="Uma imagem contendo desenho, placar&#10;&#10;Descrição gerada automaticamente">
            <a:extLst>
              <a:ext uri="{FF2B5EF4-FFF2-40B4-BE49-F238E27FC236}">
                <a16:creationId xmlns:a16="http://schemas.microsoft.com/office/drawing/2014/main" id="{203672C4-0A54-4303-96AF-567477C198B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0286" y="348210"/>
            <a:ext cx="919368" cy="552052"/>
          </a:xfrm>
          <a:prstGeom prst="rect">
            <a:avLst/>
          </a:prstGeom>
        </p:spPr>
      </p:pic>
      <p:pic>
        <p:nvPicPr>
          <p:cNvPr id="17" name="Imagem 16" descr="Uma imagem contendo edifício, ponte, luz&#10;&#10;Descrição gerada automaticamente">
            <a:extLst>
              <a:ext uri="{FF2B5EF4-FFF2-40B4-BE49-F238E27FC236}">
                <a16:creationId xmlns:a16="http://schemas.microsoft.com/office/drawing/2014/main" id="{76DB57C3-9483-4D3A-8010-F3D625322AF7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2397" y="1426575"/>
            <a:ext cx="215872" cy="247800"/>
          </a:xfrm>
          <a:prstGeom prst="rect">
            <a:avLst/>
          </a:prstGeom>
        </p:spPr>
      </p:pic>
      <p:pic>
        <p:nvPicPr>
          <p:cNvPr id="18" name="Imagem 17" descr="Uma imagem contendo edifício, ponte, luz&#10;&#10;Descrição gerada automaticamente">
            <a:extLst>
              <a:ext uri="{FF2B5EF4-FFF2-40B4-BE49-F238E27FC236}">
                <a16:creationId xmlns:a16="http://schemas.microsoft.com/office/drawing/2014/main" id="{91F6C76A-7B1E-4E46-960B-748AC43485F0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04981" y="1433399"/>
            <a:ext cx="215872" cy="247800"/>
          </a:xfrm>
          <a:prstGeom prst="rect">
            <a:avLst/>
          </a:prstGeom>
        </p:spPr>
      </p:pic>
      <p:pic>
        <p:nvPicPr>
          <p:cNvPr id="19" name="Imagem 18" descr="Uma imagem contendo edifício, ponte, luz&#10;&#10;Descrição gerada automaticamente">
            <a:extLst>
              <a:ext uri="{FF2B5EF4-FFF2-40B4-BE49-F238E27FC236}">
                <a16:creationId xmlns:a16="http://schemas.microsoft.com/office/drawing/2014/main" id="{4EDF286D-ED4B-40A1-8CEC-9E951623AF44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04981" y="4071216"/>
            <a:ext cx="215872" cy="247800"/>
          </a:xfrm>
          <a:prstGeom prst="rect">
            <a:avLst/>
          </a:prstGeom>
        </p:spPr>
      </p:pic>
      <p:pic>
        <p:nvPicPr>
          <p:cNvPr id="24" name="Imagem 23" descr="Uma imagem contendo edifício, ponte, luz&#10;&#10;Descrição gerada automaticamente">
            <a:extLst>
              <a:ext uri="{FF2B5EF4-FFF2-40B4-BE49-F238E27FC236}">
                <a16:creationId xmlns:a16="http://schemas.microsoft.com/office/drawing/2014/main" id="{09076F0A-876E-4AFC-B8BB-64450D98B999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256" y="4071216"/>
            <a:ext cx="215872" cy="247800"/>
          </a:xfrm>
          <a:prstGeom prst="rect">
            <a:avLst/>
          </a:prstGeom>
        </p:spPr>
      </p:pic>
      <p:cxnSp>
        <p:nvCxnSpPr>
          <p:cNvPr id="5" name="Conector reto 4">
            <a:extLst>
              <a:ext uri="{FF2B5EF4-FFF2-40B4-BE49-F238E27FC236}">
                <a16:creationId xmlns:a16="http://schemas.microsoft.com/office/drawing/2014/main" id="{465264B8-7112-4D2B-8868-EDF2F9F0A57B}"/>
              </a:ext>
            </a:extLst>
          </p:cNvPr>
          <p:cNvCxnSpPr/>
          <p:nvPr/>
        </p:nvCxnSpPr>
        <p:spPr>
          <a:xfrm>
            <a:off x="6096000" y="1433400"/>
            <a:ext cx="0" cy="4786425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31" name="Imagem 30" descr="Uma imagem contendo edifício, ponte, luz&#10;&#10;Descrição gerada automaticamente">
            <a:extLst>
              <a:ext uri="{FF2B5EF4-FFF2-40B4-BE49-F238E27FC236}">
                <a16:creationId xmlns:a16="http://schemas.microsoft.com/office/drawing/2014/main" id="{B4CA296B-F06A-4D30-95ED-3F5B57CD2B3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2397" y="1426575"/>
            <a:ext cx="215872" cy="247800"/>
          </a:xfrm>
          <a:prstGeom prst="rect">
            <a:avLst/>
          </a:prstGeom>
        </p:spPr>
      </p:pic>
      <p:pic>
        <p:nvPicPr>
          <p:cNvPr id="32" name="Imagem 31" descr="Uma imagem contendo edifício, ponte, luz&#10;&#10;Descrição gerada automaticamente">
            <a:extLst>
              <a:ext uri="{FF2B5EF4-FFF2-40B4-BE49-F238E27FC236}">
                <a16:creationId xmlns:a16="http://schemas.microsoft.com/office/drawing/2014/main" id="{396B4A29-4030-46C2-90DD-DD350110198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04981" y="1433399"/>
            <a:ext cx="215872" cy="247800"/>
          </a:xfrm>
          <a:prstGeom prst="rect">
            <a:avLst/>
          </a:prstGeom>
        </p:spPr>
      </p:pic>
      <p:pic>
        <p:nvPicPr>
          <p:cNvPr id="33" name="Imagem 32" descr="Uma imagem contendo edifício, ponte, luz&#10;&#10;Descrição gerada automaticamente">
            <a:extLst>
              <a:ext uri="{FF2B5EF4-FFF2-40B4-BE49-F238E27FC236}">
                <a16:creationId xmlns:a16="http://schemas.microsoft.com/office/drawing/2014/main" id="{5AF453E7-6F37-400E-B764-EE3C23D84D2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04981" y="4071216"/>
            <a:ext cx="215872" cy="247800"/>
          </a:xfrm>
          <a:prstGeom prst="rect">
            <a:avLst/>
          </a:prstGeom>
        </p:spPr>
      </p:pic>
      <p:pic>
        <p:nvPicPr>
          <p:cNvPr id="34" name="Imagem 33" descr="Uma imagem contendo edifício, ponte, luz&#10;&#10;Descrição gerada automaticamente">
            <a:extLst>
              <a:ext uri="{FF2B5EF4-FFF2-40B4-BE49-F238E27FC236}">
                <a16:creationId xmlns:a16="http://schemas.microsoft.com/office/drawing/2014/main" id="{5B73CC35-FBAF-4064-A182-46E3251B4AA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256" y="4071216"/>
            <a:ext cx="215872" cy="247800"/>
          </a:xfrm>
          <a:prstGeom prst="rect">
            <a:avLst/>
          </a:prstGeom>
        </p:spPr>
      </p:pic>
      <p:cxnSp>
        <p:nvCxnSpPr>
          <p:cNvPr id="35" name="Conector reto 34">
            <a:extLst>
              <a:ext uri="{FF2B5EF4-FFF2-40B4-BE49-F238E27FC236}">
                <a16:creationId xmlns:a16="http://schemas.microsoft.com/office/drawing/2014/main" id="{8AD477DF-2762-4762-9811-743BE11B0AA5}"/>
              </a:ext>
            </a:extLst>
          </p:cNvPr>
          <p:cNvCxnSpPr/>
          <p:nvPr userDrawn="1"/>
        </p:nvCxnSpPr>
        <p:spPr>
          <a:xfrm>
            <a:off x="6096000" y="1433400"/>
            <a:ext cx="0" cy="4786425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86053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Uma imagem contendo edifício, ponte, luz&#10;&#10;Descrição gerada automaticamente">
            <a:extLst>
              <a:ext uri="{FF2B5EF4-FFF2-40B4-BE49-F238E27FC236}">
                <a16:creationId xmlns:a16="http://schemas.microsoft.com/office/drawing/2014/main" id="{20DFB65F-EF11-4621-AB56-38C8641A41D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51549" y="3148395"/>
            <a:ext cx="488902" cy="561210"/>
          </a:xfrm>
          <a:prstGeom prst="rect">
            <a:avLst/>
          </a:prstGeom>
        </p:spPr>
      </p:pic>
      <p:pic>
        <p:nvPicPr>
          <p:cNvPr id="3" name="Imagem 2" descr="Uma imagem contendo edifício, ponte, luz&#10;&#10;Descrição gerada automaticamente">
            <a:extLst>
              <a:ext uri="{FF2B5EF4-FFF2-40B4-BE49-F238E27FC236}">
                <a16:creationId xmlns:a16="http://schemas.microsoft.com/office/drawing/2014/main" id="{1EAF263B-3BDC-41E3-B90C-801C2D1FF15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51549" y="3148395"/>
            <a:ext cx="488902" cy="561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546995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55347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Layout Personaliza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>
            <a:extLst>
              <a:ext uri="{FF2B5EF4-FFF2-40B4-BE49-F238E27FC236}">
                <a16:creationId xmlns:a16="http://schemas.microsoft.com/office/drawing/2014/main" id="{1D022F6F-A3AD-43CD-8A24-7DE076C3FB4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latin typeface="Roboto" panose="02000000000000000000" pitchFamily="2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5FA242C8-007A-4875-A0CB-61EECEB203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0" y="2324100"/>
            <a:ext cx="6810375" cy="1866900"/>
          </a:xfrm>
        </p:spPr>
        <p:txBody>
          <a:bodyPr>
            <a:noAutofit/>
          </a:bodyPr>
          <a:lstStyle>
            <a:lvl1pPr>
              <a:defRPr sz="5400" b="0">
                <a:solidFill>
                  <a:schemeClr val="bg1"/>
                </a:solidFill>
              </a:defRPr>
            </a:lvl1pPr>
          </a:lstStyle>
          <a:p>
            <a:r>
              <a:rPr lang="pt-BR" dirty="0"/>
              <a:t>Título do capítulo 54pt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DAC4E853-834C-43B3-80B8-F0D188926CA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50" y="1905000"/>
            <a:ext cx="6810375" cy="209550"/>
          </a:xfrm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pt-BR" dirty="0"/>
              <a:t>Nome do capítulo</a:t>
            </a:r>
          </a:p>
        </p:txBody>
      </p:sp>
      <p:sp>
        <p:nvSpPr>
          <p:cNvPr id="6" name="Espaço Reservado para Texto 4">
            <a:extLst>
              <a:ext uri="{FF2B5EF4-FFF2-40B4-BE49-F238E27FC236}">
                <a16:creationId xmlns:a16="http://schemas.microsoft.com/office/drawing/2014/main" id="{84BD97C9-26E4-4A17-A1CA-39A3F1FAD5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0" y="4400550"/>
            <a:ext cx="6810375" cy="704850"/>
          </a:xfrm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pt-BR" dirty="0"/>
              <a:t>Descritivo do capítulo 14pt</a:t>
            </a:r>
          </a:p>
        </p:txBody>
      </p:sp>
      <p:pic>
        <p:nvPicPr>
          <p:cNvPr id="4" name="Imagem 3" descr="Uma imagem contendo objeto, relógio&#10;&#10;Descrição gerada automaticamente">
            <a:extLst>
              <a:ext uri="{FF2B5EF4-FFF2-40B4-BE49-F238E27FC236}">
                <a16:creationId xmlns:a16="http://schemas.microsoft.com/office/drawing/2014/main" id="{313A4CE4-BF39-4D62-9D0C-6FDE89E8E5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3341819" cy="6858000"/>
          </a:xfrm>
          <a:prstGeom prst="rect">
            <a:avLst/>
          </a:prstGeom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DC328C0E-2488-4522-BC48-D84DC93F416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41283" y="5643101"/>
            <a:ext cx="1087752" cy="786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855976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>
            <a:extLst>
              <a:ext uri="{FF2B5EF4-FFF2-40B4-BE49-F238E27FC236}">
                <a16:creationId xmlns:a16="http://schemas.microsoft.com/office/drawing/2014/main" id="{763209E8-FAC5-4EB4-AE81-7F7C77D59E1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86"/>
          </a:p>
        </p:txBody>
      </p:sp>
      <p:sp>
        <p:nvSpPr>
          <p:cNvPr id="19" name="Retângulo 18">
            <a:extLst>
              <a:ext uri="{FF2B5EF4-FFF2-40B4-BE49-F238E27FC236}">
                <a16:creationId xmlns:a16="http://schemas.microsoft.com/office/drawing/2014/main" id="{7124CFB2-90D3-45CD-B48A-5D63AE601D6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286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AFA7A4E-50D2-40E4-B39C-CBB6B0A713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28866" y="3105150"/>
            <a:ext cx="7150020" cy="471364"/>
          </a:xfrm>
        </p:spPr>
        <p:txBody>
          <a:bodyPr/>
          <a:lstStyle/>
          <a:p>
            <a:r>
              <a:rPr lang="pt-BR" dirty="0"/>
              <a:t>clique para editar o título mestre</a:t>
            </a:r>
          </a:p>
        </p:txBody>
      </p:sp>
      <p:sp>
        <p:nvSpPr>
          <p:cNvPr id="7" name="Espaço Reservado para Texto 9">
            <a:extLst>
              <a:ext uri="{FF2B5EF4-FFF2-40B4-BE49-F238E27FC236}">
                <a16:creationId xmlns:a16="http://schemas.microsoft.com/office/drawing/2014/main" id="{827BA6D1-BC3F-4661-97F1-D407BDF2DEA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28865" y="3595564"/>
            <a:ext cx="6692698" cy="233362"/>
          </a:xfrm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45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51">
                <a:solidFill>
                  <a:schemeClr val="accent2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451">
                <a:solidFill>
                  <a:schemeClr val="accent2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451">
                <a:solidFill>
                  <a:schemeClr val="accent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451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/>
              <a:t>adicione um data para apresentação 12pt</a:t>
            </a:r>
          </a:p>
        </p:txBody>
      </p:sp>
      <p:pic>
        <p:nvPicPr>
          <p:cNvPr id="18" name="Imagem 17">
            <a:extLst>
              <a:ext uri="{FF2B5EF4-FFF2-40B4-BE49-F238E27FC236}">
                <a16:creationId xmlns:a16="http://schemas.microsoft.com/office/drawing/2014/main" id="{C4FC3200-908C-42CB-98A1-047C78CCF31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1289" y="5720584"/>
            <a:ext cx="940330" cy="565917"/>
          </a:xfrm>
          <a:prstGeom prst="rect">
            <a:avLst/>
          </a:prstGeom>
        </p:spPr>
      </p:pic>
      <p:pic>
        <p:nvPicPr>
          <p:cNvPr id="9" name="Imagem 8">
            <a:extLst>
              <a:ext uri="{FF2B5EF4-FFF2-40B4-BE49-F238E27FC236}">
                <a16:creationId xmlns:a16="http://schemas.microsoft.com/office/drawing/2014/main" id="{B120AA44-4A93-46ED-ACE6-59A6FF40AEA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816052" y="1228725"/>
            <a:ext cx="3831257" cy="4400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424197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lide de Títul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Uma imagem contendo teclado, computador, laptop&#10;&#10;Descrição gerada automaticamente">
            <a:extLst>
              <a:ext uri="{FF2B5EF4-FFF2-40B4-BE49-F238E27FC236}">
                <a16:creationId xmlns:a16="http://schemas.microsoft.com/office/drawing/2014/main" id="{62134EBD-6152-4D20-B19D-A28F610B3E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16975"/>
            <a:ext cx="12617242" cy="7167966"/>
          </a:xfrm>
          <a:prstGeom prst="rect">
            <a:avLst/>
          </a:prstGeom>
        </p:spPr>
      </p:pic>
      <p:sp>
        <p:nvSpPr>
          <p:cNvPr id="4" name="Retângulo 3">
            <a:extLst>
              <a:ext uri="{FF2B5EF4-FFF2-40B4-BE49-F238E27FC236}">
                <a16:creationId xmlns:a16="http://schemas.microsoft.com/office/drawing/2014/main" id="{C521766B-81AA-48E4-866D-1CB4F4A86655}"/>
              </a:ext>
            </a:extLst>
          </p:cNvPr>
          <p:cNvSpPr/>
          <p:nvPr userDrawn="1"/>
        </p:nvSpPr>
        <p:spPr>
          <a:xfrm>
            <a:off x="0" y="2351867"/>
            <a:ext cx="12617242" cy="21542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latin typeface="Roboto" panose="02000000000000000000" pitchFamily="2" charset="0"/>
            </a:endParaRPr>
          </a:p>
        </p:txBody>
      </p:sp>
      <p:sp>
        <p:nvSpPr>
          <p:cNvPr id="7" name="Título 6">
            <a:extLst>
              <a:ext uri="{FF2B5EF4-FFF2-40B4-BE49-F238E27FC236}">
                <a16:creationId xmlns:a16="http://schemas.microsoft.com/office/drawing/2014/main" id="{D75A5E86-6513-4879-B8FF-C35A52F070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8750" y="3110960"/>
            <a:ext cx="7877175" cy="43338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Título da apresentação 24pt </a:t>
            </a:r>
            <a:r>
              <a:rPr lang="pt-BR" dirty="0" err="1"/>
              <a:t>bold</a:t>
            </a:r>
            <a:endParaRPr lang="pt-BR" dirty="0"/>
          </a:p>
        </p:txBody>
      </p:sp>
      <p:sp>
        <p:nvSpPr>
          <p:cNvPr id="9" name="Espaço Reservado para Texto 8">
            <a:extLst>
              <a:ext uri="{FF2B5EF4-FFF2-40B4-BE49-F238E27FC236}">
                <a16:creationId xmlns:a16="http://schemas.microsoft.com/office/drawing/2014/main" id="{92C98405-73F0-4F68-867D-456C046FC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28750" y="3550910"/>
            <a:ext cx="1952625" cy="319088"/>
          </a:xfrm>
        </p:spPr>
        <p:txBody>
          <a:bodyPr lIns="0" tIns="0" rIns="0" bIns="0"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4pPr>
            <a:lvl5pPr marL="0" indent="0" algn="l"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  <a:latin typeface="Roboto" panose="02000000000000000000" pitchFamily="2" charset="0"/>
              </a:defRPr>
            </a:lvl5pPr>
          </a:lstStyle>
          <a:p>
            <a:pPr lvl="4"/>
            <a:r>
              <a:rPr lang="pt-BR" dirty="0"/>
              <a:t>Coloque a data 12pt </a:t>
            </a:r>
            <a:r>
              <a:rPr lang="pt-BR" dirty="0" err="1"/>
              <a:t>bold</a:t>
            </a:r>
            <a:endParaRPr lang="pt-BR" dirty="0"/>
          </a:p>
        </p:txBody>
      </p:sp>
      <p:pic>
        <p:nvPicPr>
          <p:cNvPr id="6" name="Imagem 5" descr="Uma imagem contendo edifício&#10;&#10;Descrição gerada automaticamente">
            <a:extLst>
              <a:ext uri="{FF2B5EF4-FFF2-40B4-BE49-F238E27FC236}">
                <a16:creationId xmlns:a16="http://schemas.microsoft.com/office/drawing/2014/main" id="{02AEB864-C0CF-45E0-A125-C3CECA250E0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1134" y="3022169"/>
            <a:ext cx="557616" cy="813662"/>
          </a:xfrm>
          <a:prstGeom prst="rect">
            <a:avLst/>
          </a:prstGeom>
        </p:spPr>
      </p:pic>
      <p:pic>
        <p:nvPicPr>
          <p:cNvPr id="10" name="Imagem 9" descr="Uma imagem contendo relógio, placar&#10;&#10;Descrição gerada automaticamente">
            <a:extLst>
              <a:ext uri="{FF2B5EF4-FFF2-40B4-BE49-F238E27FC236}">
                <a16:creationId xmlns:a16="http://schemas.microsoft.com/office/drawing/2014/main" id="{7E017C81-8D44-4A2F-BAC7-E3C73C1C57D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0925" y="2989050"/>
            <a:ext cx="1217278" cy="879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12235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layou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: Shape 1">
            <a:extLst>
              <a:ext uri="{FF2B5EF4-FFF2-40B4-BE49-F238E27FC236}">
                <a16:creationId xmlns:a16="http://schemas.microsoft.com/office/drawing/2014/main" id="{9AAB0D72-EF64-4427-BF41-BE766B3F0590}"/>
              </a:ext>
            </a:extLst>
          </p:cNvPr>
          <p:cNvSpPr>
            <a:spLocks/>
          </p:cNvSpPr>
          <p:nvPr userDrawn="1"/>
        </p:nvSpPr>
        <p:spPr bwMode="auto">
          <a:xfrm>
            <a:off x="-8316" y="1423107"/>
            <a:ext cx="12208633" cy="5434893"/>
          </a:xfrm>
          <a:custGeom>
            <a:avLst/>
            <a:gdLst>
              <a:gd name="connsiteX0" fmla="*/ 7143321 w 12208633"/>
              <a:gd name="connsiteY0" fmla="*/ 892474 h 5434893"/>
              <a:gd name="connsiteX1" fmla="*/ 7143335 w 12208633"/>
              <a:gd name="connsiteY1" fmla="*/ 895416 h 5434893"/>
              <a:gd name="connsiteX2" fmla="*/ 7147277 w 12208633"/>
              <a:gd name="connsiteY2" fmla="*/ 895507 h 5434893"/>
              <a:gd name="connsiteX3" fmla="*/ 7147099 w 12208633"/>
              <a:gd name="connsiteY3" fmla="*/ 892474 h 5434893"/>
              <a:gd name="connsiteX4" fmla="*/ 6355163 w 12208633"/>
              <a:gd name="connsiteY4" fmla="*/ 727493 h 5434893"/>
              <a:gd name="connsiteX5" fmla="*/ 6355358 w 12208633"/>
              <a:gd name="connsiteY5" fmla="*/ 727687 h 5434893"/>
              <a:gd name="connsiteX6" fmla="*/ 6354969 w 12208633"/>
              <a:gd name="connsiteY6" fmla="*/ 727687 h 5434893"/>
              <a:gd name="connsiteX7" fmla="*/ 6354969 w 12208633"/>
              <a:gd name="connsiteY7" fmla="*/ 728075 h 5434893"/>
              <a:gd name="connsiteX8" fmla="*/ 6355358 w 12208633"/>
              <a:gd name="connsiteY8" fmla="*/ 727687 h 5434893"/>
              <a:gd name="connsiteX9" fmla="*/ 6355552 w 12208633"/>
              <a:gd name="connsiteY9" fmla="*/ 727493 h 5434893"/>
              <a:gd name="connsiteX10" fmla="*/ 6355163 w 12208633"/>
              <a:gd name="connsiteY10" fmla="*/ 727493 h 5434893"/>
              <a:gd name="connsiteX11" fmla="*/ 8604691 w 12208633"/>
              <a:gd name="connsiteY11" fmla="*/ 725788 h 5434893"/>
              <a:gd name="connsiteX12" fmla="*/ 8591193 w 12208633"/>
              <a:gd name="connsiteY12" fmla="*/ 738248 h 5434893"/>
              <a:gd name="connsiteX13" fmla="*/ 8590674 w 12208633"/>
              <a:gd name="connsiteY13" fmla="*/ 889843 h 5434893"/>
              <a:gd name="connsiteX14" fmla="*/ 8603653 w 12208633"/>
              <a:gd name="connsiteY14" fmla="*/ 903341 h 5434893"/>
              <a:gd name="connsiteX15" fmla="*/ 8616632 w 12208633"/>
              <a:gd name="connsiteY15" fmla="*/ 889843 h 5434893"/>
              <a:gd name="connsiteX16" fmla="*/ 8616632 w 12208633"/>
              <a:gd name="connsiteY16" fmla="*/ 815603 h 5434893"/>
              <a:gd name="connsiteX17" fmla="*/ 8616632 w 12208633"/>
              <a:gd name="connsiteY17" fmla="*/ 738767 h 5434893"/>
              <a:gd name="connsiteX18" fmla="*/ 8604691 w 12208633"/>
              <a:gd name="connsiteY18" fmla="*/ 725788 h 5434893"/>
              <a:gd name="connsiteX19" fmla="*/ 8744865 w 12208633"/>
              <a:gd name="connsiteY19" fmla="*/ 683217 h 5434893"/>
              <a:gd name="connsiteX20" fmla="*/ 8735001 w 12208633"/>
              <a:gd name="connsiteY20" fmla="*/ 694119 h 5434893"/>
              <a:gd name="connsiteX21" fmla="*/ 8735520 w 12208633"/>
              <a:gd name="connsiteY21" fmla="*/ 892439 h 5434893"/>
              <a:gd name="connsiteX22" fmla="*/ 8746422 w 12208633"/>
              <a:gd name="connsiteY22" fmla="*/ 903341 h 5434893"/>
              <a:gd name="connsiteX23" fmla="*/ 8787436 w 12208633"/>
              <a:gd name="connsiteY23" fmla="*/ 903341 h 5434893"/>
              <a:gd name="connsiteX24" fmla="*/ 8801454 w 12208633"/>
              <a:gd name="connsiteY24" fmla="*/ 889324 h 5434893"/>
              <a:gd name="connsiteX25" fmla="*/ 8801454 w 12208633"/>
              <a:gd name="connsiteY25" fmla="*/ 818718 h 5434893"/>
              <a:gd name="connsiteX26" fmla="*/ 8807164 w 12208633"/>
              <a:gd name="connsiteY26" fmla="*/ 805739 h 5434893"/>
              <a:gd name="connsiteX27" fmla="*/ 8822739 w 12208633"/>
              <a:gd name="connsiteY27" fmla="*/ 781857 h 5434893"/>
              <a:gd name="connsiteX28" fmla="*/ 8811317 w 12208633"/>
              <a:gd name="connsiteY28" fmla="*/ 771474 h 5434893"/>
              <a:gd name="connsiteX29" fmla="*/ 8773938 w 12208633"/>
              <a:gd name="connsiteY29" fmla="*/ 771474 h 5434893"/>
              <a:gd name="connsiteX30" fmla="*/ 8756286 w 12208633"/>
              <a:gd name="connsiteY30" fmla="*/ 754342 h 5434893"/>
              <a:gd name="connsiteX31" fmla="*/ 8756286 w 12208633"/>
              <a:gd name="connsiteY31" fmla="*/ 725269 h 5434893"/>
              <a:gd name="connsiteX32" fmla="*/ 8755767 w 12208633"/>
              <a:gd name="connsiteY32" fmla="*/ 725269 h 5434893"/>
              <a:gd name="connsiteX33" fmla="*/ 8755767 w 12208633"/>
              <a:gd name="connsiteY33" fmla="*/ 694638 h 5434893"/>
              <a:gd name="connsiteX34" fmla="*/ 8744865 w 12208633"/>
              <a:gd name="connsiteY34" fmla="*/ 683217 h 5434893"/>
              <a:gd name="connsiteX35" fmla="*/ 5999516 w 12208633"/>
              <a:gd name="connsiteY35" fmla="*/ 672943 h 5434893"/>
              <a:gd name="connsiteX36" fmla="*/ 5999516 w 12208633"/>
              <a:gd name="connsiteY36" fmla="*/ 672950 h 5434893"/>
              <a:gd name="connsiteX37" fmla="*/ 6106191 w 12208633"/>
              <a:gd name="connsiteY37" fmla="*/ 672950 h 5434893"/>
              <a:gd name="connsiteX38" fmla="*/ 6106226 w 12208633"/>
              <a:gd name="connsiteY38" fmla="*/ 672943 h 5434893"/>
              <a:gd name="connsiteX39" fmla="*/ 6103287 w 12208633"/>
              <a:gd name="connsiteY39" fmla="*/ 672943 h 5434893"/>
              <a:gd name="connsiteX40" fmla="*/ 6095614 w 12208633"/>
              <a:gd name="connsiteY40" fmla="*/ 672943 h 5434893"/>
              <a:gd name="connsiteX41" fmla="*/ 5844017 w 12208633"/>
              <a:gd name="connsiteY41" fmla="*/ 672943 h 5434893"/>
              <a:gd name="connsiteX42" fmla="*/ 5844017 w 12208633"/>
              <a:gd name="connsiteY42" fmla="*/ 672950 h 5434893"/>
              <a:gd name="connsiteX43" fmla="*/ 5950885 w 12208633"/>
              <a:gd name="connsiteY43" fmla="*/ 672950 h 5434893"/>
              <a:gd name="connsiteX44" fmla="*/ 5950920 w 12208633"/>
              <a:gd name="connsiteY44" fmla="*/ 672943 h 5434893"/>
              <a:gd name="connsiteX45" fmla="*/ 5947738 w 12208633"/>
              <a:gd name="connsiteY45" fmla="*/ 672943 h 5434893"/>
              <a:gd name="connsiteX46" fmla="*/ 5940066 w 12208633"/>
              <a:gd name="connsiteY46" fmla="*/ 672943 h 5434893"/>
              <a:gd name="connsiteX47" fmla="*/ 2661207 w 12208633"/>
              <a:gd name="connsiteY47" fmla="*/ 578320 h 5434893"/>
              <a:gd name="connsiteX48" fmla="*/ 2649387 w 12208633"/>
              <a:gd name="connsiteY48" fmla="*/ 591167 h 5434893"/>
              <a:gd name="connsiteX49" fmla="*/ 2649387 w 12208633"/>
              <a:gd name="connsiteY49" fmla="*/ 660718 h 5434893"/>
              <a:gd name="connsiteX50" fmla="*/ 2661207 w 12208633"/>
              <a:gd name="connsiteY50" fmla="*/ 660966 h 5434893"/>
              <a:gd name="connsiteX51" fmla="*/ 2661207 w 12208633"/>
              <a:gd name="connsiteY51" fmla="*/ 612643 h 5434893"/>
              <a:gd name="connsiteX52" fmla="*/ 2521154 w 12208633"/>
              <a:gd name="connsiteY52" fmla="*/ 535617 h 5434893"/>
              <a:gd name="connsiteX53" fmla="*/ 2510252 w 12208633"/>
              <a:gd name="connsiteY53" fmla="*/ 547038 h 5434893"/>
              <a:gd name="connsiteX54" fmla="*/ 2510252 w 12208633"/>
              <a:gd name="connsiteY54" fmla="*/ 577669 h 5434893"/>
              <a:gd name="connsiteX55" fmla="*/ 2509733 w 12208633"/>
              <a:gd name="connsiteY55" fmla="*/ 577669 h 5434893"/>
              <a:gd name="connsiteX56" fmla="*/ 2509733 w 12208633"/>
              <a:gd name="connsiteY56" fmla="*/ 606742 h 5434893"/>
              <a:gd name="connsiteX57" fmla="*/ 2492081 w 12208633"/>
              <a:gd name="connsiteY57" fmla="*/ 623874 h 5434893"/>
              <a:gd name="connsiteX58" fmla="*/ 2454702 w 12208633"/>
              <a:gd name="connsiteY58" fmla="*/ 623874 h 5434893"/>
              <a:gd name="connsiteX59" fmla="*/ 2443280 w 12208633"/>
              <a:gd name="connsiteY59" fmla="*/ 634257 h 5434893"/>
              <a:gd name="connsiteX60" fmla="*/ 2458855 w 12208633"/>
              <a:gd name="connsiteY60" fmla="*/ 658139 h 5434893"/>
              <a:gd name="connsiteX61" fmla="*/ 2464565 w 12208633"/>
              <a:gd name="connsiteY61" fmla="*/ 671118 h 5434893"/>
              <a:gd name="connsiteX62" fmla="*/ 2464565 w 12208633"/>
              <a:gd name="connsiteY62" fmla="*/ 735104 h 5434893"/>
              <a:gd name="connsiteX63" fmla="*/ 2530525 w 12208633"/>
              <a:gd name="connsiteY63" fmla="*/ 735104 h 5434893"/>
              <a:gd name="connsiteX64" fmla="*/ 2531018 w 12208633"/>
              <a:gd name="connsiteY64" fmla="*/ 546519 h 5434893"/>
              <a:gd name="connsiteX65" fmla="*/ 2521154 w 12208633"/>
              <a:gd name="connsiteY65" fmla="*/ 535617 h 5434893"/>
              <a:gd name="connsiteX66" fmla="*/ 8701774 w 12208633"/>
              <a:gd name="connsiteY66" fmla="*/ 534218 h 5434893"/>
              <a:gd name="connsiteX67" fmla="*/ 8688276 w 12208633"/>
              <a:gd name="connsiteY67" fmla="*/ 540967 h 5434893"/>
              <a:gd name="connsiteX68" fmla="*/ 8695025 w 12208633"/>
              <a:gd name="connsiteY68" fmla="*/ 567963 h 5434893"/>
              <a:gd name="connsiteX69" fmla="*/ 8735520 w 12208633"/>
              <a:gd name="connsiteY69" fmla="*/ 637012 h 5434893"/>
              <a:gd name="connsiteX70" fmla="*/ 8760440 w 12208633"/>
              <a:gd name="connsiteY70" fmla="*/ 664008 h 5434893"/>
              <a:gd name="connsiteX71" fmla="*/ 8767189 w 12208633"/>
              <a:gd name="connsiteY71" fmla="*/ 664527 h 5434893"/>
              <a:gd name="connsiteX72" fmla="*/ 8776534 w 12208633"/>
              <a:gd name="connsiteY72" fmla="*/ 675429 h 5434893"/>
              <a:gd name="connsiteX73" fmla="*/ 8776014 w 12208633"/>
              <a:gd name="connsiteY73" fmla="*/ 724750 h 5434893"/>
              <a:gd name="connsiteX74" fmla="*/ 8799896 w 12208633"/>
              <a:gd name="connsiteY74" fmla="*/ 750708 h 5434893"/>
              <a:gd name="connsiteX75" fmla="*/ 8804049 w 12208633"/>
              <a:gd name="connsiteY75" fmla="*/ 751227 h 5434893"/>
              <a:gd name="connsiteX76" fmla="*/ 8822739 w 12208633"/>
              <a:gd name="connsiteY76" fmla="*/ 740324 h 5434893"/>
              <a:gd name="connsiteX77" fmla="*/ 8806645 w 12208633"/>
              <a:gd name="connsiteY77" fmla="*/ 712809 h 5434893"/>
              <a:gd name="connsiteX78" fmla="*/ 8785359 w 12208633"/>
              <a:gd name="connsiteY78" fmla="*/ 691004 h 5434893"/>
              <a:gd name="connsiteX79" fmla="*/ 8785359 w 12208633"/>
              <a:gd name="connsiteY79" fmla="*/ 620399 h 5434893"/>
              <a:gd name="connsiteX80" fmla="*/ 8784840 w 12208633"/>
              <a:gd name="connsiteY80" fmla="*/ 620399 h 5434893"/>
              <a:gd name="connsiteX81" fmla="*/ 8784840 w 12208633"/>
              <a:gd name="connsiteY81" fmla="*/ 548755 h 5434893"/>
              <a:gd name="connsiteX82" fmla="*/ 8770823 w 12208633"/>
              <a:gd name="connsiteY82" fmla="*/ 534218 h 5434893"/>
              <a:gd name="connsiteX83" fmla="*/ 8701774 w 12208633"/>
              <a:gd name="connsiteY83" fmla="*/ 534218 h 5434893"/>
              <a:gd name="connsiteX84" fmla="*/ 7932693 w 12208633"/>
              <a:gd name="connsiteY84" fmla="*/ 518578 h 5434893"/>
              <a:gd name="connsiteX85" fmla="*/ 7932378 w 12208633"/>
              <a:gd name="connsiteY85" fmla="*/ 519208 h 5434893"/>
              <a:gd name="connsiteX86" fmla="*/ 7932693 w 12208633"/>
              <a:gd name="connsiteY86" fmla="*/ 519208 h 5434893"/>
              <a:gd name="connsiteX87" fmla="*/ 7932693 w 12208633"/>
              <a:gd name="connsiteY87" fmla="*/ 518578 h 5434893"/>
              <a:gd name="connsiteX88" fmla="*/ 7991282 w 12208633"/>
              <a:gd name="connsiteY88" fmla="*/ 518263 h 5434893"/>
              <a:gd name="connsiteX89" fmla="*/ 7991282 w 12208633"/>
              <a:gd name="connsiteY89" fmla="*/ 518892 h 5434893"/>
              <a:gd name="connsiteX90" fmla="*/ 7991597 w 12208633"/>
              <a:gd name="connsiteY90" fmla="*/ 518892 h 5434893"/>
              <a:gd name="connsiteX91" fmla="*/ 7991282 w 12208633"/>
              <a:gd name="connsiteY91" fmla="*/ 518263 h 5434893"/>
              <a:gd name="connsiteX92" fmla="*/ 7933323 w 12208633"/>
              <a:gd name="connsiteY92" fmla="*/ 517633 h 5434893"/>
              <a:gd name="connsiteX93" fmla="*/ 7933008 w 12208633"/>
              <a:gd name="connsiteY93" fmla="*/ 518263 h 5434893"/>
              <a:gd name="connsiteX94" fmla="*/ 7933323 w 12208633"/>
              <a:gd name="connsiteY94" fmla="*/ 518263 h 5434893"/>
              <a:gd name="connsiteX95" fmla="*/ 7933323 w 12208633"/>
              <a:gd name="connsiteY95" fmla="*/ 517633 h 5434893"/>
              <a:gd name="connsiteX96" fmla="*/ 9995853 w 12208633"/>
              <a:gd name="connsiteY96" fmla="*/ 483450 h 5434893"/>
              <a:gd name="connsiteX97" fmla="*/ 9995853 w 12208633"/>
              <a:gd name="connsiteY97" fmla="*/ 547260 h 5434893"/>
              <a:gd name="connsiteX98" fmla="*/ 10005688 w 12208633"/>
              <a:gd name="connsiteY98" fmla="*/ 548252 h 5434893"/>
              <a:gd name="connsiteX99" fmla="*/ 10070193 w 12208633"/>
              <a:gd name="connsiteY99" fmla="*/ 627396 h 5434893"/>
              <a:gd name="connsiteX100" fmla="*/ 10070193 w 12208633"/>
              <a:gd name="connsiteY100" fmla="*/ 839288 h 5434893"/>
              <a:gd name="connsiteX101" fmla="*/ 10098404 w 12208633"/>
              <a:gd name="connsiteY101" fmla="*/ 839288 h 5434893"/>
              <a:gd name="connsiteX102" fmla="*/ 10098404 w 12208633"/>
              <a:gd name="connsiteY102" fmla="*/ 483450 h 5434893"/>
              <a:gd name="connsiteX103" fmla="*/ 9781381 w 12208633"/>
              <a:gd name="connsiteY103" fmla="*/ 483450 h 5434893"/>
              <a:gd name="connsiteX104" fmla="*/ 9781381 w 12208633"/>
              <a:gd name="connsiteY104" fmla="*/ 547123 h 5434893"/>
              <a:gd name="connsiteX105" fmla="*/ 9792075 w 12208633"/>
              <a:gd name="connsiteY105" fmla="*/ 548201 h 5434893"/>
              <a:gd name="connsiteX106" fmla="*/ 9856579 w 12208633"/>
              <a:gd name="connsiteY106" fmla="*/ 627345 h 5434893"/>
              <a:gd name="connsiteX107" fmla="*/ 9856579 w 12208633"/>
              <a:gd name="connsiteY107" fmla="*/ 839288 h 5434893"/>
              <a:gd name="connsiteX108" fmla="*/ 9908622 w 12208633"/>
              <a:gd name="connsiteY108" fmla="*/ 839288 h 5434893"/>
              <a:gd name="connsiteX109" fmla="*/ 9908621 w 12208633"/>
              <a:gd name="connsiteY109" fmla="*/ 627396 h 5434893"/>
              <a:gd name="connsiteX110" fmla="*/ 9908622 w 12208633"/>
              <a:gd name="connsiteY110" fmla="*/ 627394 h 5434893"/>
              <a:gd name="connsiteX111" fmla="*/ 9908622 w 12208633"/>
              <a:gd name="connsiteY111" fmla="*/ 620889 h 5434893"/>
              <a:gd name="connsiteX112" fmla="*/ 9909277 w 12208633"/>
              <a:gd name="connsiteY112" fmla="*/ 620889 h 5434893"/>
              <a:gd name="connsiteX113" fmla="*/ 9910263 w 12208633"/>
              <a:gd name="connsiteY113" fmla="*/ 611115 h 5434893"/>
              <a:gd name="connsiteX114" fmla="*/ 9975107 w 12208633"/>
              <a:gd name="connsiteY114" fmla="*/ 547872 h 5434893"/>
              <a:gd name="connsiteX115" fmla="*/ 9975644 w 12208633"/>
              <a:gd name="connsiteY115" fmla="*/ 547825 h 5434893"/>
              <a:gd name="connsiteX116" fmla="*/ 9975644 w 12208633"/>
              <a:gd name="connsiteY116" fmla="*/ 483450 h 5434893"/>
              <a:gd name="connsiteX117" fmla="*/ 4460613 w 12208633"/>
              <a:gd name="connsiteY117" fmla="*/ 410313 h 5434893"/>
              <a:gd name="connsiteX118" fmla="*/ 4460613 w 12208633"/>
              <a:gd name="connsiteY118" fmla="*/ 474688 h 5434893"/>
              <a:gd name="connsiteX119" fmla="*/ 4461150 w 12208633"/>
              <a:gd name="connsiteY119" fmla="*/ 474735 h 5434893"/>
              <a:gd name="connsiteX120" fmla="*/ 4525994 w 12208633"/>
              <a:gd name="connsiteY120" fmla="*/ 537978 h 5434893"/>
              <a:gd name="connsiteX121" fmla="*/ 4526979 w 12208633"/>
              <a:gd name="connsiteY121" fmla="*/ 547752 h 5434893"/>
              <a:gd name="connsiteX122" fmla="*/ 4527635 w 12208633"/>
              <a:gd name="connsiteY122" fmla="*/ 547752 h 5434893"/>
              <a:gd name="connsiteX123" fmla="*/ 4527635 w 12208633"/>
              <a:gd name="connsiteY123" fmla="*/ 554257 h 5434893"/>
              <a:gd name="connsiteX124" fmla="*/ 4527635 w 12208633"/>
              <a:gd name="connsiteY124" fmla="*/ 554259 h 5434893"/>
              <a:gd name="connsiteX125" fmla="*/ 4527635 w 12208633"/>
              <a:gd name="connsiteY125" fmla="*/ 766151 h 5434893"/>
              <a:gd name="connsiteX126" fmla="*/ 4579677 w 12208633"/>
              <a:gd name="connsiteY126" fmla="*/ 766151 h 5434893"/>
              <a:gd name="connsiteX127" fmla="*/ 4579677 w 12208633"/>
              <a:gd name="connsiteY127" fmla="*/ 554208 h 5434893"/>
              <a:gd name="connsiteX128" fmla="*/ 4644181 w 12208633"/>
              <a:gd name="connsiteY128" fmla="*/ 475064 h 5434893"/>
              <a:gd name="connsiteX129" fmla="*/ 4654875 w 12208633"/>
              <a:gd name="connsiteY129" fmla="*/ 473986 h 5434893"/>
              <a:gd name="connsiteX130" fmla="*/ 4654875 w 12208633"/>
              <a:gd name="connsiteY130" fmla="*/ 410313 h 5434893"/>
              <a:gd name="connsiteX131" fmla="*/ 4337854 w 12208633"/>
              <a:gd name="connsiteY131" fmla="*/ 410313 h 5434893"/>
              <a:gd name="connsiteX132" fmla="*/ 4337854 w 12208633"/>
              <a:gd name="connsiteY132" fmla="*/ 645080 h 5434893"/>
              <a:gd name="connsiteX133" fmla="*/ 4354002 w 12208633"/>
              <a:gd name="connsiteY133" fmla="*/ 645080 h 5434893"/>
              <a:gd name="connsiteX134" fmla="*/ 4366063 w 12208633"/>
              <a:gd name="connsiteY134" fmla="*/ 645080 h 5434893"/>
              <a:gd name="connsiteX135" fmla="*/ 4366063 w 12208633"/>
              <a:gd name="connsiteY135" fmla="*/ 554259 h 5434893"/>
              <a:gd name="connsiteX136" fmla="*/ 4430568 w 12208633"/>
              <a:gd name="connsiteY136" fmla="*/ 475115 h 5434893"/>
              <a:gd name="connsiteX137" fmla="*/ 4440404 w 12208633"/>
              <a:gd name="connsiteY137" fmla="*/ 474123 h 5434893"/>
              <a:gd name="connsiteX138" fmla="*/ 4440404 w 12208633"/>
              <a:gd name="connsiteY138" fmla="*/ 410313 h 5434893"/>
              <a:gd name="connsiteX139" fmla="*/ 2495196 w 12208633"/>
              <a:gd name="connsiteY139" fmla="*/ 386617 h 5434893"/>
              <a:gd name="connsiteX140" fmla="*/ 2481179 w 12208633"/>
              <a:gd name="connsiteY140" fmla="*/ 401154 h 5434893"/>
              <a:gd name="connsiteX141" fmla="*/ 2481179 w 12208633"/>
              <a:gd name="connsiteY141" fmla="*/ 472798 h 5434893"/>
              <a:gd name="connsiteX142" fmla="*/ 2480660 w 12208633"/>
              <a:gd name="connsiteY142" fmla="*/ 472798 h 5434893"/>
              <a:gd name="connsiteX143" fmla="*/ 2480660 w 12208633"/>
              <a:gd name="connsiteY143" fmla="*/ 543404 h 5434893"/>
              <a:gd name="connsiteX144" fmla="*/ 2459374 w 12208633"/>
              <a:gd name="connsiteY144" fmla="*/ 565209 h 5434893"/>
              <a:gd name="connsiteX145" fmla="*/ 2443280 w 12208633"/>
              <a:gd name="connsiteY145" fmla="*/ 592724 h 5434893"/>
              <a:gd name="connsiteX146" fmla="*/ 2461970 w 12208633"/>
              <a:gd name="connsiteY146" fmla="*/ 603627 h 5434893"/>
              <a:gd name="connsiteX147" fmla="*/ 2466123 w 12208633"/>
              <a:gd name="connsiteY147" fmla="*/ 603108 h 5434893"/>
              <a:gd name="connsiteX148" fmla="*/ 2490005 w 12208633"/>
              <a:gd name="connsiteY148" fmla="*/ 577150 h 5434893"/>
              <a:gd name="connsiteX149" fmla="*/ 2489485 w 12208633"/>
              <a:gd name="connsiteY149" fmla="*/ 527829 h 5434893"/>
              <a:gd name="connsiteX150" fmla="*/ 2498830 w 12208633"/>
              <a:gd name="connsiteY150" fmla="*/ 516927 h 5434893"/>
              <a:gd name="connsiteX151" fmla="*/ 2505579 w 12208633"/>
              <a:gd name="connsiteY151" fmla="*/ 516408 h 5434893"/>
              <a:gd name="connsiteX152" fmla="*/ 2530499 w 12208633"/>
              <a:gd name="connsiteY152" fmla="*/ 489411 h 5434893"/>
              <a:gd name="connsiteX153" fmla="*/ 2570994 w 12208633"/>
              <a:gd name="connsiteY153" fmla="*/ 420363 h 5434893"/>
              <a:gd name="connsiteX154" fmla="*/ 2577743 w 12208633"/>
              <a:gd name="connsiteY154" fmla="*/ 393366 h 5434893"/>
              <a:gd name="connsiteX155" fmla="*/ 2564244 w 12208633"/>
              <a:gd name="connsiteY155" fmla="*/ 386617 h 5434893"/>
              <a:gd name="connsiteX156" fmla="*/ 2495196 w 12208633"/>
              <a:gd name="connsiteY156" fmla="*/ 386617 h 5434893"/>
              <a:gd name="connsiteX157" fmla="*/ 9258835 w 12208633"/>
              <a:gd name="connsiteY157" fmla="*/ 0 h 5434893"/>
              <a:gd name="connsiteX158" fmla="*/ 9334633 w 12208633"/>
              <a:gd name="connsiteY158" fmla="*/ 0 h 5434893"/>
              <a:gd name="connsiteX159" fmla="*/ 9369417 w 12208633"/>
              <a:gd name="connsiteY159" fmla="*/ 714886 h 5434893"/>
              <a:gd name="connsiteX160" fmla="*/ 9451963 w 12208633"/>
              <a:gd name="connsiteY160" fmla="*/ 716443 h 5434893"/>
              <a:gd name="connsiteX161" fmla="*/ 9451511 w 12208633"/>
              <a:gd name="connsiteY161" fmla="*/ 839288 h 5434893"/>
              <a:gd name="connsiteX162" fmla="*/ 9695008 w 12208633"/>
              <a:gd name="connsiteY162" fmla="*/ 839288 h 5434893"/>
              <a:gd name="connsiteX163" fmla="*/ 9695008 w 12208633"/>
              <a:gd name="connsiteY163" fmla="*/ 627345 h 5434893"/>
              <a:gd name="connsiteX164" fmla="*/ 9695008 w 12208633"/>
              <a:gd name="connsiteY164" fmla="*/ 627342 h 5434893"/>
              <a:gd name="connsiteX165" fmla="*/ 9695008 w 12208633"/>
              <a:gd name="connsiteY165" fmla="*/ 620838 h 5434893"/>
              <a:gd name="connsiteX166" fmla="*/ 9695582 w 12208633"/>
              <a:gd name="connsiteY166" fmla="*/ 620838 h 5434893"/>
              <a:gd name="connsiteX167" fmla="*/ 9696270 w 12208633"/>
              <a:gd name="connsiteY167" fmla="*/ 613044 h 5434893"/>
              <a:gd name="connsiteX168" fmla="*/ 9759513 w 12208633"/>
              <a:gd name="connsiteY168" fmla="*/ 548201 h 5434893"/>
              <a:gd name="connsiteX169" fmla="*/ 9761172 w 12208633"/>
              <a:gd name="connsiteY169" fmla="*/ 548033 h 5434893"/>
              <a:gd name="connsiteX170" fmla="*/ 9761172 w 12208633"/>
              <a:gd name="connsiteY170" fmla="*/ 452927 h 5434893"/>
              <a:gd name="connsiteX171" fmla="*/ 9781381 w 12208633"/>
              <a:gd name="connsiteY171" fmla="*/ 452927 h 5434893"/>
              <a:gd name="connsiteX172" fmla="*/ 9781381 w 12208633"/>
              <a:gd name="connsiteY172" fmla="*/ 453137 h 5434893"/>
              <a:gd name="connsiteX173" fmla="*/ 10098404 w 12208633"/>
              <a:gd name="connsiteY173" fmla="*/ 453137 h 5434893"/>
              <a:gd name="connsiteX174" fmla="*/ 10098404 w 12208633"/>
              <a:gd name="connsiteY174" fmla="*/ 395857 h 5434893"/>
              <a:gd name="connsiteX175" fmla="*/ 10098404 w 12208633"/>
              <a:gd name="connsiteY175" fmla="*/ 395855 h 5434893"/>
              <a:gd name="connsiteX176" fmla="*/ 10098404 w 12208633"/>
              <a:gd name="connsiteY176" fmla="*/ 322646 h 5434893"/>
              <a:gd name="connsiteX177" fmla="*/ 10147724 w 12208633"/>
              <a:gd name="connsiteY177" fmla="*/ 322646 h 5434893"/>
              <a:gd name="connsiteX178" fmla="*/ 10192315 w 12208633"/>
              <a:gd name="connsiteY178" fmla="*/ 322646 h 5434893"/>
              <a:gd name="connsiteX179" fmla="*/ 10192315 w 12208633"/>
              <a:gd name="connsiteY179" fmla="*/ 412796 h 5434893"/>
              <a:gd name="connsiteX180" fmla="*/ 10192315 w 12208633"/>
              <a:gd name="connsiteY180" fmla="*/ 839288 h 5434893"/>
              <a:gd name="connsiteX181" fmla="*/ 10237382 w 12208633"/>
              <a:gd name="connsiteY181" fmla="*/ 839288 h 5434893"/>
              <a:gd name="connsiteX182" fmla="*/ 10237382 w 12208633"/>
              <a:gd name="connsiteY182" fmla="*/ 787976 h 5434893"/>
              <a:gd name="connsiteX183" fmla="*/ 10237382 w 12208633"/>
              <a:gd name="connsiteY183" fmla="*/ 787525 h 5434893"/>
              <a:gd name="connsiteX184" fmla="*/ 10237382 w 12208633"/>
              <a:gd name="connsiteY184" fmla="*/ 786823 h 5434893"/>
              <a:gd name="connsiteX185" fmla="*/ 10293811 w 12208633"/>
              <a:gd name="connsiteY185" fmla="*/ 786823 h 5434893"/>
              <a:gd name="connsiteX186" fmla="*/ 10293811 w 12208633"/>
              <a:gd name="connsiteY186" fmla="*/ 486617 h 5434893"/>
              <a:gd name="connsiteX187" fmla="*/ 10293811 w 12208633"/>
              <a:gd name="connsiteY187" fmla="*/ 486615 h 5434893"/>
              <a:gd name="connsiteX188" fmla="*/ 10293811 w 12208633"/>
              <a:gd name="connsiteY188" fmla="*/ 412796 h 5434893"/>
              <a:gd name="connsiteX189" fmla="*/ 10293812 w 12208633"/>
              <a:gd name="connsiteY189" fmla="*/ 412796 h 5434893"/>
              <a:gd name="connsiteX190" fmla="*/ 10364543 w 12208633"/>
              <a:gd name="connsiteY190" fmla="*/ 412796 h 5434893"/>
              <a:gd name="connsiteX191" fmla="*/ 10435273 w 12208633"/>
              <a:gd name="connsiteY191" fmla="*/ 412796 h 5434893"/>
              <a:gd name="connsiteX192" fmla="*/ 10435273 w 12208633"/>
              <a:gd name="connsiteY192" fmla="*/ 493478 h 5434893"/>
              <a:gd name="connsiteX193" fmla="*/ 10435272 w 12208633"/>
              <a:gd name="connsiteY193" fmla="*/ 493478 h 5434893"/>
              <a:gd name="connsiteX194" fmla="*/ 10435272 w 12208633"/>
              <a:gd name="connsiteY194" fmla="*/ 787653 h 5434893"/>
              <a:gd name="connsiteX195" fmla="*/ 10479889 w 12208633"/>
              <a:gd name="connsiteY195" fmla="*/ 787653 h 5434893"/>
              <a:gd name="connsiteX196" fmla="*/ 10479889 w 12208633"/>
              <a:gd name="connsiteY196" fmla="*/ 834346 h 5434893"/>
              <a:gd name="connsiteX197" fmla="*/ 10479889 w 12208633"/>
              <a:gd name="connsiteY197" fmla="*/ 883894 h 5434893"/>
              <a:gd name="connsiteX198" fmla="*/ 10634153 w 12208633"/>
              <a:gd name="connsiteY198" fmla="*/ 798062 h 5434893"/>
              <a:gd name="connsiteX199" fmla="*/ 10634153 w 12208633"/>
              <a:gd name="connsiteY199" fmla="*/ 890261 h 5434893"/>
              <a:gd name="connsiteX200" fmla="*/ 10799859 w 12208633"/>
              <a:gd name="connsiteY200" fmla="*/ 798062 h 5434893"/>
              <a:gd name="connsiteX201" fmla="*/ 10799859 w 12208633"/>
              <a:gd name="connsiteY201" fmla="*/ 890261 h 5434893"/>
              <a:gd name="connsiteX202" fmla="*/ 10965565 w 12208633"/>
              <a:gd name="connsiteY202" fmla="*/ 798062 h 5434893"/>
              <a:gd name="connsiteX203" fmla="*/ 10965565 w 12208633"/>
              <a:gd name="connsiteY203" fmla="*/ 890261 h 5434893"/>
              <a:gd name="connsiteX204" fmla="*/ 11131272 w 12208633"/>
              <a:gd name="connsiteY204" fmla="*/ 798062 h 5434893"/>
              <a:gd name="connsiteX205" fmla="*/ 11131272 w 12208633"/>
              <a:gd name="connsiteY205" fmla="*/ 894809 h 5434893"/>
              <a:gd name="connsiteX206" fmla="*/ 10965565 w 12208633"/>
              <a:gd name="connsiteY206" fmla="*/ 894809 h 5434893"/>
              <a:gd name="connsiteX207" fmla="*/ 10957391 w 12208633"/>
              <a:gd name="connsiteY207" fmla="*/ 894809 h 5434893"/>
              <a:gd name="connsiteX208" fmla="*/ 10799859 w 12208633"/>
              <a:gd name="connsiteY208" fmla="*/ 894809 h 5434893"/>
              <a:gd name="connsiteX209" fmla="*/ 10791685 w 12208633"/>
              <a:gd name="connsiteY209" fmla="*/ 894809 h 5434893"/>
              <a:gd name="connsiteX210" fmla="*/ 10634153 w 12208633"/>
              <a:gd name="connsiteY210" fmla="*/ 894809 h 5434893"/>
              <a:gd name="connsiteX211" fmla="*/ 10625978 w 12208633"/>
              <a:gd name="connsiteY211" fmla="*/ 894809 h 5434893"/>
              <a:gd name="connsiteX212" fmla="*/ 10479889 w 12208633"/>
              <a:gd name="connsiteY212" fmla="*/ 894809 h 5434893"/>
              <a:gd name="connsiteX213" fmla="*/ 10479889 w 12208633"/>
              <a:gd name="connsiteY213" fmla="*/ 894815 h 5434893"/>
              <a:gd name="connsiteX214" fmla="*/ 11131272 w 12208633"/>
              <a:gd name="connsiteY214" fmla="*/ 894815 h 5434893"/>
              <a:gd name="connsiteX215" fmla="*/ 11131272 w 12208633"/>
              <a:gd name="connsiteY215" fmla="*/ 930426 h 5434893"/>
              <a:gd name="connsiteX216" fmla="*/ 11131272 w 12208633"/>
              <a:gd name="connsiteY216" fmla="*/ 1058032 h 5434893"/>
              <a:gd name="connsiteX217" fmla="*/ 11135416 w 12208633"/>
              <a:gd name="connsiteY217" fmla="*/ 1058032 h 5434893"/>
              <a:gd name="connsiteX218" fmla="*/ 11135416 w 12208633"/>
              <a:gd name="connsiteY218" fmla="*/ 475513 h 5434893"/>
              <a:gd name="connsiteX219" fmla="*/ 11317073 w 12208633"/>
              <a:gd name="connsiteY219" fmla="*/ 475513 h 5434893"/>
              <a:gd name="connsiteX220" fmla="*/ 11317073 w 12208633"/>
              <a:gd name="connsiteY220" fmla="*/ 957415 h 5434893"/>
              <a:gd name="connsiteX221" fmla="*/ 11385524 w 12208633"/>
              <a:gd name="connsiteY221" fmla="*/ 864742 h 5434893"/>
              <a:gd name="connsiteX222" fmla="*/ 11467139 w 12208633"/>
              <a:gd name="connsiteY222" fmla="*/ 970654 h 5434893"/>
              <a:gd name="connsiteX223" fmla="*/ 11540855 w 12208633"/>
              <a:gd name="connsiteY223" fmla="*/ 864742 h 5434893"/>
              <a:gd name="connsiteX224" fmla="*/ 11622470 w 12208633"/>
              <a:gd name="connsiteY224" fmla="*/ 970654 h 5434893"/>
              <a:gd name="connsiteX225" fmla="*/ 11696186 w 12208633"/>
              <a:gd name="connsiteY225" fmla="*/ 864742 h 5434893"/>
              <a:gd name="connsiteX226" fmla="*/ 11777800 w 12208633"/>
              <a:gd name="connsiteY226" fmla="*/ 970654 h 5434893"/>
              <a:gd name="connsiteX227" fmla="*/ 11777800 w 12208633"/>
              <a:gd name="connsiteY227" fmla="*/ 994485 h 5434893"/>
              <a:gd name="connsiteX228" fmla="*/ 11851517 w 12208633"/>
              <a:gd name="connsiteY228" fmla="*/ 994485 h 5434893"/>
              <a:gd name="connsiteX229" fmla="*/ 11851517 w 12208633"/>
              <a:gd name="connsiteY229" fmla="*/ 920346 h 5434893"/>
              <a:gd name="connsiteX230" fmla="*/ 11759371 w 12208633"/>
              <a:gd name="connsiteY230" fmla="*/ 806490 h 5434893"/>
              <a:gd name="connsiteX231" fmla="*/ 11851517 w 12208633"/>
              <a:gd name="connsiteY231" fmla="*/ 692634 h 5434893"/>
              <a:gd name="connsiteX232" fmla="*/ 11851517 w 12208633"/>
              <a:gd name="connsiteY232" fmla="*/ 562891 h 5434893"/>
              <a:gd name="connsiteX233" fmla="*/ 11898906 w 12208633"/>
              <a:gd name="connsiteY233" fmla="*/ 562891 h 5434893"/>
              <a:gd name="connsiteX234" fmla="*/ 11898906 w 12208633"/>
              <a:gd name="connsiteY234" fmla="*/ 692634 h 5434893"/>
              <a:gd name="connsiteX235" fmla="*/ 11991051 w 12208633"/>
              <a:gd name="connsiteY235" fmla="*/ 806490 h 5434893"/>
              <a:gd name="connsiteX236" fmla="*/ 11898906 w 12208633"/>
              <a:gd name="connsiteY236" fmla="*/ 920346 h 5434893"/>
              <a:gd name="connsiteX237" fmla="*/ 11898906 w 12208633"/>
              <a:gd name="connsiteY237" fmla="*/ 994485 h 5434893"/>
              <a:gd name="connsiteX238" fmla="*/ 11962091 w 12208633"/>
              <a:gd name="connsiteY238" fmla="*/ 994485 h 5434893"/>
              <a:gd name="connsiteX239" fmla="*/ 11962091 w 12208633"/>
              <a:gd name="connsiteY239" fmla="*/ 917698 h 5434893"/>
              <a:gd name="connsiteX240" fmla="*/ 12041073 w 12208633"/>
              <a:gd name="connsiteY240" fmla="*/ 917698 h 5434893"/>
              <a:gd name="connsiteX241" fmla="*/ 12041073 w 12208633"/>
              <a:gd name="connsiteY241" fmla="*/ 817081 h 5434893"/>
              <a:gd name="connsiteX242" fmla="*/ 12155715 w 12208633"/>
              <a:gd name="connsiteY242" fmla="*/ 817081 h 5434893"/>
              <a:gd name="connsiteX243" fmla="*/ 12200316 w 12208633"/>
              <a:gd name="connsiteY243" fmla="*/ 817081 h 5434893"/>
              <a:gd name="connsiteX244" fmla="*/ 12200316 w 12208633"/>
              <a:gd name="connsiteY244" fmla="*/ 1105184 h 5434893"/>
              <a:gd name="connsiteX245" fmla="*/ 12208559 w 12208633"/>
              <a:gd name="connsiteY245" fmla="*/ 1105184 h 5434893"/>
              <a:gd name="connsiteX246" fmla="*/ 12208559 w 12208633"/>
              <a:gd name="connsiteY246" fmla="*/ 1153840 h 5434893"/>
              <a:gd name="connsiteX247" fmla="*/ 12208559 w 12208633"/>
              <a:gd name="connsiteY247" fmla="*/ 1225322 h 5434893"/>
              <a:gd name="connsiteX248" fmla="*/ 12208633 w 12208633"/>
              <a:gd name="connsiteY248" fmla="*/ 1225322 h 5434893"/>
              <a:gd name="connsiteX249" fmla="*/ 12208633 w 12208633"/>
              <a:gd name="connsiteY249" fmla="*/ 1247932 h 5434893"/>
              <a:gd name="connsiteX250" fmla="*/ 12200316 w 12208633"/>
              <a:gd name="connsiteY250" fmla="*/ 1247932 h 5434893"/>
              <a:gd name="connsiteX251" fmla="*/ 12200316 w 12208633"/>
              <a:gd name="connsiteY251" fmla="*/ 5434893 h 5434893"/>
              <a:gd name="connsiteX252" fmla="*/ 8318 w 12208633"/>
              <a:gd name="connsiteY252" fmla="*/ 5434893 h 5434893"/>
              <a:gd name="connsiteX253" fmla="*/ 8318 w 12208633"/>
              <a:gd name="connsiteY253" fmla="*/ 1247932 h 5434893"/>
              <a:gd name="connsiteX254" fmla="*/ 0 w 12208633"/>
              <a:gd name="connsiteY254" fmla="*/ 1247932 h 5434893"/>
              <a:gd name="connsiteX255" fmla="*/ 0 w 12208633"/>
              <a:gd name="connsiteY255" fmla="*/ 1225322 h 5434893"/>
              <a:gd name="connsiteX256" fmla="*/ 0 w 12208633"/>
              <a:gd name="connsiteY256" fmla="*/ 1063433 h 5434893"/>
              <a:gd name="connsiteX257" fmla="*/ 56578 w 12208633"/>
              <a:gd name="connsiteY257" fmla="*/ 1063433 h 5434893"/>
              <a:gd name="connsiteX258" fmla="*/ 146955 w 12208633"/>
              <a:gd name="connsiteY258" fmla="*/ 1063433 h 5434893"/>
              <a:gd name="connsiteX259" fmla="*/ 146955 w 12208633"/>
              <a:gd name="connsiteY259" fmla="*/ 480915 h 5434893"/>
              <a:gd name="connsiteX260" fmla="*/ 328613 w 12208633"/>
              <a:gd name="connsiteY260" fmla="*/ 480915 h 5434893"/>
              <a:gd name="connsiteX261" fmla="*/ 328613 w 12208633"/>
              <a:gd name="connsiteY261" fmla="*/ 962816 h 5434893"/>
              <a:gd name="connsiteX262" fmla="*/ 397064 w 12208633"/>
              <a:gd name="connsiteY262" fmla="*/ 870143 h 5434893"/>
              <a:gd name="connsiteX263" fmla="*/ 478678 w 12208633"/>
              <a:gd name="connsiteY263" fmla="*/ 976055 h 5434893"/>
              <a:gd name="connsiteX264" fmla="*/ 552394 w 12208633"/>
              <a:gd name="connsiteY264" fmla="*/ 870143 h 5434893"/>
              <a:gd name="connsiteX265" fmla="*/ 634009 w 12208633"/>
              <a:gd name="connsiteY265" fmla="*/ 976055 h 5434893"/>
              <a:gd name="connsiteX266" fmla="*/ 707725 w 12208633"/>
              <a:gd name="connsiteY266" fmla="*/ 870143 h 5434893"/>
              <a:gd name="connsiteX267" fmla="*/ 789340 w 12208633"/>
              <a:gd name="connsiteY267" fmla="*/ 976055 h 5434893"/>
              <a:gd name="connsiteX268" fmla="*/ 789340 w 12208633"/>
              <a:gd name="connsiteY268" fmla="*/ 999886 h 5434893"/>
              <a:gd name="connsiteX269" fmla="*/ 863056 w 12208633"/>
              <a:gd name="connsiteY269" fmla="*/ 999886 h 5434893"/>
              <a:gd name="connsiteX270" fmla="*/ 863056 w 12208633"/>
              <a:gd name="connsiteY270" fmla="*/ 925747 h 5434893"/>
              <a:gd name="connsiteX271" fmla="*/ 770911 w 12208633"/>
              <a:gd name="connsiteY271" fmla="*/ 811891 h 5434893"/>
              <a:gd name="connsiteX272" fmla="*/ 863056 w 12208633"/>
              <a:gd name="connsiteY272" fmla="*/ 698035 h 5434893"/>
              <a:gd name="connsiteX273" fmla="*/ 863056 w 12208633"/>
              <a:gd name="connsiteY273" fmla="*/ 568293 h 5434893"/>
              <a:gd name="connsiteX274" fmla="*/ 910445 w 12208633"/>
              <a:gd name="connsiteY274" fmla="*/ 568293 h 5434893"/>
              <a:gd name="connsiteX275" fmla="*/ 910445 w 12208633"/>
              <a:gd name="connsiteY275" fmla="*/ 698035 h 5434893"/>
              <a:gd name="connsiteX276" fmla="*/ 1002590 w 12208633"/>
              <a:gd name="connsiteY276" fmla="*/ 811891 h 5434893"/>
              <a:gd name="connsiteX277" fmla="*/ 910445 w 12208633"/>
              <a:gd name="connsiteY277" fmla="*/ 925747 h 5434893"/>
              <a:gd name="connsiteX278" fmla="*/ 910445 w 12208633"/>
              <a:gd name="connsiteY278" fmla="*/ 999886 h 5434893"/>
              <a:gd name="connsiteX279" fmla="*/ 973630 w 12208633"/>
              <a:gd name="connsiteY279" fmla="*/ 999886 h 5434893"/>
              <a:gd name="connsiteX280" fmla="*/ 973630 w 12208633"/>
              <a:gd name="connsiteY280" fmla="*/ 923099 h 5434893"/>
              <a:gd name="connsiteX281" fmla="*/ 1052612 w 12208633"/>
              <a:gd name="connsiteY281" fmla="*/ 923099 h 5434893"/>
              <a:gd name="connsiteX282" fmla="*/ 1052612 w 12208633"/>
              <a:gd name="connsiteY282" fmla="*/ 822482 h 5434893"/>
              <a:gd name="connsiteX283" fmla="*/ 1223739 w 12208633"/>
              <a:gd name="connsiteY283" fmla="*/ 822482 h 5434893"/>
              <a:gd name="connsiteX284" fmla="*/ 1223739 w 12208633"/>
              <a:gd name="connsiteY284" fmla="*/ 533871 h 5434893"/>
              <a:gd name="connsiteX285" fmla="*/ 1452786 w 12208633"/>
              <a:gd name="connsiteY285" fmla="*/ 533871 h 5434893"/>
              <a:gd name="connsiteX286" fmla="*/ 1452786 w 12208633"/>
              <a:gd name="connsiteY286" fmla="*/ 827778 h 5434893"/>
              <a:gd name="connsiteX287" fmla="*/ 1687099 w 12208633"/>
              <a:gd name="connsiteY287" fmla="*/ 827778 h 5434893"/>
              <a:gd name="connsiteX288" fmla="*/ 1687099 w 12208633"/>
              <a:gd name="connsiteY288" fmla="*/ 645080 h 5434893"/>
              <a:gd name="connsiteX289" fmla="*/ 1795945 w 12208633"/>
              <a:gd name="connsiteY289" fmla="*/ 645080 h 5434893"/>
              <a:gd name="connsiteX290" fmla="*/ 1814336 w 12208633"/>
              <a:gd name="connsiteY290" fmla="*/ 645080 h 5434893"/>
              <a:gd name="connsiteX291" fmla="*/ 1814055 w 12208633"/>
              <a:gd name="connsiteY291" fmla="*/ 568843 h 5434893"/>
              <a:gd name="connsiteX292" fmla="*/ 1896602 w 12208633"/>
              <a:gd name="connsiteY292" fmla="*/ 567286 h 5434893"/>
              <a:gd name="connsiteX293" fmla="*/ 1917630 w 12208633"/>
              <a:gd name="connsiteY293" fmla="*/ 135119 h 5434893"/>
              <a:gd name="connsiteX294" fmla="*/ 2020520 w 12208633"/>
              <a:gd name="connsiteY294" fmla="*/ 135119 h 5434893"/>
              <a:gd name="connsiteX295" fmla="*/ 2040929 w 12208633"/>
              <a:gd name="connsiteY295" fmla="*/ 567805 h 5434893"/>
              <a:gd name="connsiteX296" fmla="*/ 2085058 w 12208633"/>
              <a:gd name="connsiteY296" fmla="*/ 569362 h 5434893"/>
              <a:gd name="connsiteX297" fmla="*/ 2104692 w 12208633"/>
              <a:gd name="connsiteY297" fmla="*/ 247596 h 5434893"/>
              <a:gd name="connsiteX298" fmla="*/ 2211603 w 12208633"/>
              <a:gd name="connsiteY298" fmla="*/ 247596 h 5434893"/>
              <a:gd name="connsiteX299" fmla="*/ 2230423 w 12208633"/>
              <a:gd name="connsiteY299" fmla="*/ 571958 h 5434893"/>
              <a:gd name="connsiteX300" fmla="*/ 2293761 w 12208633"/>
              <a:gd name="connsiteY300" fmla="*/ 575073 h 5434893"/>
              <a:gd name="connsiteX301" fmla="*/ 2293761 w 12208633"/>
              <a:gd name="connsiteY301" fmla="*/ 481105 h 5434893"/>
              <a:gd name="connsiteX302" fmla="*/ 2325430 w 12208633"/>
              <a:gd name="connsiteY302" fmla="*/ 425035 h 5434893"/>
              <a:gd name="connsiteX303" fmla="*/ 2333736 w 12208633"/>
              <a:gd name="connsiteY303" fmla="*/ 417248 h 5434893"/>
              <a:gd name="connsiteX304" fmla="*/ 2370078 w 12208633"/>
              <a:gd name="connsiteY304" fmla="*/ 413614 h 5434893"/>
              <a:gd name="connsiteX305" fmla="*/ 2388249 w 12208633"/>
              <a:gd name="connsiteY305" fmla="*/ 430227 h 5434893"/>
              <a:gd name="connsiteX306" fmla="*/ 2411611 w 12208633"/>
              <a:gd name="connsiteY306" fmla="*/ 474355 h 5434893"/>
              <a:gd name="connsiteX307" fmla="*/ 2428224 w 12208633"/>
              <a:gd name="connsiteY307" fmla="*/ 489411 h 5434893"/>
              <a:gd name="connsiteX308" fmla="*/ 2443799 w 12208633"/>
              <a:gd name="connsiteY308" fmla="*/ 504986 h 5434893"/>
              <a:gd name="connsiteX309" fmla="*/ 2443799 w 12208633"/>
              <a:gd name="connsiteY309" fmla="*/ 530425 h 5434893"/>
              <a:gd name="connsiteX310" fmla="*/ 2448472 w 12208633"/>
              <a:gd name="connsiteY310" fmla="*/ 538732 h 5434893"/>
              <a:gd name="connsiteX311" fmla="*/ 2454182 w 12208633"/>
              <a:gd name="connsiteY311" fmla="*/ 529906 h 5434893"/>
              <a:gd name="connsiteX312" fmla="*/ 2455740 w 12208633"/>
              <a:gd name="connsiteY312" fmla="*/ 488892 h 5434893"/>
              <a:gd name="connsiteX313" fmla="*/ 2455740 w 12208633"/>
              <a:gd name="connsiteY313" fmla="*/ 379868 h 5434893"/>
              <a:gd name="connsiteX314" fmla="*/ 2471834 w 12208633"/>
              <a:gd name="connsiteY314" fmla="*/ 361697 h 5434893"/>
              <a:gd name="connsiteX315" fmla="*/ 2590203 w 12208633"/>
              <a:gd name="connsiteY315" fmla="*/ 361697 h 5434893"/>
              <a:gd name="connsiteX316" fmla="*/ 2604220 w 12208633"/>
              <a:gd name="connsiteY316" fmla="*/ 376753 h 5434893"/>
              <a:gd name="connsiteX317" fmla="*/ 2603701 w 12208633"/>
              <a:gd name="connsiteY317" fmla="*/ 404788 h 5434893"/>
              <a:gd name="connsiteX318" fmla="*/ 2616161 w 12208633"/>
              <a:gd name="connsiteY318" fmla="*/ 425035 h 5434893"/>
              <a:gd name="connsiteX319" fmla="*/ 2648868 w 12208633"/>
              <a:gd name="connsiteY319" fmla="*/ 476951 h 5434893"/>
              <a:gd name="connsiteX320" fmla="*/ 2648868 w 12208633"/>
              <a:gd name="connsiteY320" fmla="*/ 527310 h 5434893"/>
              <a:gd name="connsiteX321" fmla="*/ 2651010 w 12208633"/>
              <a:gd name="connsiteY321" fmla="*/ 551386 h 5434893"/>
              <a:gd name="connsiteX322" fmla="*/ 2661207 w 12208633"/>
              <a:gd name="connsiteY322" fmla="*/ 552175 h 5434893"/>
              <a:gd name="connsiteX323" fmla="*/ 2661207 w 12208633"/>
              <a:gd name="connsiteY323" fmla="*/ 497877 h 5434893"/>
              <a:gd name="connsiteX324" fmla="*/ 2661207 w 12208633"/>
              <a:gd name="connsiteY324" fmla="*/ 274385 h 5434893"/>
              <a:gd name="connsiteX325" fmla="*/ 2916581 w 12208633"/>
              <a:gd name="connsiteY325" fmla="*/ 274385 h 5434893"/>
              <a:gd name="connsiteX326" fmla="*/ 2916581 w 12208633"/>
              <a:gd name="connsiteY326" fmla="*/ 623897 h 5434893"/>
              <a:gd name="connsiteX327" fmla="*/ 3103505 w 12208633"/>
              <a:gd name="connsiteY327" fmla="*/ 623897 h 5434893"/>
              <a:gd name="connsiteX328" fmla="*/ 3103505 w 12208633"/>
              <a:gd name="connsiteY328" fmla="*/ 938986 h 5434893"/>
              <a:gd name="connsiteX329" fmla="*/ 3253570 w 12208633"/>
              <a:gd name="connsiteY329" fmla="*/ 938986 h 5434893"/>
              <a:gd name="connsiteX330" fmla="*/ 3253570 w 12208633"/>
              <a:gd name="connsiteY330" fmla="*/ 833074 h 5434893"/>
              <a:gd name="connsiteX331" fmla="*/ 3458923 w 12208633"/>
              <a:gd name="connsiteY331" fmla="*/ 833074 h 5434893"/>
              <a:gd name="connsiteX332" fmla="*/ 3458923 w 12208633"/>
              <a:gd name="connsiteY332" fmla="*/ 449141 h 5434893"/>
              <a:gd name="connsiteX333" fmla="*/ 3619519 w 12208633"/>
              <a:gd name="connsiteY333" fmla="*/ 449141 h 5434893"/>
              <a:gd name="connsiteX334" fmla="*/ 3619519 w 12208633"/>
              <a:gd name="connsiteY334" fmla="*/ 822482 h 5434893"/>
              <a:gd name="connsiteX335" fmla="*/ 3716929 w 12208633"/>
              <a:gd name="connsiteY335" fmla="*/ 822482 h 5434893"/>
              <a:gd name="connsiteX336" fmla="*/ 3716929 w 12208633"/>
              <a:gd name="connsiteY336" fmla="*/ 533871 h 5434893"/>
              <a:gd name="connsiteX337" fmla="*/ 3948609 w 12208633"/>
              <a:gd name="connsiteY337" fmla="*/ 533871 h 5434893"/>
              <a:gd name="connsiteX338" fmla="*/ 3948609 w 12208633"/>
              <a:gd name="connsiteY338" fmla="*/ 827778 h 5434893"/>
              <a:gd name="connsiteX339" fmla="*/ 3952270 w 12208633"/>
              <a:gd name="connsiteY339" fmla="*/ 827778 h 5434893"/>
              <a:gd name="connsiteX340" fmla="*/ 3956368 w 12208633"/>
              <a:gd name="connsiteY340" fmla="*/ 827778 h 5434893"/>
              <a:gd name="connsiteX341" fmla="*/ 3956368 w 12208633"/>
              <a:gd name="connsiteY341" fmla="*/ 761209 h 5434893"/>
              <a:gd name="connsiteX342" fmla="*/ 3956368 w 12208633"/>
              <a:gd name="connsiteY342" fmla="*/ 714516 h 5434893"/>
              <a:gd name="connsiteX343" fmla="*/ 4000985 w 12208633"/>
              <a:gd name="connsiteY343" fmla="*/ 714516 h 5434893"/>
              <a:gd name="connsiteX344" fmla="*/ 4000985 w 12208633"/>
              <a:gd name="connsiteY344" fmla="*/ 420341 h 5434893"/>
              <a:gd name="connsiteX345" fmla="*/ 4000984 w 12208633"/>
              <a:gd name="connsiteY345" fmla="*/ 420341 h 5434893"/>
              <a:gd name="connsiteX346" fmla="*/ 4000984 w 12208633"/>
              <a:gd name="connsiteY346" fmla="*/ 339659 h 5434893"/>
              <a:gd name="connsiteX347" fmla="*/ 4071715 w 12208633"/>
              <a:gd name="connsiteY347" fmla="*/ 339659 h 5434893"/>
              <a:gd name="connsiteX348" fmla="*/ 4142446 w 12208633"/>
              <a:gd name="connsiteY348" fmla="*/ 339659 h 5434893"/>
              <a:gd name="connsiteX349" fmla="*/ 4142446 w 12208633"/>
              <a:gd name="connsiteY349" fmla="*/ 413478 h 5434893"/>
              <a:gd name="connsiteX350" fmla="*/ 4142446 w 12208633"/>
              <a:gd name="connsiteY350" fmla="*/ 413480 h 5434893"/>
              <a:gd name="connsiteX351" fmla="*/ 4142446 w 12208633"/>
              <a:gd name="connsiteY351" fmla="*/ 713686 h 5434893"/>
              <a:gd name="connsiteX352" fmla="*/ 4182921 w 12208633"/>
              <a:gd name="connsiteY352" fmla="*/ 713686 h 5434893"/>
              <a:gd name="connsiteX353" fmla="*/ 4182921 w 12208633"/>
              <a:gd name="connsiteY353" fmla="*/ 705384 h 5434893"/>
              <a:gd name="connsiteX354" fmla="*/ 4182921 w 12208633"/>
              <a:gd name="connsiteY354" fmla="*/ 645080 h 5434893"/>
              <a:gd name="connsiteX355" fmla="*/ 4214842 w 12208633"/>
              <a:gd name="connsiteY355" fmla="*/ 645080 h 5434893"/>
              <a:gd name="connsiteX356" fmla="*/ 4243942 w 12208633"/>
              <a:gd name="connsiteY356" fmla="*/ 645080 h 5434893"/>
              <a:gd name="connsiteX357" fmla="*/ 4243942 w 12208633"/>
              <a:gd name="connsiteY357" fmla="*/ 339659 h 5434893"/>
              <a:gd name="connsiteX358" fmla="*/ 4243942 w 12208633"/>
              <a:gd name="connsiteY358" fmla="*/ 249509 h 5434893"/>
              <a:gd name="connsiteX359" fmla="*/ 4288534 w 12208633"/>
              <a:gd name="connsiteY359" fmla="*/ 249509 h 5434893"/>
              <a:gd name="connsiteX360" fmla="*/ 4337854 w 12208633"/>
              <a:gd name="connsiteY360" fmla="*/ 249509 h 5434893"/>
              <a:gd name="connsiteX361" fmla="*/ 4337854 w 12208633"/>
              <a:gd name="connsiteY361" fmla="*/ 322718 h 5434893"/>
              <a:gd name="connsiteX362" fmla="*/ 4337854 w 12208633"/>
              <a:gd name="connsiteY362" fmla="*/ 322720 h 5434893"/>
              <a:gd name="connsiteX363" fmla="*/ 4337854 w 12208633"/>
              <a:gd name="connsiteY363" fmla="*/ 380000 h 5434893"/>
              <a:gd name="connsiteX364" fmla="*/ 4654875 w 12208633"/>
              <a:gd name="connsiteY364" fmla="*/ 380000 h 5434893"/>
              <a:gd name="connsiteX365" fmla="*/ 4654875 w 12208633"/>
              <a:gd name="connsiteY365" fmla="*/ 379790 h 5434893"/>
              <a:gd name="connsiteX366" fmla="*/ 4675084 w 12208633"/>
              <a:gd name="connsiteY366" fmla="*/ 379790 h 5434893"/>
              <a:gd name="connsiteX367" fmla="*/ 4675084 w 12208633"/>
              <a:gd name="connsiteY367" fmla="*/ 474896 h 5434893"/>
              <a:gd name="connsiteX368" fmla="*/ 4676745 w 12208633"/>
              <a:gd name="connsiteY368" fmla="*/ 475064 h 5434893"/>
              <a:gd name="connsiteX369" fmla="*/ 4739988 w 12208633"/>
              <a:gd name="connsiteY369" fmla="*/ 539907 h 5434893"/>
              <a:gd name="connsiteX370" fmla="*/ 4740674 w 12208633"/>
              <a:gd name="connsiteY370" fmla="*/ 547701 h 5434893"/>
              <a:gd name="connsiteX371" fmla="*/ 4741248 w 12208633"/>
              <a:gd name="connsiteY371" fmla="*/ 547701 h 5434893"/>
              <a:gd name="connsiteX372" fmla="*/ 4741248 w 12208633"/>
              <a:gd name="connsiteY372" fmla="*/ 554205 h 5434893"/>
              <a:gd name="connsiteX373" fmla="*/ 4741248 w 12208633"/>
              <a:gd name="connsiteY373" fmla="*/ 554208 h 5434893"/>
              <a:gd name="connsiteX374" fmla="*/ 4741248 w 12208633"/>
              <a:gd name="connsiteY374" fmla="*/ 739927 h 5434893"/>
              <a:gd name="connsiteX375" fmla="*/ 4764753 w 12208633"/>
              <a:gd name="connsiteY375" fmla="*/ 740400 h 5434893"/>
              <a:gd name="connsiteX376" fmla="*/ 4764753 w 12208633"/>
              <a:gd name="connsiteY376" fmla="*/ 666262 h 5434893"/>
              <a:gd name="connsiteX377" fmla="*/ 4899024 w 12208633"/>
              <a:gd name="connsiteY377" fmla="*/ 666262 h 5434893"/>
              <a:gd name="connsiteX378" fmla="*/ 4899024 w 12208633"/>
              <a:gd name="connsiteY378" fmla="*/ 735104 h 5434893"/>
              <a:gd name="connsiteX379" fmla="*/ 5028026 w 12208633"/>
              <a:gd name="connsiteY379" fmla="*/ 735104 h 5434893"/>
              <a:gd name="connsiteX380" fmla="*/ 5028026 w 12208633"/>
              <a:gd name="connsiteY380" fmla="*/ 658319 h 5434893"/>
              <a:gd name="connsiteX381" fmla="*/ 5154397 w 12208633"/>
              <a:gd name="connsiteY381" fmla="*/ 660966 h 5434893"/>
              <a:gd name="connsiteX382" fmla="*/ 5154397 w 12208633"/>
              <a:gd name="connsiteY382" fmla="*/ 369707 h 5434893"/>
              <a:gd name="connsiteX383" fmla="*/ 5409771 w 12208633"/>
              <a:gd name="connsiteY383" fmla="*/ 369707 h 5434893"/>
              <a:gd name="connsiteX384" fmla="*/ 5409771 w 12208633"/>
              <a:gd name="connsiteY384" fmla="*/ 623897 h 5434893"/>
              <a:gd name="connsiteX385" fmla="*/ 5599327 w 12208633"/>
              <a:gd name="connsiteY385" fmla="*/ 623897 h 5434893"/>
              <a:gd name="connsiteX386" fmla="*/ 5599327 w 12208633"/>
              <a:gd name="connsiteY386" fmla="*/ 681817 h 5434893"/>
              <a:gd name="connsiteX387" fmla="*/ 5599327 w 12208633"/>
              <a:gd name="connsiteY387" fmla="*/ 692743 h 5434893"/>
              <a:gd name="connsiteX388" fmla="*/ 5628967 w 12208633"/>
              <a:gd name="connsiteY388" fmla="*/ 692743 h 5434893"/>
              <a:gd name="connsiteX389" fmla="*/ 5628967 w 12208633"/>
              <a:gd name="connsiteY389" fmla="*/ 672950 h 5434893"/>
              <a:gd name="connsiteX390" fmla="*/ 5794767 w 12208633"/>
              <a:gd name="connsiteY390" fmla="*/ 672950 h 5434893"/>
              <a:gd name="connsiteX391" fmla="*/ 5794803 w 12208633"/>
              <a:gd name="connsiteY391" fmla="*/ 672943 h 5434893"/>
              <a:gd name="connsiteX392" fmla="*/ 5792189 w 12208633"/>
              <a:gd name="connsiteY392" fmla="*/ 672943 h 5434893"/>
              <a:gd name="connsiteX393" fmla="*/ 5784518 w 12208633"/>
              <a:gd name="connsiteY393" fmla="*/ 672943 h 5434893"/>
              <a:gd name="connsiteX394" fmla="*/ 5628967 w 12208633"/>
              <a:gd name="connsiteY394" fmla="*/ 672943 h 5434893"/>
              <a:gd name="connsiteX395" fmla="*/ 5792189 w 12208633"/>
              <a:gd name="connsiteY395" fmla="*/ 576196 h 5434893"/>
              <a:gd name="connsiteX396" fmla="*/ 5792189 w 12208633"/>
              <a:gd name="connsiteY396" fmla="*/ 668395 h 5434893"/>
              <a:gd name="connsiteX397" fmla="*/ 5947738 w 12208633"/>
              <a:gd name="connsiteY397" fmla="*/ 576196 h 5434893"/>
              <a:gd name="connsiteX398" fmla="*/ 5947738 w 12208633"/>
              <a:gd name="connsiteY398" fmla="*/ 668395 h 5434893"/>
              <a:gd name="connsiteX399" fmla="*/ 6103287 w 12208633"/>
              <a:gd name="connsiteY399" fmla="*/ 576196 h 5434893"/>
              <a:gd name="connsiteX400" fmla="*/ 6103287 w 12208633"/>
              <a:gd name="connsiteY400" fmla="*/ 668395 h 5434893"/>
              <a:gd name="connsiteX401" fmla="*/ 6258836 w 12208633"/>
              <a:gd name="connsiteY401" fmla="*/ 576196 h 5434893"/>
              <a:gd name="connsiteX402" fmla="*/ 6258836 w 12208633"/>
              <a:gd name="connsiteY402" fmla="*/ 672943 h 5434893"/>
              <a:gd name="connsiteX403" fmla="*/ 6154820 w 12208633"/>
              <a:gd name="connsiteY403" fmla="*/ 672943 h 5434893"/>
              <a:gd name="connsiteX404" fmla="*/ 6154820 w 12208633"/>
              <a:gd name="connsiteY404" fmla="*/ 672950 h 5434893"/>
              <a:gd name="connsiteX405" fmla="*/ 6258836 w 12208633"/>
              <a:gd name="connsiteY405" fmla="*/ 672950 h 5434893"/>
              <a:gd name="connsiteX406" fmla="*/ 6258836 w 12208633"/>
              <a:gd name="connsiteY406" fmla="*/ 708560 h 5434893"/>
              <a:gd name="connsiteX407" fmla="*/ 6258836 w 12208633"/>
              <a:gd name="connsiteY407" fmla="*/ 726328 h 5434893"/>
              <a:gd name="connsiteX408" fmla="*/ 6349534 w 12208633"/>
              <a:gd name="connsiteY408" fmla="*/ 726328 h 5434893"/>
              <a:gd name="connsiteX409" fmla="*/ 6354387 w 12208633"/>
              <a:gd name="connsiteY409" fmla="*/ 721669 h 5434893"/>
              <a:gd name="connsiteX410" fmla="*/ 6354387 w 12208633"/>
              <a:gd name="connsiteY410" fmla="*/ 653142 h 5434893"/>
              <a:gd name="connsiteX411" fmla="*/ 6351863 w 12208633"/>
              <a:gd name="connsiteY411" fmla="*/ 648482 h 5434893"/>
              <a:gd name="connsiteX412" fmla="*/ 6352251 w 12208633"/>
              <a:gd name="connsiteY412" fmla="*/ 641882 h 5434893"/>
              <a:gd name="connsiteX413" fmla="*/ 6354581 w 12208633"/>
              <a:gd name="connsiteY413" fmla="*/ 638194 h 5434893"/>
              <a:gd name="connsiteX414" fmla="*/ 6354581 w 12208633"/>
              <a:gd name="connsiteY414" fmla="*/ 589854 h 5434893"/>
              <a:gd name="connsiteX415" fmla="*/ 6351863 w 12208633"/>
              <a:gd name="connsiteY415" fmla="*/ 585584 h 5434893"/>
              <a:gd name="connsiteX416" fmla="*/ 6351863 w 12208633"/>
              <a:gd name="connsiteY416" fmla="*/ 579954 h 5434893"/>
              <a:gd name="connsiteX417" fmla="*/ 6354581 w 12208633"/>
              <a:gd name="connsiteY417" fmla="*/ 574712 h 5434893"/>
              <a:gd name="connsiteX418" fmla="*/ 6354581 w 12208633"/>
              <a:gd name="connsiteY418" fmla="*/ 528121 h 5434893"/>
              <a:gd name="connsiteX419" fmla="*/ 6351669 w 12208633"/>
              <a:gd name="connsiteY419" fmla="*/ 522879 h 5434893"/>
              <a:gd name="connsiteX420" fmla="*/ 6351863 w 12208633"/>
              <a:gd name="connsiteY420" fmla="*/ 516473 h 5434893"/>
              <a:gd name="connsiteX421" fmla="*/ 6354387 w 12208633"/>
              <a:gd name="connsiteY421" fmla="*/ 511814 h 5434893"/>
              <a:gd name="connsiteX422" fmla="*/ 6354387 w 12208633"/>
              <a:gd name="connsiteY422" fmla="*/ 465999 h 5434893"/>
              <a:gd name="connsiteX423" fmla="*/ 6351475 w 12208633"/>
              <a:gd name="connsiteY423" fmla="*/ 460952 h 5434893"/>
              <a:gd name="connsiteX424" fmla="*/ 6351863 w 12208633"/>
              <a:gd name="connsiteY424" fmla="*/ 454545 h 5434893"/>
              <a:gd name="connsiteX425" fmla="*/ 6354387 w 12208633"/>
              <a:gd name="connsiteY425" fmla="*/ 450469 h 5434893"/>
              <a:gd name="connsiteX426" fmla="*/ 6354387 w 12208633"/>
              <a:gd name="connsiteY426" fmla="*/ 402130 h 5434893"/>
              <a:gd name="connsiteX427" fmla="*/ 6351863 w 12208633"/>
              <a:gd name="connsiteY427" fmla="*/ 398054 h 5434893"/>
              <a:gd name="connsiteX428" fmla="*/ 6352057 w 12208633"/>
              <a:gd name="connsiteY428" fmla="*/ 391453 h 5434893"/>
              <a:gd name="connsiteX429" fmla="*/ 6354387 w 12208633"/>
              <a:gd name="connsiteY429" fmla="*/ 387182 h 5434893"/>
              <a:gd name="connsiteX430" fmla="*/ 6354387 w 12208633"/>
              <a:gd name="connsiteY430" fmla="*/ 340591 h 5434893"/>
              <a:gd name="connsiteX431" fmla="*/ 6351863 w 12208633"/>
              <a:gd name="connsiteY431" fmla="*/ 335932 h 5434893"/>
              <a:gd name="connsiteX432" fmla="*/ 6352251 w 12208633"/>
              <a:gd name="connsiteY432" fmla="*/ 329331 h 5434893"/>
              <a:gd name="connsiteX433" fmla="*/ 6354581 w 12208633"/>
              <a:gd name="connsiteY433" fmla="*/ 325643 h 5434893"/>
              <a:gd name="connsiteX434" fmla="*/ 6354581 w 12208633"/>
              <a:gd name="connsiteY434" fmla="*/ 277304 h 5434893"/>
              <a:gd name="connsiteX435" fmla="*/ 6351863 w 12208633"/>
              <a:gd name="connsiteY435" fmla="*/ 273227 h 5434893"/>
              <a:gd name="connsiteX436" fmla="*/ 6349922 w 12208633"/>
              <a:gd name="connsiteY436" fmla="*/ 269539 h 5434893"/>
              <a:gd name="connsiteX437" fmla="*/ 6353610 w 12208633"/>
              <a:gd name="connsiteY437" fmla="*/ 267209 h 5434893"/>
              <a:gd name="connsiteX438" fmla="*/ 6357299 w 12208633"/>
              <a:gd name="connsiteY438" fmla="*/ 267209 h 5434893"/>
              <a:gd name="connsiteX439" fmla="*/ 6426409 w 12208633"/>
              <a:gd name="connsiteY439" fmla="*/ 267209 h 5434893"/>
              <a:gd name="connsiteX440" fmla="*/ 6430680 w 12208633"/>
              <a:gd name="connsiteY440" fmla="*/ 267209 h 5434893"/>
              <a:gd name="connsiteX441" fmla="*/ 6433980 w 12208633"/>
              <a:gd name="connsiteY441" fmla="*/ 270704 h 5434893"/>
              <a:gd name="connsiteX442" fmla="*/ 6430486 w 12208633"/>
              <a:gd name="connsiteY442" fmla="*/ 273033 h 5434893"/>
              <a:gd name="connsiteX443" fmla="*/ 6427962 w 12208633"/>
              <a:gd name="connsiteY443" fmla="*/ 273033 h 5434893"/>
              <a:gd name="connsiteX444" fmla="*/ 6427768 w 12208633"/>
              <a:gd name="connsiteY444" fmla="*/ 274198 h 5434893"/>
              <a:gd name="connsiteX445" fmla="*/ 6427768 w 12208633"/>
              <a:gd name="connsiteY445" fmla="*/ 329137 h 5434893"/>
              <a:gd name="connsiteX446" fmla="*/ 6430874 w 12208633"/>
              <a:gd name="connsiteY446" fmla="*/ 329331 h 5434893"/>
              <a:gd name="connsiteX447" fmla="*/ 6433786 w 12208633"/>
              <a:gd name="connsiteY447" fmla="*/ 332438 h 5434893"/>
              <a:gd name="connsiteX448" fmla="*/ 6430874 w 12208633"/>
              <a:gd name="connsiteY448" fmla="*/ 336126 h 5434893"/>
              <a:gd name="connsiteX449" fmla="*/ 6427768 w 12208633"/>
              <a:gd name="connsiteY449" fmla="*/ 336320 h 5434893"/>
              <a:gd name="connsiteX450" fmla="*/ 6427768 w 12208633"/>
              <a:gd name="connsiteY450" fmla="*/ 391259 h 5434893"/>
              <a:gd name="connsiteX451" fmla="*/ 6430874 w 12208633"/>
              <a:gd name="connsiteY451" fmla="*/ 391453 h 5434893"/>
              <a:gd name="connsiteX452" fmla="*/ 6433786 w 12208633"/>
              <a:gd name="connsiteY452" fmla="*/ 395142 h 5434893"/>
              <a:gd name="connsiteX453" fmla="*/ 6430874 w 12208633"/>
              <a:gd name="connsiteY453" fmla="*/ 398248 h 5434893"/>
              <a:gd name="connsiteX454" fmla="*/ 6427768 w 12208633"/>
              <a:gd name="connsiteY454" fmla="*/ 398248 h 5434893"/>
              <a:gd name="connsiteX455" fmla="*/ 6427768 w 12208633"/>
              <a:gd name="connsiteY455" fmla="*/ 454351 h 5434893"/>
              <a:gd name="connsiteX456" fmla="*/ 6430874 w 12208633"/>
              <a:gd name="connsiteY456" fmla="*/ 454545 h 5434893"/>
              <a:gd name="connsiteX457" fmla="*/ 6433786 w 12208633"/>
              <a:gd name="connsiteY457" fmla="*/ 457652 h 5434893"/>
              <a:gd name="connsiteX458" fmla="*/ 6430874 w 12208633"/>
              <a:gd name="connsiteY458" fmla="*/ 461340 h 5434893"/>
              <a:gd name="connsiteX459" fmla="*/ 6427768 w 12208633"/>
              <a:gd name="connsiteY459" fmla="*/ 461534 h 5434893"/>
              <a:gd name="connsiteX460" fmla="*/ 6427574 w 12208633"/>
              <a:gd name="connsiteY460" fmla="*/ 461534 h 5434893"/>
              <a:gd name="connsiteX461" fmla="*/ 6427574 w 12208633"/>
              <a:gd name="connsiteY461" fmla="*/ 461728 h 5434893"/>
              <a:gd name="connsiteX462" fmla="*/ 6427768 w 12208633"/>
              <a:gd name="connsiteY462" fmla="*/ 461728 h 5434893"/>
              <a:gd name="connsiteX463" fmla="*/ 6427768 w 12208633"/>
              <a:gd name="connsiteY463" fmla="*/ 516667 h 5434893"/>
              <a:gd name="connsiteX464" fmla="*/ 6430874 w 12208633"/>
              <a:gd name="connsiteY464" fmla="*/ 516861 h 5434893"/>
              <a:gd name="connsiteX465" fmla="*/ 6433786 w 12208633"/>
              <a:gd name="connsiteY465" fmla="*/ 520550 h 5434893"/>
              <a:gd name="connsiteX466" fmla="*/ 6430874 w 12208633"/>
              <a:gd name="connsiteY466" fmla="*/ 523656 h 5434893"/>
              <a:gd name="connsiteX467" fmla="*/ 6427768 w 12208633"/>
              <a:gd name="connsiteY467" fmla="*/ 523850 h 5434893"/>
              <a:gd name="connsiteX468" fmla="*/ 6427768 w 12208633"/>
              <a:gd name="connsiteY468" fmla="*/ 579954 h 5434893"/>
              <a:gd name="connsiteX469" fmla="*/ 6431457 w 12208633"/>
              <a:gd name="connsiteY469" fmla="*/ 580148 h 5434893"/>
              <a:gd name="connsiteX470" fmla="*/ 6433786 w 12208633"/>
              <a:gd name="connsiteY470" fmla="*/ 583254 h 5434893"/>
              <a:gd name="connsiteX471" fmla="*/ 6431263 w 12208633"/>
              <a:gd name="connsiteY471" fmla="*/ 585972 h 5434893"/>
              <a:gd name="connsiteX472" fmla="*/ 6427768 w 12208633"/>
              <a:gd name="connsiteY472" fmla="*/ 587137 h 5434893"/>
              <a:gd name="connsiteX473" fmla="*/ 6427768 w 12208633"/>
              <a:gd name="connsiteY473" fmla="*/ 642076 h 5434893"/>
              <a:gd name="connsiteX474" fmla="*/ 6430874 w 12208633"/>
              <a:gd name="connsiteY474" fmla="*/ 642270 h 5434893"/>
              <a:gd name="connsiteX475" fmla="*/ 6433786 w 12208633"/>
              <a:gd name="connsiteY475" fmla="*/ 645959 h 5434893"/>
              <a:gd name="connsiteX476" fmla="*/ 6430874 w 12208633"/>
              <a:gd name="connsiteY476" fmla="*/ 649065 h 5434893"/>
              <a:gd name="connsiteX477" fmla="*/ 6427768 w 12208633"/>
              <a:gd name="connsiteY477" fmla="*/ 649259 h 5434893"/>
              <a:gd name="connsiteX478" fmla="*/ 6427768 w 12208633"/>
              <a:gd name="connsiteY478" fmla="*/ 727687 h 5434893"/>
              <a:gd name="connsiteX479" fmla="*/ 6450870 w 12208633"/>
              <a:gd name="connsiteY479" fmla="*/ 727881 h 5434893"/>
              <a:gd name="connsiteX480" fmla="*/ 6519204 w 12208633"/>
              <a:gd name="connsiteY480" fmla="*/ 727687 h 5434893"/>
              <a:gd name="connsiteX481" fmla="*/ 6519398 w 12208633"/>
              <a:gd name="connsiteY481" fmla="*/ 688473 h 5434893"/>
              <a:gd name="connsiteX482" fmla="*/ 6519398 w 12208633"/>
              <a:gd name="connsiteY482" fmla="*/ 649259 h 5434893"/>
              <a:gd name="connsiteX483" fmla="*/ 6516874 w 12208633"/>
              <a:gd name="connsiteY483" fmla="*/ 649259 h 5434893"/>
              <a:gd name="connsiteX484" fmla="*/ 6513186 w 12208633"/>
              <a:gd name="connsiteY484" fmla="*/ 645570 h 5434893"/>
              <a:gd name="connsiteX485" fmla="*/ 6516680 w 12208633"/>
              <a:gd name="connsiteY485" fmla="*/ 642270 h 5434893"/>
              <a:gd name="connsiteX486" fmla="*/ 6519204 w 12208633"/>
              <a:gd name="connsiteY486" fmla="*/ 642270 h 5434893"/>
              <a:gd name="connsiteX487" fmla="*/ 6519204 w 12208633"/>
              <a:gd name="connsiteY487" fmla="*/ 586166 h 5434893"/>
              <a:gd name="connsiteX488" fmla="*/ 6518039 w 12208633"/>
              <a:gd name="connsiteY488" fmla="*/ 586166 h 5434893"/>
              <a:gd name="connsiteX489" fmla="*/ 6513574 w 12208633"/>
              <a:gd name="connsiteY489" fmla="*/ 583448 h 5434893"/>
              <a:gd name="connsiteX490" fmla="*/ 6518039 w 12208633"/>
              <a:gd name="connsiteY490" fmla="*/ 580148 h 5434893"/>
              <a:gd name="connsiteX491" fmla="*/ 6519204 w 12208633"/>
              <a:gd name="connsiteY491" fmla="*/ 580148 h 5434893"/>
              <a:gd name="connsiteX492" fmla="*/ 6519204 w 12208633"/>
              <a:gd name="connsiteY492" fmla="*/ 524044 h 5434893"/>
              <a:gd name="connsiteX493" fmla="*/ 6516098 w 12208633"/>
              <a:gd name="connsiteY493" fmla="*/ 523850 h 5434893"/>
              <a:gd name="connsiteX494" fmla="*/ 6513186 w 12208633"/>
              <a:gd name="connsiteY494" fmla="*/ 520550 h 5434893"/>
              <a:gd name="connsiteX495" fmla="*/ 6516292 w 12208633"/>
              <a:gd name="connsiteY495" fmla="*/ 516861 h 5434893"/>
              <a:gd name="connsiteX496" fmla="*/ 6519398 w 12208633"/>
              <a:gd name="connsiteY496" fmla="*/ 516667 h 5434893"/>
              <a:gd name="connsiteX497" fmla="*/ 6519398 w 12208633"/>
              <a:gd name="connsiteY497" fmla="*/ 461728 h 5434893"/>
              <a:gd name="connsiteX498" fmla="*/ 6518815 w 12208633"/>
              <a:gd name="connsiteY498" fmla="*/ 461728 h 5434893"/>
              <a:gd name="connsiteX499" fmla="*/ 6513574 w 12208633"/>
              <a:gd name="connsiteY499" fmla="*/ 457263 h 5434893"/>
              <a:gd name="connsiteX500" fmla="*/ 6519398 w 12208633"/>
              <a:gd name="connsiteY500" fmla="*/ 454545 h 5434893"/>
              <a:gd name="connsiteX501" fmla="*/ 6519398 w 12208633"/>
              <a:gd name="connsiteY501" fmla="*/ 398442 h 5434893"/>
              <a:gd name="connsiteX502" fmla="*/ 6513574 w 12208633"/>
              <a:gd name="connsiteY502" fmla="*/ 395724 h 5434893"/>
              <a:gd name="connsiteX503" fmla="*/ 6519592 w 12208633"/>
              <a:gd name="connsiteY503" fmla="*/ 391259 h 5434893"/>
              <a:gd name="connsiteX504" fmla="*/ 6519592 w 12208633"/>
              <a:gd name="connsiteY504" fmla="*/ 336320 h 5434893"/>
              <a:gd name="connsiteX505" fmla="*/ 6517845 w 12208633"/>
              <a:gd name="connsiteY505" fmla="*/ 336320 h 5434893"/>
              <a:gd name="connsiteX506" fmla="*/ 6513574 w 12208633"/>
              <a:gd name="connsiteY506" fmla="*/ 332826 h 5434893"/>
              <a:gd name="connsiteX507" fmla="*/ 6517845 w 12208633"/>
              <a:gd name="connsiteY507" fmla="*/ 329331 h 5434893"/>
              <a:gd name="connsiteX508" fmla="*/ 6519592 w 12208633"/>
              <a:gd name="connsiteY508" fmla="*/ 329331 h 5434893"/>
              <a:gd name="connsiteX509" fmla="*/ 6519592 w 12208633"/>
              <a:gd name="connsiteY509" fmla="*/ 274586 h 5434893"/>
              <a:gd name="connsiteX510" fmla="*/ 6515709 w 12208633"/>
              <a:gd name="connsiteY510" fmla="*/ 273033 h 5434893"/>
              <a:gd name="connsiteX511" fmla="*/ 6513574 w 12208633"/>
              <a:gd name="connsiteY511" fmla="*/ 269927 h 5434893"/>
              <a:gd name="connsiteX512" fmla="*/ 6516486 w 12208633"/>
              <a:gd name="connsiteY512" fmla="*/ 267404 h 5434893"/>
              <a:gd name="connsiteX513" fmla="*/ 6520174 w 12208633"/>
              <a:gd name="connsiteY513" fmla="*/ 267209 h 5434893"/>
              <a:gd name="connsiteX514" fmla="*/ 6591809 w 12208633"/>
              <a:gd name="connsiteY514" fmla="*/ 267209 h 5434893"/>
              <a:gd name="connsiteX515" fmla="*/ 6594332 w 12208633"/>
              <a:gd name="connsiteY515" fmla="*/ 267209 h 5434893"/>
              <a:gd name="connsiteX516" fmla="*/ 6598409 w 12208633"/>
              <a:gd name="connsiteY516" fmla="*/ 269733 h 5434893"/>
              <a:gd name="connsiteX517" fmla="*/ 6596274 w 12208633"/>
              <a:gd name="connsiteY517" fmla="*/ 273227 h 5434893"/>
              <a:gd name="connsiteX518" fmla="*/ 6593556 w 12208633"/>
              <a:gd name="connsiteY518" fmla="*/ 277110 h 5434893"/>
              <a:gd name="connsiteX519" fmla="*/ 6593556 w 12208633"/>
              <a:gd name="connsiteY519" fmla="*/ 325449 h 5434893"/>
              <a:gd name="connsiteX520" fmla="*/ 6596079 w 12208633"/>
              <a:gd name="connsiteY520" fmla="*/ 329525 h 5434893"/>
              <a:gd name="connsiteX521" fmla="*/ 6595885 w 12208633"/>
              <a:gd name="connsiteY521" fmla="*/ 336126 h 5434893"/>
              <a:gd name="connsiteX522" fmla="*/ 6593556 w 12208633"/>
              <a:gd name="connsiteY522" fmla="*/ 340397 h 5434893"/>
              <a:gd name="connsiteX523" fmla="*/ 6593556 w 12208633"/>
              <a:gd name="connsiteY523" fmla="*/ 386988 h 5434893"/>
              <a:gd name="connsiteX524" fmla="*/ 6596079 w 12208633"/>
              <a:gd name="connsiteY524" fmla="*/ 391647 h 5434893"/>
              <a:gd name="connsiteX525" fmla="*/ 6595691 w 12208633"/>
              <a:gd name="connsiteY525" fmla="*/ 398442 h 5434893"/>
              <a:gd name="connsiteX526" fmla="*/ 6593556 w 12208633"/>
              <a:gd name="connsiteY526" fmla="*/ 402324 h 5434893"/>
              <a:gd name="connsiteX527" fmla="*/ 6593556 w 12208633"/>
              <a:gd name="connsiteY527" fmla="*/ 419020 h 5434893"/>
              <a:gd name="connsiteX528" fmla="*/ 6593556 w 12208633"/>
              <a:gd name="connsiteY528" fmla="*/ 449498 h 5434893"/>
              <a:gd name="connsiteX529" fmla="*/ 6596662 w 12208633"/>
              <a:gd name="connsiteY529" fmla="*/ 454934 h 5434893"/>
              <a:gd name="connsiteX530" fmla="*/ 6596662 w 12208633"/>
              <a:gd name="connsiteY530" fmla="*/ 460952 h 5434893"/>
              <a:gd name="connsiteX531" fmla="*/ 6593362 w 12208633"/>
              <a:gd name="connsiteY531" fmla="*/ 467746 h 5434893"/>
              <a:gd name="connsiteX532" fmla="*/ 6593362 w 12208633"/>
              <a:gd name="connsiteY532" fmla="*/ 510649 h 5434893"/>
              <a:gd name="connsiteX533" fmla="*/ 6596662 w 12208633"/>
              <a:gd name="connsiteY533" fmla="*/ 517444 h 5434893"/>
              <a:gd name="connsiteX534" fmla="*/ 6596468 w 12208633"/>
              <a:gd name="connsiteY534" fmla="*/ 523462 h 5434893"/>
              <a:gd name="connsiteX535" fmla="*/ 6593362 w 12208633"/>
              <a:gd name="connsiteY535" fmla="*/ 528315 h 5434893"/>
              <a:gd name="connsiteX536" fmla="*/ 6593362 w 12208633"/>
              <a:gd name="connsiteY536" fmla="*/ 561706 h 5434893"/>
              <a:gd name="connsiteX537" fmla="*/ 6593362 w 12208633"/>
              <a:gd name="connsiteY537" fmla="*/ 575489 h 5434893"/>
              <a:gd name="connsiteX538" fmla="*/ 6596079 w 12208633"/>
              <a:gd name="connsiteY538" fmla="*/ 579954 h 5434893"/>
              <a:gd name="connsiteX539" fmla="*/ 6596274 w 12208633"/>
              <a:gd name="connsiteY539" fmla="*/ 585584 h 5434893"/>
              <a:gd name="connsiteX540" fmla="*/ 6593167 w 12208633"/>
              <a:gd name="connsiteY540" fmla="*/ 590437 h 5434893"/>
              <a:gd name="connsiteX541" fmla="*/ 6593167 w 12208633"/>
              <a:gd name="connsiteY541" fmla="*/ 621498 h 5434893"/>
              <a:gd name="connsiteX542" fmla="*/ 6593167 w 12208633"/>
              <a:gd name="connsiteY542" fmla="*/ 637611 h 5434893"/>
              <a:gd name="connsiteX543" fmla="*/ 6595885 w 12208633"/>
              <a:gd name="connsiteY543" fmla="*/ 642270 h 5434893"/>
              <a:gd name="connsiteX544" fmla="*/ 6595885 w 12208633"/>
              <a:gd name="connsiteY544" fmla="*/ 648676 h 5434893"/>
              <a:gd name="connsiteX545" fmla="*/ 6593167 w 12208633"/>
              <a:gd name="connsiteY545" fmla="*/ 653918 h 5434893"/>
              <a:gd name="connsiteX546" fmla="*/ 6593167 w 12208633"/>
              <a:gd name="connsiteY546" fmla="*/ 721863 h 5434893"/>
              <a:gd name="connsiteX547" fmla="*/ 6598021 w 12208633"/>
              <a:gd name="connsiteY547" fmla="*/ 726716 h 5434893"/>
              <a:gd name="connsiteX548" fmla="*/ 6698387 w 12208633"/>
              <a:gd name="connsiteY548" fmla="*/ 726716 h 5434893"/>
              <a:gd name="connsiteX549" fmla="*/ 6703434 w 12208633"/>
              <a:gd name="connsiteY549" fmla="*/ 720892 h 5434893"/>
              <a:gd name="connsiteX550" fmla="*/ 6703434 w 12208633"/>
              <a:gd name="connsiteY550" fmla="*/ 606356 h 5434893"/>
              <a:gd name="connsiteX551" fmla="*/ 6703434 w 12208633"/>
              <a:gd name="connsiteY551" fmla="*/ 538992 h 5434893"/>
              <a:gd name="connsiteX552" fmla="*/ 6704405 w 12208633"/>
              <a:gd name="connsiteY552" fmla="*/ 532004 h 5434893"/>
              <a:gd name="connsiteX553" fmla="*/ 6704599 w 12208633"/>
              <a:gd name="connsiteY553" fmla="*/ 540351 h 5434893"/>
              <a:gd name="connsiteX554" fmla="*/ 6704599 w 12208633"/>
              <a:gd name="connsiteY554" fmla="*/ 719145 h 5434893"/>
              <a:gd name="connsiteX555" fmla="*/ 6704405 w 12208633"/>
              <a:gd name="connsiteY555" fmla="*/ 727493 h 5434893"/>
              <a:gd name="connsiteX556" fmla="*/ 6705181 w 12208633"/>
              <a:gd name="connsiteY556" fmla="*/ 727493 h 5434893"/>
              <a:gd name="connsiteX557" fmla="*/ 6704987 w 12208633"/>
              <a:gd name="connsiteY557" fmla="*/ 727299 h 5434893"/>
              <a:gd name="connsiteX558" fmla="*/ 6704987 w 12208633"/>
              <a:gd name="connsiteY558" fmla="*/ 535498 h 5434893"/>
              <a:gd name="connsiteX559" fmla="*/ 6705375 w 12208633"/>
              <a:gd name="connsiteY559" fmla="*/ 532004 h 5434893"/>
              <a:gd name="connsiteX560" fmla="*/ 6753132 w 12208633"/>
              <a:gd name="connsiteY560" fmla="*/ 490460 h 5434893"/>
              <a:gd name="connsiteX561" fmla="*/ 6799917 w 12208633"/>
              <a:gd name="connsiteY561" fmla="*/ 535304 h 5434893"/>
              <a:gd name="connsiteX562" fmla="*/ 6799917 w 12208633"/>
              <a:gd name="connsiteY562" fmla="*/ 681290 h 5434893"/>
              <a:gd name="connsiteX563" fmla="*/ 6799917 w 12208633"/>
              <a:gd name="connsiteY563" fmla="*/ 817181 h 5434893"/>
              <a:gd name="connsiteX564" fmla="*/ 6801858 w 12208633"/>
              <a:gd name="connsiteY564" fmla="*/ 823976 h 5434893"/>
              <a:gd name="connsiteX565" fmla="*/ 6814283 w 12208633"/>
              <a:gd name="connsiteY565" fmla="*/ 798933 h 5434893"/>
              <a:gd name="connsiteX566" fmla="*/ 6817389 w 12208633"/>
              <a:gd name="connsiteY566" fmla="*/ 787673 h 5434893"/>
              <a:gd name="connsiteX567" fmla="*/ 6817389 w 12208633"/>
              <a:gd name="connsiteY567" fmla="*/ 586749 h 5434893"/>
              <a:gd name="connsiteX568" fmla="*/ 6817389 w 12208633"/>
              <a:gd name="connsiteY568" fmla="*/ 537245 h 5434893"/>
              <a:gd name="connsiteX569" fmla="*/ 6856991 w 12208633"/>
              <a:gd name="connsiteY569" fmla="*/ 490460 h 5434893"/>
              <a:gd name="connsiteX570" fmla="*/ 6865339 w 12208633"/>
              <a:gd name="connsiteY570" fmla="*/ 490265 h 5434893"/>
              <a:gd name="connsiteX571" fmla="*/ 6912125 w 12208633"/>
              <a:gd name="connsiteY571" fmla="*/ 535110 h 5434893"/>
              <a:gd name="connsiteX572" fmla="*/ 6912125 w 12208633"/>
              <a:gd name="connsiteY572" fmla="*/ 713904 h 5434893"/>
              <a:gd name="connsiteX573" fmla="*/ 6912125 w 12208633"/>
              <a:gd name="connsiteY573" fmla="*/ 719339 h 5434893"/>
              <a:gd name="connsiteX574" fmla="*/ 6915425 w 12208633"/>
              <a:gd name="connsiteY574" fmla="*/ 721669 h 5434893"/>
              <a:gd name="connsiteX575" fmla="*/ 6980847 w 12208633"/>
              <a:gd name="connsiteY575" fmla="*/ 716039 h 5434893"/>
              <a:gd name="connsiteX576" fmla="*/ 7121398 w 12208633"/>
              <a:gd name="connsiteY576" fmla="*/ 816793 h 5434893"/>
              <a:gd name="connsiteX577" fmla="*/ 7130134 w 12208633"/>
              <a:gd name="connsiteY577" fmla="*/ 840865 h 5434893"/>
              <a:gd name="connsiteX578" fmla="*/ 7133434 w 12208633"/>
              <a:gd name="connsiteY578" fmla="*/ 842224 h 5434893"/>
              <a:gd name="connsiteX579" fmla="*/ 7143140 w 12208633"/>
              <a:gd name="connsiteY579" fmla="*/ 854066 h 5434893"/>
              <a:gd name="connsiteX580" fmla="*/ 7143162 w 12208633"/>
              <a:gd name="connsiteY580" fmla="*/ 858635 h 5434893"/>
              <a:gd name="connsiteX581" fmla="*/ 7363499 w 12208633"/>
              <a:gd name="connsiteY581" fmla="*/ 801441 h 5434893"/>
              <a:gd name="connsiteX582" fmla="*/ 7367909 w 12208633"/>
              <a:gd name="connsiteY582" fmla="*/ 799551 h 5434893"/>
              <a:gd name="connsiteX583" fmla="*/ 7367909 w 12208633"/>
              <a:gd name="connsiteY583" fmla="*/ 792936 h 5434893"/>
              <a:gd name="connsiteX584" fmla="*/ 7362239 w 12208633"/>
              <a:gd name="connsiteY584" fmla="*/ 782541 h 5434893"/>
              <a:gd name="connsiteX585" fmla="*/ 7360349 w 12208633"/>
              <a:gd name="connsiteY585" fmla="*/ 769312 h 5434893"/>
              <a:gd name="connsiteX586" fmla="*/ 7365389 w 12208633"/>
              <a:gd name="connsiteY586" fmla="*/ 769627 h 5434893"/>
              <a:gd name="connsiteX587" fmla="*/ 7368854 w 12208633"/>
              <a:gd name="connsiteY587" fmla="*/ 770257 h 5434893"/>
              <a:gd name="connsiteX588" fmla="*/ 7374839 w 12208633"/>
              <a:gd name="connsiteY588" fmla="*/ 772777 h 5434893"/>
              <a:gd name="connsiteX589" fmla="*/ 7378304 w 12208633"/>
              <a:gd name="connsiteY589" fmla="*/ 768682 h 5434893"/>
              <a:gd name="connsiteX590" fmla="*/ 7381769 w 12208633"/>
              <a:gd name="connsiteY590" fmla="*/ 768367 h 5434893"/>
              <a:gd name="connsiteX591" fmla="*/ 7387439 w 12208633"/>
              <a:gd name="connsiteY591" fmla="*/ 768682 h 5434893"/>
              <a:gd name="connsiteX592" fmla="*/ 7392164 w 12208633"/>
              <a:gd name="connsiteY592" fmla="*/ 772462 h 5434893"/>
              <a:gd name="connsiteX593" fmla="*/ 7401299 w 12208633"/>
              <a:gd name="connsiteY593" fmla="*/ 770257 h 5434893"/>
              <a:gd name="connsiteX594" fmla="*/ 7403819 w 12208633"/>
              <a:gd name="connsiteY594" fmla="*/ 768997 h 5434893"/>
              <a:gd name="connsiteX595" fmla="*/ 7409488 w 12208633"/>
              <a:gd name="connsiteY595" fmla="*/ 772462 h 5434893"/>
              <a:gd name="connsiteX596" fmla="*/ 7416103 w 12208633"/>
              <a:gd name="connsiteY596" fmla="*/ 767737 h 5434893"/>
              <a:gd name="connsiteX597" fmla="*/ 7417993 w 12208633"/>
              <a:gd name="connsiteY597" fmla="*/ 769627 h 5434893"/>
              <a:gd name="connsiteX598" fmla="*/ 7413268 w 12208633"/>
              <a:gd name="connsiteY598" fmla="*/ 784116 h 5434893"/>
              <a:gd name="connsiteX599" fmla="*/ 7413268 w 12208633"/>
              <a:gd name="connsiteY599" fmla="*/ 788211 h 5434893"/>
              <a:gd name="connsiteX600" fmla="*/ 7501152 w 12208633"/>
              <a:gd name="connsiteY600" fmla="*/ 765847 h 5434893"/>
              <a:gd name="connsiteX601" fmla="*/ 7648884 w 12208633"/>
              <a:gd name="connsiteY601" fmla="*/ 727417 h 5434893"/>
              <a:gd name="connsiteX602" fmla="*/ 7662113 w 12208633"/>
              <a:gd name="connsiteY602" fmla="*/ 727417 h 5434893"/>
              <a:gd name="connsiteX603" fmla="*/ 7687313 w 12208633"/>
              <a:gd name="connsiteY603" fmla="*/ 733402 h 5434893"/>
              <a:gd name="connsiteX604" fmla="*/ 7687313 w 12208633"/>
              <a:gd name="connsiteY604" fmla="*/ 535272 h 5434893"/>
              <a:gd name="connsiteX605" fmla="*/ 7687313 w 12208633"/>
              <a:gd name="connsiteY605" fmla="*/ 411795 h 5434893"/>
              <a:gd name="connsiteX606" fmla="*/ 7696133 w 12208633"/>
              <a:gd name="connsiteY606" fmla="*/ 402660 h 5434893"/>
              <a:gd name="connsiteX607" fmla="*/ 7710622 w 12208633"/>
              <a:gd name="connsiteY607" fmla="*/ 402975 h 5434893"/>
              <a:gd name="connsiteX608" fmla="*/ 7727002 w 12208633"/>
              <a:gd name="connsiteY608" fmla="*/ 402660 h 5434893"/>
              <a:gd name="connsiteX609" fmla="*/ 7732042 w 12208633"/>
              <a:gd name="connsiteY609" fmla="*/ 408015 h 5434893"/>
              <a:gd name="connsiteX610" fmla="*/ 7732042 w 12208633"/>
              <a:gd name="connsiteY610" fmla="*/ 411795 h 5434893"/>
              <a:gd name="connsiteX611" fmla="*/ 7732042 w 12208633"/>
              <a:gd name="connsiteY611" fmla="*/ 745057 h 5434893"/>
              <a:gd name="connsiteX612" fmla="*/ 7769211 w 12208633"/>
              <a:gd name="connsiteY612" fmla="*/ 755137 h 5434893"/>
              <a:gd name="connsiteX613" fmla="*/ 7783701 w 12208633"/>
              <a:gd name="connsiteY613" fmla="*/ 758602 h 5434893"/>
              <a:gd name="connsiteX614" fmla="*/ 7783701 w 12208633"/>
              <a:gd name="connsiteY614" fmla="*/ 415575 h 5434893"/>
              <a:gd name="connsiteX615" fmla="*/ 7796616 w 12208633"/>
              <a:gd name="connsiteY615" fmla="*/ 402660 h 5434893"/>
              <a:gd name="connsiteX616" fmla="*/ 7807325 w 12208633"/>
              <a:gd name="connsiteY616" fmla="*/ 402975 h 5434893"/>
              <a:gd name="connsiteX617" fmla="*/ 7822760 w 12208633"/>
              <a:gd name="connsiteY617" fmla="*/ 402660 h 5434893"/>
              <a:gd name="connsiteX618" fmla="*/ 7828745 w 12208633"/>
              <a:gd name="connsiteY618" fmla="*/ 408960 h 5434893"/>
              <a:gd name="connsiteX619" fmla="*/ 7828745 w 12208633"/>
              <a:gd name="connsiteY619" fmla="*/ 416835 h 5434893"/>
              <a:gd name="connsiteX620" fmla="*/ 7828745 w 12208633"/>
              <a:gd name="connsiteY620" fmla="*/ 770572 h 5434893"/>
              <a:gd name="connsiteX621" fmla="*/ 7867174 w 12208633"/>
              <a:gd name="connsiteY621" fmla="*/ 780652 h 5434893"/>
              <a:gd name="connsiteX622" fmla="*/ 7870954 w 12208633"/>
              <a:gd name="connsiteY622" fmla="*/ 777186 h 5434893"/>
              <a:gd name="connsiteX623" fmla="*/ 7870954 w 12208633"/>
              <a:gd name="connsiteY623" fmla="*/ 768367 h 5434893"/>
              <a:gd name="connsiteX624" fmla="*/ 7870954 w 12208633"/>
              <a:gd name="connsiteY624" fmla="*/ 553542 h 5434893"/>
              <a:gd name="connsiteX625" fmla="*/ 7871269 w 12208633"/>
              <a:gd name="connsiteY625" fmla="*/ 541887 h 5434893"/>
              <a:gd name="connsiteX626" fmla="*/ 7870639 w 12208633"/>
              <a:gd name="connsiteY626" fmla="*/ 518892 h 5434893"/>
              <a:gd name="connsiteX627" fmla="*/ 7878514 w 12208633"/>
              <a:gd name="connsiteY627" fmla="*/ 511018 h 5434893"/>
              <a:gd name="connsiteX628" fmla="*/ 7929543 w 12208633"/>
              <a:gd name="connsiteY628" fmla="*/ 511018 h 5434893"/>
              <a:gd name="connsiteX629" fmla="*/ 7967972 w 12208633"/>
              <a:gd name="connsiteY629" fmla="*/ 511018 h 5434893"/>
              <a:gd name="connsiteX630" fmla="*/ 7977107 w 12208633"/>
              <a:gd name="connsiteY630" fmla="*/ 509758 h 5434893"/>
              <a:gd name="connsiteX631" fmla="*/ 7976792 w 12208633"/>
              <a:gd name="connsiteY631" fmla="*/ 481093 h 5434893"/>
              <a:gd name="connsiteX632" fmla="*/ 7979627 w 12208633"/>
              <a:gd name="connsiteY632" fmla="*/ 476368 h 5434893"/>
              <a:gd name="connsiteX633" fmla="*/ 7983407 w 12208633"/>
              <a:gd name="connsiteY633" fmla="*/ 481409 h 5434893"/>
              <a:gd name="connsiteX634" fmla="*/ 7983722 w 12208633"/>
              <a:gd name="connsiteY634" fmla="*/ 511018 h 5434893"/>
              <a:gd name="connsiteX635" fmla="*/ 7990967 w 12208633"/>
              <a:gd name="connsiteY635" fmla="*/ 511018 h 5434893"/>
              <a:gd name="connsiteX636" fmla="*/ 7991282 w 12208633"/>
              <a:gd name="connsiteY636" fmla="*/ 486133 h 5434893"/>
              <a:gd name="connsiteX637" fmla="*/ 7991282 w 12208633"/>
              <a:gd name="connsiteY637" fmla="*/ 480463 h 5434893"/>
              <a:gd name="connsiteX638" fmla="*/ 7995062 w 12208633"/>
              <a:gd name="connsiteY638" fmla="*/ 476054 h 5434893"/>
              <a:gd name="connsiteX639" fmla="*/ 7998842 w 12208633"/>
              <a:gd name="connsiteY639" fmla="*/ 480149 h 5434893"/>
              <a:gd name="connsiteX640" fmla="*/ 7998842 w 12208633"/>
              <a:gd name="connsiteY640" fmla="*/ 504088 h 5434893"/>
              <a:gd name="connsiteX641" fmla="*/ 7999157 w 12208633"/>
              <a:gd name="connsiteY641" fmla="*/ 510703 h 5434893"/>
              <a:gd name="connsiteX642" fmla="*/ 8006401 w 12208633"/>
              <a:gd name="connsiteY642" fmla="*/ 510703 h 5434893"/>
              <a:gd name="connsiteX643" fmla="*/ 8006716 w 12208633"/>
              <a:gd name="connsiteY643" fmla="*/ 485818 h 5434893"/>
              <a:gd name="connsiteX644" fmla="*/ 8006716 w 12208633"/>
              <a:gd name="connsiteY644" fmla="*/ 480149 h 5434893"/>
              <a:gd name="connsiteX645" fmla="*/ 8010497 w 12208633"/>
              <a:gd name="connsiteY645" fmla="*/ 475739 h 5434893"/>
              <a:gd name="connsiteX646" fmla="*/ 8014276 w 12208633"/>
              <a:gd name="connsiteY646" fmla="*/ 479833 h 5434893"/>
              <a:gd name="connsiteX647" fmla="*/ 8014276 w 12208633"/>
              <a:gd name="connsiteY647" fmla="*/ 503773 h 5434893"/>
              <a:gd name="connsiteX648" fmla="*/ 8014591 w 12208633"/>
              <a:gd name="connsiteY648" fmla="*/ 510388 h 5434893"/>
              <a:gd name="connsiteX649" fmla="*/ 8104995 w 12208633"/>
              <a:gd name="connsiteY649" fmla="*/ 510388 h 5434893"/>
              <a:gd name="connsiteX650" fmla="*/ 8113184 w 12208633"/>
              <a:gd name="connsiteY650" fmla="*/ 503143 h 5434893"/>
              <a:gd name="connsiteX651" fmla="*/ 8189098 w 12208633"/>
              <a:gd name="connsiteY651" fmla="*/ 503143 h 5434893"/>
              <a:gd name="connsiteX652" fmla="*/ 8199807 w 12208633"/>
              <a:gd name="connsiteY652" fmla="*/ 510703 h 5434893"/>
              <a:gd name="connsiteX653" fmla="*/ 8213037 w 12208633"/>
              <a:gd name="connsiteY653" fmla="*/ 525192 h 5434893"/>
              <a:gd name="connsiteX654" fmla="*/ 8212722 w 12208633"/>
              <a:gd name="connsiteY654" fmla="*/ 542202 h 5434893"/>
              <a:gd name="connsiteX655" fmla="*/ 8213037 w 12208633"/>
              <a:gd name="connsiteY655" fmla="*/ 552912 h 5434893"/>
              <a:gd name="connsiteX656" fmla="*/ 8213037 w 12208633"/>
              <a:gd name="connsiteY656" fmla="*/ 899839 h 5434893"/>
              <a:gd name="connsiteX657" fmla="*/ 8222585 w 12208633"/>
              <a:gd name="connsiteY657" fmla="*/ 899839 h 5434893"/>
              <a:gd name="connsiteX658" fmla="*/ 8222588 w 12208633"/>
              <a:gd name="connsiteY658" fmla="*/ 899188 h 5434893"/>
              <a:gd name="connsiteX659" fmla="*/ 8361723 w 12208633"/>
              <a:gd name="connsiteY659" fmla="*/ 819757 h 5434893"/>
              <a:gd name="connsiteX660" fmla="*/ 8400660 w 12208633"/>
              <a:gd name="connsiteY660" fmla="*/ 891401 h 5434893"/>
              <a:gd name="connsiteX661" fmla="*/ 8528374 w 12208633"/>
              <a:gd name="connsiteY661" fmla="*/ 819237 h 5434893"/>
              <a:gd name="connsiteX662" fmla="*/ 8564716 w 12208633"/>
              <a:gd name="connsiteY662" fmla="*/ 886728 h 5434893"/>
              <a:gd name="connsiteX663" fmla="*/ 8566273 w 12208633"/>
              <a:gd name="connsiteY663" fmla="*/ 724750 h 5434893"/>
              <a:gd name="connsiteX664" fmla="*/ 8590674 w 12208633"/>
              <a:gd name="connsiteY664" fmla="*/ 700868 h 5434893"/>
              <a:gd name="connsiteX665" fmla="*/ 8617151 w 12208633"/>
              <a:gd name="connsiteY665" fmla="*/ 674910 h 5434893"/>
              <a:gd name="connsiteX666" fmla="*/ 8617151 w 12208633"/>
              <a:gd name="connsiteY666" fmla="*/ 624552 h 5434893"/>
              <a:gd name="connsiteX667" fmla="*/ 8649858 w 12208633"/>
              <a:gd name="connsiteY667" fmla="*/ 572636 h 5434893"/>
              <a:gd name="connsiteX668" fmla="*/ 8662318 w 12208633"/>
              <a:gd name="connsiteY668" fmla="*/ 552388 h 5434893"/>
              <a:gd name="connsiteX669" fmla="*/ 8661799 w 12208633"/>
              <a:gd name="connsiteY669" fmla="*/ 524353 h 5434893"/>
              <a:gd name="connsiteX670" fmla="*/ 8675816 w 12208633"/>
              <a:gd name="connsiteY670" fmla="*/ 509298 h 5434893"/>
              <a:gd name="connsiteX671" fmla="*/ 8794185 w 12208633"/>
              <a:gd name="connsiteY671" fmla="*/ 509298 h 5434893"/>
              <a:gd name="connsiteX672" fmla="*/ 8810279 w 12208633"/>
              <a:gd name="connsiteY672" fmla="*/ 527469 h 5434893"/>
              <a:gd name="connsiteX673" fmla="*/ 8810279 w 12208633"/>
              <a:gd name="connsiteY673" fmla="*/ 636493 h 5434893"/>
              <a:gd name="connsiteX674" fmla="*/ 8811837 w 12208633"/>
              <a:gd name="connsiteY674" fmla="*/ 677506 h 5434893"/>
              <a:gd name="connsiteX675" fmla="*/ 8817547 w 12208633"/>
              <a:gd name="connsiteY675" fmla="*/ 686332 h 5434893"/>
              <a:gd name="connsiteX676" fmla="*/ 8822220 w 12208633"/>
              <a:gd name="connsiteY676" fmla="*/ 678025 h 5434893"/>
              <a:gd name="connsiteX677" fmla="*/ 8822220 w 12208633"/>
              <a:gd name="connsiteY677" fmla="*/ 652587 h 5434893"/>
              <a:gd name="connsiteX678" fmla="*/ 8837795 w 12208633"/>
              <a:gd name="connsiteY678" fmla="*/ 637012 h 5434893"/>
              <a:gd name="connsiteX679" fmla="*/ 8854408 w 12208633"/>
              <a:gd name="connsiteY679" fmla="*/ 621956 h 5434893"/>
              <a:gd name="connsiteX680" fmla="*/ 8877770 w 12208633"/>
              <a:gd name="connsiteY680" fmla="*/ 577828 h 5434893"/>
              <a:gd name="connsiteX681" fmla="*/ 8895941 w 12208633"/>
              <a:gd name="connsiteY681" fmla="*/ 561214 h 5434893"/>
              <a:gd name="connsiteX682" fmla="*/ 8932282 w 12208633"/>
              <a:gd name="connsiteY682" fmla="*/ 564848 h 5434893"/>
              <a:gd name="connsiteX683" fmla="*/ 8940589 w 12208633"/>
              <a:gd name="connsiteY683" fmla="*/ 572636 h 5434893"/>
              <a:gd name="connsiteX684" fmla="*/ 8972258 w 12208633"/>
              <a:gd name="connsiteY684" fmla="*/ 628706 h 5434893"/>
              <a:gd name="connsiteX685" fmla="*/ 8972258 w 12208633"/>
              <a:gd name="connsiteY685" fmla="*/ 722673 h 5434893"/>
              <a:gd name="connsiteX686" fmla="*/ 9035595 w 12208633"/>
              <a:gd name="connsiteY686" fmla="*/ 719558 h 5434893"/>
              <a:gd name="connsiteX687" fmla="*/ 9068822 w 12208633"/>
              <a:gd name="connsiteY687" fmla="*/ 146923 h 5434893"/>
              <a:gd name="connsiteX688" fmla="*/ 9146177 w 12208633"/>
              <a:gd name="connsiteY688" fmla="*/ 146923 h 5434893"/>
              <a:gd name="connsiteX689" fmla="*/ 9180961 w 12208633"/>
              <a:gd name="connsiteY689" fmla="*/ 716962 h 5434893"/>
              <a:gd name="connsiteX690" fmla="*/ 9225090 w 12208633"/>
              <a:gd name="connsiteY690" fmla="*/ 715405 h 54348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</a:cxnLst>
            <a:rect l="l" t="t" r="r" b="b"/>
            <a:pathLst>
              <a:path w="12208633" h="5434893">
                <a:moveTo>
                  <a:pt x="7143321" y="892474"/>
                </a:moveTo>
                <a:lnTo>
                  <a:pt x="7143335" y="895416"/>
                </a:lnTo>
                <a:lnTo>
                  <a:pt x="7147277" y="895507"/>
                </a:lnTo>
                <a:lnTo>
                  <a:pt x="7147099" y="892474"/>
                </a:lnTo>
                <a:close/>
                <a:moveTo>
                  <a:pt x="6355163" y="727493"/>
                </a:moveTo>
                <a:lnTo>
                  <a:pt x="6355358" y="727687"/>
                </a:lnTo>
                <a:cubicBezTo>
                  <a:pt x="6355163" y="727687"/>
                  <a:pt x="6355163" y="727687"/>
                  <a:pt x="6354969" y="727687"/>
                </a:cubicBezTo>
                <a:cubicBezTo>
                  <a:pt x="6354969" y="727881"/>
                  <a:pt x="6354775" y="728075"/>
                  <a:pt x="6354969" y="728075"/>
                </a:cubicBezTo>
                <a:cubicBezTo>
                  <a:pt x="6354969" y="727881"/>
                  <a:pt x="6355163" y="727881"/>
                  <a:pt x="6355358" y="727687"/>
                </a:cubicBezTo>
                <a:cubicBezTo>
                  <a:pt x="6355358" y="727687"/>
                  <a:pt x="6355552" y="727493"/>
                  <a:pt x="6355552" y="727493"/>
                </a:cubicBezTo>
                <a:cubicBezTo>
                  <a:pt x="6355358" y="727493"/>
                  <a:pt x="6355358" y="727493"/>
                  <a:pt x="6355163" y="727493"/>
                </a:cubicBezTo>
                <a:close/>
                <a:moveTo>
                  <a:pt x="8604691" y="725788"/>
                </a:moveTo>
                <a:cubicBezTo>
                  <a:pt x="8595865" y="725788"/>
                  <a:pt x="8591193" y="727865"/>
                  <a:pt x="8591193" y="738248"/>
                </a:cubicBezTo>
                <a:cubicBezTo>
                  <a:pt x="8591712" y="788607"/>
                  <a:pt x="8591712" y="839485"/>
                  <a:pt x="8590674" y="889843"/>
                </a:cubicBezTo>
                <a:cubicBezTo>
                  <a:pt x="8590674" y="899188"/>
                  <a:pt x="8593789" y="903341"/>
                  <a:pt x="8603653" y="903341"/>
                </a:cubicBezTo>
                <a:cubicBezTo>
                  <a:pt x="8613517" y="903341"/>
                  <a:pt x="8616632" y="899708"/>
                  <a:pt x="8616632" y="889843"/>
                </a:cubicBezTo>
                <a:cubicBezTo>
                  <a:pt x="8616112" y="864923"/>
                  <a:pt x="8616632" y="840523"/>
                  <a:pt x="8616632" y="815603"/>
                </a:cubicBezTo>
                <a:cubicBezTo>
                  <a:pt x="8616632" y="790164"/>
                  <a:pt x="8616112" y="764206"/>
                  <a:pt x="8616632" y="738767"/>
                </a:cubicBezTo>
                <a:cubicBezTo>
                  <a:pt x="8616632" y="729941"/>
                  <a:pt x="8614555" y="725788"/>
                  <a:pt x="8604691" y="725788"/>
                </a:cubicBezTo>
                <a:close/>
                <a:moveTo>
                  <a:pt x="8744865" y="683217"/>
                </a:moveTo>
                <a:cubicBezTo>
                  <a:pt x="8737078" y="683217"/>
                  <a:pt x="8735001" y="687370"/>
                  <a:pt x="8735001" y="694119"/>
                </a:cubicBezTo>
                <a:cubicBezTo>
                  <a:pt x="8735001" y="760053"/>
                  <a:pt x="8735001" y="825986"/>
                  <a:pt x="8735520" y="892439"/>
                </a:cubicBezTo>
                <a:cubicBezTo>
                  <a:pt x="8735001" y="900226"/>
                  <a:pt x="8738635" y="903341"/>
                  <a:pt x="8746422" y="903341"/>
                </a:cubicBezTo>
                <a:cubicBezTo>
                  <a:pt x="8759921" y="902822"/>
                  <a:pt x="8773938" y="902822"/>
                  <a:pt x="8787436" y="903341"/>
                </a:cubicBezTo>
                <a:cubicBezTo>
                  <a:pt x="8797819" y="903861"/>
                  <a:pt x="8801454" y="899708"/>
                  <a:pt x="8801454" y="889324"/>
                </a:cubicBezTo>
                <a:cubicBezTo>
                  <a:pt x="8800934" y="865443"/>
                  <a:pt x="8801454" y="842080"/>
                  <a:pt x="8801454" y="818718"/>
                </a:cubicBezTo>
                <a:cubicBezTo>
                  <a:pt x="8801454" y="813527"/>
                  <a:pt x="8800415" y="805739"/>
                  <a:pt x="8807164" y="805739"/>
                </a:cubicBezTo>
                <a:cubicBezTo>
                  <a:pt x="8825854" y="805739"/>
                  <a:pt x="8822220" y="792760"/>
                  <a:pt x="8822739" y="781857"/>
                </a:cubicBezTo>
                <a:cubicBezTo>
                  <a:pt x="8822739" y="773551"/>
                  <a:pt x="8819105" y="771474"/>
                  <a:pt x="8811317" y="771474"/>
                </a:cubicBezTo>
                <a:cubicBezTo>
                  <a:pt x="8798858" y="771474"/>
                  <a:pt x="8786398" y="770955"/>
                  <a:pt x="8773938" y="771474"/>
                </a:cubicBezTo>
                <a:cubicBezTo>
                  <a:pt x="8761478" y="771994"/>
                  <a:pt x="8756286" y="766283"/>
                  <a:pt x="8756286" y="754342"/>
                </a:cubicBezTo>
                <a:cubicBezTo>
                  <a:pt x="8756286" y="744997"/>
                  <a:pt x="8756286" y="735133"/>
                  <a:pt x="8756286" y="725269"/>
                </a:cubicBezTo>
                <a:cubicBezTo>
                  <a:pt x="8755767" y="725269"/>
                  <a:pt x="8755767" y="725269"/>
                  <a:pt x="8755767" y="725269"/>
                </a:cubicBezTo>
                <a:cubicBezTo>
                  <a:pt x="8755767" y="714886"/>
                  <a:pt x="8755767" y="705021"/>
                  <a:pt x="8755767" y="694638"/>
                </a:cubicBezTo>
                <a:cubicBezTo>
                  <a:pt x="8755767" y="686851"/>
                  <a:pt x="8753171" y="683217"/>
                  <a:pt x="8744865" y="683217"/>
                </a:cubicBezTo>
                <a:close/>
                <a:moveTo>
                  <a:pt x="5999516" y="672943"/>
                </a:moveTo>
                <a:lnTo>
                  <a:pt x="5999516" y="672950"/>
                </a:lnTo>
                <a:lnTo>
                  <a:pt x="6106191" y="672950"/>
                </a:lnTo>
                <a:lnTo>
                  <a:pt x="6106226" y="672943"/>
                </a:lnTo>
                <a:lnTo>
                  <a:pt x="6103287" y="672943"/>
                </a:lnTo>
                <a:lnTo>
                  <a:pt x="6095614" y="672943"/>
                </a:lnTo>
                <a:close/>
                <a:moveTo>
                  <a:pt x="5844017" y="672943"/>
                </a:moveTo>
                <a:lnTo>
                  <a:pt x="5844017" y="672950"/>
                </a:lnTo>
                <a:lnTo>
                  <a:pt x="5950885" y="672950"/>
                </a:lnTo>
                <a:lnTo>
                  <a:pt x="5950920" y="672943"/>
                </a:lnTo>
                <a:lnTo>
                  <a:pt x="5947738" y="672943"/>
                </a:lnTo>
                <a:lnTo>
                  <a:pt x="5940066" y="672943"/>
                </a:lnTo>
                <a:close/>
                <a:moveTo>
                  <a:pt x="2661207" y="578320"/>
                </a:moveTo>
                <a:lnTo>
                  <a:pt x="2649387" y="591167"/>
                </a:lnTo>
                <a:lnTo>
                  <a:pt x="2649387" y="660718"/>
                </a:lnTo>
                <a:lnTo>
                  <a:pt x="2661207" y="660966"/>
                </a:lnTo>
                <a:cubicBezTo>
                  <a:pt x="2661207" y="660966"/>
                  <a:pt x="2661207" y="660966"/>
                  <a:pt x="2661207" y="612643"/>
                </a:cubicBezTo>
                <a:close/>
                <a:moveTo>
                  <a:pt x="2521154" y="535617"/>
                </a:moveTo>
                <a:cubicBezTo>
                  <a:pt x="2512848" y="535617"/>
                  <a:pt x="2510252" y="539251"/>
                  <a:pt x="2510252" y="547038"/>
                </a:cubicBezTo>
                <a:cubicBezTo>
                  <a:pt x="2510252" y="557421"/>
                  <a:pt x="2510252" y="567286"/>
                  <a:pt x="2510252" y="577669"/>
                </a:cubicBezTo>
                <a:cubicBezTo>
                  <a:pt x="2510252" y="577669"/>
                  <a:pt x="2510252" y="577669"/>
                  <a:pt x="2509733" y="577669"/>
                </a:cubicBezTo>
                <a:cubicBezTo>
                  <a:pt x="2509733" y="587533"/>
                  <a:pt x="2509733" y="597397"/>
                  <a:pt x="2509733" y="606742"/>
                </a:cubicBezTo>
                <a:cubicBezTo>
                  <a:pt x="2509733" y="618683"/>
                  <a:pt x="2504541" y="624394"/>
                  <a:pt x="2492081" y="623874"/>
                </a:cubicBezTo>
                <a:cubicBezTo>
                  <a:pt x="2479621" y="623355"/>
                  <a:pt x="2467161" y="623874"/>
                  <a:pt x="2454702" y="623874"/>
                </a:cubicBezTo>
                <a:cubicBezTo>
                  <a:pt x="2446914" y="623874"/>
                  <a:pt x="2443280" y="625951"/>
                  <a:pt x="2443280" y="634257"/>
                </a:cubicBezTo>
                <a:cubicBezTo>
                  <a:pt x="2443799" y="645160"/>
                  <a:pt x="2440165" y="658139"/>
                  <a:pt x="2458855" y="658139"/>
                </a:cubicBezTo>
                <a:cubicBezTo>
                  <a:pt x="2465604" y="658139"/>
                  <a:pt x="2464565" y="665927"/>
                  <a:pt x="2464565" y="671118"/>
                </a:cubicBezTo>
                <a:lnTo>
                  <a:pt x="2464565" y="735104"/>
                </a:lnTo>
                <a:lnTo>
                  <a:pt x="2530525" y="735104"/>
                </a:lnTo>
                <a:lnTo>
                  <a:pt x="2531018" y="546519"/>
                </a:lnTo>
                <a:cubicBezTo>
                  <a:pt x="2531018" y="539770"/>
                  <a:pt x="2528941" y="535617"/>
                  <a:pt x="2521154" y="535617"/>
                </a:cubicBezTo>
                <a:close/>
                <a:moveTo>
                  <a:pt x="8701774" y="534218"/>
                </a:moveTo>
                <a:cubicBezTo>
                  <a:pt x="8696063" y="534218"/>
                  <a:pt x="8688276" y="532660"/>
                  <a:pt x="8688276" y="540967"/>
                </a:cubicBezTo>
                <a:cubicBezTo>
                  <a:pt x="8688276" y="550312"/>
                  <a:pt x="8681527" y="562253"/>
                  <a:pt x="8695025" y="567963"/>
                </a:cubicBezTo>
                <a:cubicBezTo>
                  <a:pt x="8725656" y="580943"/>
                  <a:pt x="8736558" y="605343"/>
                  <a:pt x="8735520" y="637012"/>
                </a:cubicBezTo>
                <a:cubicBezTo>
                  <a:pt x="8735001" y="666604"/>
                  <a:pt x="8733443" y="664008"/>
                  <a:pt x="8760440" y="664008"/>
                </a:cubicBezTo>
                <a:cubicBezTo>
                  <a:pt x="8763036" y="664008"/>
                  <a:pt x="8765112" y="664008"/>
                  <a:pt x="8767189" y="664527"/>
                </a:cubicBezTo>
                <a:cubicBezTo>
                  <a:pt x="8772899" y="665566"/>
                  <a:pt x="8777053" y="667124"/>
                  <a:pt x="8776534" y="675429"/>
                </a:cubicBezTo>
                <a:cubicBezTo>
                  <a:pt x="8774976" y="692043"/>
                  <a:pt x="8776014" y="708136"/>
                  <a:pt x="8776014" y="724750"/>
                </a:cubicBezTo>
                <a:cubicBezTo>
                  <a:pt x="8776014" y="749669"/>
                  <a:pt x="8776014" y="749669"/>
                  <a:pt x="8799896" y="750708"/>
                </a:cubicBezTo>
                <a:cubicBezTo>
                  <a:pt x="8801454" y="750708"/>
                  <a:pt x="8802492" y="751227"/>
                  <a:pt x="8804049" y="751227"/>
                </a:cubicBezTo>
                <a:cubicBezTo>
                  <a:pt x="8812875" y="751746"/>
                  <a:pt x="8822220" y="754861"/>
                  <a:pt x="8822739" y="740324"/>
                </a:cubicBezTo>
                <a:cubicBezTo>
                  <a:pt x="8823777" y="714886"/>
                  <a:pt x="8823777" y="713328"/>
                  <a:pt x="8806645" y="712809"/>
                </a:cubicBezTo>
                <a:cubicBezTo>
                  <a:pt x="8789513" y="711771"/>
                  <a:pt x="8785359" y="708136"/>
                  <a:pt x="8785359" y="691004"/>
                </a:cubicBezTo>
                <a:cubicBezTo>
                  <a:pt x="8785359" y="667124"/>
                  <a:pt x="8785359" y="643761"/>
                  <a:pt x="8785359" y="620399"/>
                </a:cubicBezTo>
                <a:cubicBezTo>
                  <a:pt x="8784840" y="620399"/>
                  <a:pt x="8784840" y="620399"/>
                  <a:pt x="8784840" y="620399"/>
                </a:cubicBezTo>
                <a:cubicBezTo>
                  <a:pt x="8784840" y="596517"/>
                  <a:pt x="8784321" y="572636"/>
                  <a:pt x="8784840" y="548755"/>
                </a:cubicBezTo>
                <a:cubicBezTo>
                  <a:pt x="8785359" y="538371"/>
                  <a:pt x="8782244" y="533698"/>
                  <a:pt x="8770823" y="534218"/>
                </a:cubicBezTo>
                <a:cubicBezTo>
                  <a:pt x="8747980" y="534737"/>
                  <a:pt x="8724618" y="534218"/>
                  <a:pt x="8701774" y="534218"/>
                </a:cubicBezTo>
                <a:close/>
                <a:moveTo>
                  <a:pt x="7932693" y="518578"/>
                </a:moveTo>
                <a:cubicBezTo>
                  <a:pt x="7932693" y="518892"/>
                  <a:pt x="7932378" y="519208"/>
                  <a:pt x="7932378" y="519208"/>
                </a:cubicBezTo>
                <a:cubicBezTo>
                  <a:pt x="7932378" y="519208"/>
                  <a:pt x="7932693" y="519208"/>
                  <a:pt x="7932693" y="519208"/>
                </a:cubicBezTo>
                <a:cubicBezTo>
                  <a:pt x="7932693" y="519208"/>
                  <a:pt x="7932693" y="518892"/>
                  <a:pt x="7932693" y="518578"/>
                </a:cubicBezTo>
                <a:close/>
                <a:moveTo>
                  <a:pt x="7991282" y="518263"/>
                </a:moveTo>
                <a:cubicBezTo>
                  <a:pt x="7991282" y="518578"/>
                  <a:pt x="7991282" y="518578"/>
                  <a:pt x="7991282" y="518892"/>
                </a:cubicBezTo>
                <a:cubicBezTo>
                  <a:pt x="7991282" y="518892"/>
                  <a:pt x="7991597" y="518892"/>
                  <a:pt x="7991597" y="518892"/>
                </a:cubicBezTo>
                <a:cubicBezTo>
                  <a:pt x="7991597" y="518578"/>
                  <a:pt x="7991282" y="518578"/>
                  <a:pt x="7991282" y="518263"/>
                </a:cubicBezTo>
                <a:close/>
                <a:moveTo>
                  <a:pt x="7933323" y="517633"/>
                </a:moveTo>
                <a:cubicBezTo>
                  <a:pt x="7933008" y="517948"/>
                  <a:pt x="7933008" y="517948"/>
                  <a:pt x="7933008" y="518263"/>
                </a:cubicBezTo>
                <a:cubicBezTo>
                  <a:pt x="7933008" y="518263"/>
                  <a:pt x="7933323" y="518263"/>
                  <a:pt x="7933323" y="518263"/>
                </a:cubicBezTo>
                <a:cubicBezTo>
                  <a:pt x="7933323" y="517948"/>
                  <a:pt x="7933323" y="517948"/>
                  <a:pt x="7933323" y="517633"/>
                </a:cubicBezTo>
                <a:close/>
                <a:moveTo>
                  <a:pt x="9995853" y="483450"/>
                </a:moveTo>
                <a:lnTo>
                  <a:pt x="9995853" y="547260"/>
                </a:lnTo>
                <a:lnTo>
                  <a:pt x="10005688" y="548252"/>
                </a:lnTo>
                <a:cubicBezTo>
                  <a:pt x="10042501" y="555784"/>
                  <a:pt x="10070193" y="588356"/>
                  <a:pt x="10070193" y="627396"/>
                </a:cubicBezTo>
                <a:lnTo>
                  <a:pt x="10070193" y="839288"/>
                </a:lnTo>
                <a:lnTo>
                  <a:pt x="10098404" y="839288"/>
                </a:lnTo>
                <a:lnTo>
                  <a:pt x="10098404" y="483450"/>
                </a:lnTo>
                <a:close/>
                <a:moveTo>
                  <a:pt x="9781381" y="483450"/>
                </a:moveTo>
                <a:lnTo>
                  <a:pt x="9781381" y="547123"/>
                </a:lnTo>
                <a:lnTo>
                  <a:pt x="9792075" y="548201"/>
                </a:lnTo>
                <a:cubicBezTo>
                  <a:pt x="9828888" y="555733"/>
                  <a:pt x="9856579" y="588305"/>
                  <a:pt x="9856579" y="627345"/>
                </a:cubicBezTo>
                <a:lnTo>
                  <a:pt x="9856579" y="839288"/>
                </a:lnTo>
                <a:lnTo>
                  <a:pt x="9908622" y="839288"/>
                </a:lnTo>
                <a:lnTo>
                  <a:pt x="9908621" y="627396"/>
                </a:lnTo>
                <a:lnTo>
                  <a:pt x="9908622" y="627394"/>
                </a:lnTo>
                <a:lnTo>
                  <a:pt x="9908622" y="620889"/>
                </a:lnTo>
                <a:lnTo>
                  <a:pt x="9909277" y="620889"/>
                </a:lnTo>
                <a:lnTo>
                  <a:pt x="9910263" y="611115"/>
                </a:lnTo>
                <a:cubicBezTo>
                  <a:pt x="9916854" y="578904"/>
                  <a:pt x="9942616" y="553676"/>
                  <a:pt x="9975107" y="547872"/>
                </a:cubicBezTo>
                <a:lnTo>
                  <a:pt x="9975644" y="547825"/>
                </a:lnTo>
                <a:lnTo>
                  <a:pt x="9975644" y="483450"/>
                </a:lnTo>
                <a:close/>
                <a:moveTo>
                  <a:pt x="4460613" y="410313"/>
                </a:moveTo>
                <a:lnTo>
                  <a:pt x="4460613" y="474688"/>
                </a:lnTo>
                <a:lnTo>
                  <a:pt x="4461150" y="474735"/>
                </a:lnTo>
                <a:cubicBezTo>
                  <a:pt x="4493641" y="480539"/>
                  <a:pt x="4519403" y="505767"/>
                  <a:pt x="4525994" y="537978"/>
                </a:cubicBezTo>
                <a:lnTo>
                  <a:pt x="4526979" y="547752"/>
                </a:lnTo>
                <a:lnTo>
                  <a:pt x="4527635" y="547752"/>
                </a:lnTo>
                <a:lnTo>
                  <a:pt x="4527635" y="554257"/>
                </a:lnTo>
                <a:lnTo>
                  <a:pt x="4527635" y="554259"/>
                </a:lnTo>
                <a:lnTo>
                  <a:pt x="4527635" y="766151"/>
                </a:lnTo>
                <a:lnTo>
                  <a:pt x="4579677" y="766151"/>
                </a:lnTo>
                <a:lnTo>
                  <a:pt x="4579677" y="554208"/>
                </a:lnTo>
                <a:cubicBezTo>
                  <a:pt x="4579677" y="515168"/>
                  <a:pt x="4607369" y="482596"/>
                  <a:pt x="4644181" y="475064"/>
                </a:cubicBezTo>
                <a:lnTo>
                  <a:pt x="4654875" y="473986"/>
                </a:lnTo>
                <a:lnTo>
                  <a:pt x="4654875" y="410313"/>
                </a:lnTo>
                <a:close/>
                <a:moveTo>
                  <a:pt x="4337854" y="410313"/>
                </a:moveTo>
                <a:lnTo>
                  <a:pt x="4337854" y="645080"/>
                </a:lnTo>
                <a:lnTo>
                  <a:pt x="4354002" y="645080"/>
                </a:lnTo>
                <a:lnTo>
                  <a:pt x="4366063" y="645080"/>
                </a:lnTo>
                <a:lnTo>
                  <a:pt x="4366063" y="554259"/>
                </a:lnTo>
                <a:cubicBezTo>
                  <a:pt x="4366063" y="515219"/>
                  <a:pt x="4393756" y="482648"/>
                  <a:pt x="4430568" y="475115"/>
                </a:cubicBezTo>
                <a:lnTo>
                  <a:pt x="4440404" y="474123"/>
                </a:lnTo>
                <a:lnTo>
                  <a:pt x="4440404" y="410313"/>
                </a:lnTo>
                <a:close/>
                <a:moveTo>
                  <a:pt x="2495196" y="386617"/>
                </a:moveTo>
                <a:cubicBezTo>
                  <a:pt x="2483775" y="386098"/>
                  <a:pt x="2480660" y="390771"/>
                  <a:pt x="2481179" y="401154"/>
                </a:cubicBezTo>
                <a:cubicBezTo>
                  <a:pt x="2481698" y="425035"/>
                  <a:pt x="2481179" y="448917"/>
                  <a:pt x="2481179" y="472798"/>
                </a:cubicBezTo>
                <a:cubicBezTo>
                  <a:pt x="2481179" y="472798"/>
                  <a:pt x="2481179" y="472798"/>
                  <a:pt x="2480660" y="472798"/>
                </a:cubicBezTo>
                <a:cubicBezTo>
                  <a:pt x="2480660" y="496160"/>
                  <a:pt x="2480660" y="519523"/>
                  <a:pt x="2480660" y="543404"/>
                </a:cubicBezTo>
                <a:cubicBezTo>
                  <a:pt x="2480660" y="560536"/>
                  <a:pt x="2476506" y="564171"/>
                  <a:pt x="2459374" y="565209"/>
                </a:cubicBezTo>
                <a:cubicBezTo>
                  <a:pt x="2442242" y="565728"/>
                  <a:pt x="2442242" y="567286"/>
                  <a:pt x="2443280" y="592724"/>
                </a:cubicBezTo>
                <a:cubicBezTo>
                  <a:pt x="2443799" y="607261"/>
                  <a:pt x="2453144" y="604146"/>
                  <a:pt x="2461970" y="603627"/>
                </a:cubicBezTo>
                <a:cubicBezTo>
                  <a:pt x="2463527" y="603627"/>
                  <a:pt x="2464565" y="603108"/>
                  <a:pt x="2466123" y="603108"/>
                </a:cubicBezTo>
                <a:cubicBezTo>
                  <a:pt x="2490005" y="602069"/>
                  <a:pt x="2490005" y="602069"/>
                  <a:pt x="2490005" y="577150"/>
                </a:cubicBezTo>
                <a:cubicBezTo>
                  <a:pt x="2490005" y="560536"/>
                  <a:pt x="2491043" y="544443"/>
                  <a:pt x="2489485" y="527829"/>
                </a:cubicBezTo>
                <a:cubicBezTo>
                  <a:pt x="2488966" y="519523"/>
                  <a:pt x="2493120" y="517965"/>
                  <a:pt x="2498830" y="516927"/>
                </a:cubicBezTo>
                <a:cubicBezTo>
                  <a:pt x="2500907" y="516408"/>
                  <a:pt x="2502983" y="516408"/>
                  <a:pt x="2505579" y="516408"/>
                </a:cubicBezTo>
                <a:cubicBezTo>
                  <a:pt x="2532576" y="516408"/>
                  <a:pt x="2531018" y="519003"/>
                  <a:pt x="2530499" y="489411"/>
                </a:cubicBezTo>
                <a:cubicBezTo>
                  <a:pt x="2529461" y="457742"/>
                  <a:pt x="2540363" y="433342"/>
                  <a:pt x="2570994" y="420363"/>
                </a:cubicBezTo>
                <a:cubicBezTo>
                  <a:pt x="2584492" y="414652"/>
                  <a:pt x="2577743" y="402711"/>
                  <a:pt x="2577743" y="393366"/>
                </a:cubicBezTo>
                <a:cubicBezTo>
                  <a:pt x="2577743" y="385060"/>
                  <a:pt x="2569956" y="386617"/>
                  <a:pt x="2564244" y="386617"/>
                </a:cubicBezTo>
                <a:cubicBezTo>
                  <a:pt x="2541401" y="386617"/>
                  <a:pt x="2518039" y="387136"/>
                  <a:pt x="2495196" y="386617"/>
                </a:cubicBezTo>
                <a:close/>
                <a:moveTo>
                  <a:pt x="9258835" y="0"/>
                </a:moveTo>
                <a:lnTo>
                  <a:pt x="9334633" y="0"/>
                </a:lnTo>
                <a:lnTo>
                  <a:pt x="9369417" y="714886"/>
                </a:lnTo>
                <a:lnTo>
                  <a:pt x="9451963" y="716443"/>
                </a:lnTo>
                <a:lnTo>
                  <a:pt x="9451511" y="839288"/>
                </a:lnTo>
                <a:lnTo>
                  <a:pt x="9695008" y="839288"/>
                </a:lnTo>
                <a:lnTo>
                  <a:pt x="9695008" y="627345"/>
                </a:lnTo>
                <a:lnTo>
                  <a:pt x="9695008" y="627342"/>
                </a:lnTo>
                <a:lnTo>
                  <a:pt x="9695008" y="620838"/>
                </a:lnTo>
                <a:lnTo>
                  <a:pt x="9695582" y="620838"/>
                </a:lnTo>
                <a:lnTo>
                  <a:pt x="9696270" y="613044"/>
                </a:lnTo>
                <a:cubicBezTo>
                  <a:pt x="9702073" y="580553"/>
                  <a:pt x="9727301" y="554792"/>
                  <a:pt x="9759513" y="548201"/>
                </a:cubicBezTo>
                <a:lnTo>
                  <a:pt x="9761172" y="548033"/>
                </a:lnTo>
                <a:lnTo>
                  <a:pt x="9761172" y="452927"/>
                </a:lnTo>
                <a:lnTo>
                  <a:pt x="9781381" y="452927"/>
                </a:lnTo>
                <a:lnTo>
                  <a:pt x="9781381" y="453137"/>
                </a:lnTo>
                <a:lnTo>
                  <a:pt x="10098404" y="453137"/>
                </a:lnTo>
                <a:lnTo>
                  <a:pt x="10098404" y="395857"/>
                </a:lnTo>
                <a:lnTo>
                  <a:pt x="10098404" y="395855"/>
                </a:lnTo>
                <a:lnTo>
                  <a:pt x="10098404" y="322646"/>
                </a:lnTo>
                <a:lnTo>
                  <a:pt x="10147724" y="322646"/>
                </a:lnTo>
                <a:lnTo>
                  <a:pt x="10192315" y="322646"/>
                </a:lnTo>
                <a:lnTo>
                  <a:pt x="10192315" y="412796"/>
                </a:lnTo>
                <a:lnTo>
                  <a:pt x="10192315" y="839288"/>
                </a:lnTo>
                <a:lnTo>
                  <a:pt x="10237382" y="839288"/>
                </a:lnTo>
                <a:lnTo>
                  <a:pt x="10237382" y="787976"/>
                </a:lnTo>
                <a:lnTo>
                  <a:pt x="10237382" y="787525"/>
                </a:lnTo>
                <a:lnTo>
                  <a:pt x="10237382" y="786823"/>
                </a:lnTo>
                <a:lnTo>
                  <a:pt x="10293811" y="786823"/>
                </a:lnTo>
                <a:lnTo>
                  <a:pt x="10293811" y="486617"/>
                </a:lnTo>
                <a:lnTo>
                  <a:pt x="10293811" y="486615"/>
                </a:lnTo>
                <a:lnTo>
                  <a:pt x="10293811" y="412796"/>
                </a:lnTo>
                <a:lnTo>
                  <a:pt x="10293812" y="412796"/>
                </a:lnTo>
                <a:lnTo>
                  <a:pt x="10364543" y="412796"/>
                </a:lnTo>
                <a:lnTo>
                  <a:pt x="10435273" y="412796"/>
                </a:lnTo>
                <a:lnTo>
                  <a:pt x="10435273" y="493478"/>
                </a:lnTo>
                <a:lnTo>
                  <a:pt x="10435272" y="493478"/>
                </a:lnTo>
                <a:lnTo>
                  <a:pt x="10435272" y="787653"/>
                </a:lnTo>
                <a:lnTo>
                  <a:pt x="10479889" y="787653"/>
                </a:lnTo>
                <a:lnTo>
                  <a:pt x="10479889" y="834346"/>
                </a:lnTo>
                <a:lnTo>
                  <a:pt x="10479889" y="883894"/>
                </a:lnTo>
                <a:lnTo>
                  <a:pt x="10634153" y="798062"/>
                </a:lnTo>
                <a:lnTo>
                  <a:pt x="10634153" y="890261"/>
                </a:lnTo>
                <a:lnTo>
                  <a:pt x="10799859" y="798062"/>
                </a:lnTo>
                <a:lnTo>
                  <a:pt x="10799859" y="890261"/>
                </a:lnTo>
                <a:lnTo>
                  <a:pt x="10965565" y="798062"/>
                </a:lnTo>
                <a:lnTo>
                  <a:pt x="10965565" y="890261"/>
                </a:lnTo>
                <a:lnTo>
                  <a:pt x="11131272" y="798062"/>
                </a:lnTo>
                <a:lnTo>
                  <a:pt x="11131272" y="894809"/>
                </a:lnTo>
                <a:lnTo>
                  <a:pt x="10965565" y="894809"/>
                </a:lnTo>
                <a:lnTo>
                  <a:pt x="10957391" y="894809"/>
                </a:lnTo>
                <a:lnTo>
                  <a:pt x="10799859" y="894809"/>
                </a:lnTo>
                <a:lnTo>
                  <a:pt x="10791685" y="894809"/>
                </a:lnTo>
                <a:lnTo>
                  <a:pt x="10634153" y="894809"/>
                </a:lnTo>
                <a:lnTo>
                  <a:pt x="10625978" y="894809"/>
                </a:lnTo>
                <a:lnTo>
                  <a:pt x="10479889" y="894809"/>
                </a:lnTo>
                <a:lnTo>
                  <a:pt x="10479889" y="894815"/>
                </a:lnTo>
                <a:lnTo>
                  <a:pt x="11131272" y="894815"/>
                </a:lnTo>
                <a:lnTo>
                  <a:pt x="11131272" y="930426"/>
                </a:lnTo>
                <a:lnTo>
                  <a:pt x="11131272" y="1058032"/>
                </a:lnTo>
                <a:lnTo>
                  <a:pt x="11135416" y="1058032"/>
                </a:lnTo>
                <a:cubicBezTo>
                  <a:pt x="11135416" y="1058032"/>
                  <a:pt x="11135416" y="1058032"/>
                  <a:pt x="11135416" y="475513"/>
                </a:cubicBezTo>
                <a:cubicBezTo>
                  <a:pt x="11135416" y="475513"/>
                  <a:pt x="11135416" y="475513"/>
                  <a:pt x="11317073" y="475513"/>
                </a:cubicBezTo>
                <a:cubicBezTo>
                  <a:pt x="11317073" y="475513"/>
                  <a:pt x="11317073" y="475513"/>
                  <a:pt x="11317073" y="957415"/>
                </a:cubicBezTo>
                <a:cubicBezTo>
                  <a:pt x="11327605" y="928290"/>
                  <a:pt x="11356564" y="864742"/>
                  <a:pt x="11385524" y="864742"/>
                </a:cubicBezTo>
                <a:cubicBezTo>
                  <a:pt x="11427648" y="864742"/>
                  <a:pt x="11467139" y="970654"/>
                  <a:pt x="11467139" y="970654"/>
                </a:cubicBezTo>
                <a:cubicBezTo>
                  <a:pt x="11467139" y="970654"/>
                  <a:pt x="11501364" y="864742"/>
                  <a:pt x="11540855" y="864742"/>
                </a:cubicBezTo>
                <a:cubicBezTo>
                  <a:pt x="11580346" y="864742"/>
                  <a:pt x="11622470" y="970654"/>
                  <a:pt x="11622470" y="970654"/>
                </a:cubicBezTo>
                <a:cubicBezTo>
                  <a:pt x="11622470" y="970654"/>
                  <a:pt x="11656695" y="864742"/>
                  <a:pt x="11696186" y="864742"/>
                </a:cubicBezTo>
                <a:cubicBezTo>
                  <a:pt x="11735677" y="864742"/>
                  <a:pt x="11777800" y="970654"/>
                  <a:pt x="11777800" y="970654"/>
                </a:cubicBezTo>
                <a:cubicBezTo>
                  <a:pt x="11777800" y="970654"/>
                  <a:pt x="11777800" y="970654"/>
                  <a:pt x="11777800" y="994485"/>
                </a:cubicBezTo>
                <a:cubicBezTo>
                  <a:pt x="11777800" y="994485"/>
                  <a:pt x="11777800" y="994485"/>
                  <a:pt x="11851517" y="994485"/>
                </a:cubicBezTo>
                <a:cubicBezTo>
                  <a:pt x="11851517" y="994485"/>
                  <a:pt x="11851517" y="994485"/>
                  <a:pt x="11851517" y="920346"/>
                </a:cubicBezTo>
                <a:cubicBezTo>
                  <a:pt x="11798862" y="909755"/>
                  <a:pt x="11759371" y="862094"/>
                  <a:pt x="11759371" y="806490"/>
                </a:cubicBezTo>
                <a:cubicBezTo>
                  <a:pt x="11759371" y="750886"/>
                  <a:pt x="11798862" y="703225"/>
                  <a:pt x="11851517" y="692634"/>
                </a:cubicBezTo>
                <a:cubicBezTo>
                  <a:pt x="11851517" y="692634"/>
                  <a:pt x="11851517" y="692634"/>
                  <a:pt x="11851517" y="562891"/>
                </a:cubicBezTo>
                <a:cubicBezTo>
                  <a:pt x="11851517" y="562891"/>
                  <a:pt x="11851517" y="562891"/>
                  <a:pt x="11898906" y="562891"/>
                </a:cubicBezTo>
                <a:cubicBezTo>
                  <a:pt x="11898906" y="562891"/>
                  <a:pt x="11898906" y="562891"/>
                  <a:pt x="11898906" y="692634"/>
                </a:cubicBezTo>
                <a:cubicBezTo>
                  <a:pt x="11951560" y="703225"/>
                  <a:pt x="11991051" y="750886"/>
                  <a:pt x="11991051" y="806490"/>
                </a:cubicBezTo>
                <a:cubicBezTo>
                  <a:pt x="11991051" y="864742"/>
                  <a:pt x="11951560" y="909755"/>
                  <a:pt x="11898906" y="920346"/>
                </a:cubicBezTo>
                <a:cubicBezTo>
                  <a:pt x="11898906" y="920346"/>
                  <a:pt x="11898906" y="920346"/>
                  <a:pt x="11898906" y="994485"/>
                </a:cubicBezTo>
                <a:cubicBezTo>
                  <a:pt x="11898906" y="994485"/>
                  <a:pt x="11898906" y="994485"/>
                  <a:pt x="11962091" y="994485"/>
                </a:cubicBezTo>
                <a:cubicBezTo>
                  <a:pt x="11962091" y="994485"/>
                  <a:pt x="11962091" y="994485"/>
                  <a:pt x="11962091" y="917698"/>
                </a:cubicBezTo>
                <a:cubicBezTo>
                  <a:pt x="11962091" y="917698"/>
                  <a:pt x="11962091" y="917698"/>
                  <a:pt x="12041073" y="917698"/>
                </a:cubicBezTo>
                <a:cubicBezTo>
                  <a:pt x="12041073" y="917698"/>
                  <a:pt x="12041073" y="917698"/>
                  <a:pt x="12041073" y="817081"/>
                </a:cubicBezTo>
                <a:cubicBezTo>
                  <a:pt x="12041073" y="817081"/>
                  <a:pt x="12041073" y="817081"/>
                  <a:pt x="12155715" y="817081"/>
                </a:cubicBezTo>
                <a:lnTo>
                  <a:pt x="12200316" y="817081"/>
                </a:lnTo>
                <a:lnTo>
                  <a:pt x="12200316" y="1105184"/>
                </a:lnTo>
                <a:lnTo>
                  <a:pt x="12208559" y="1105184"/>
                </a:lnTo>
                <a:lnTo>
                  <a:pt x="12208559" y="1153840"/>
                </a:lnTo>
                <a:lnTo>
                  <a:pt x="12208559" y="1225322"/>
                </a:lnTo>
                <a:lnTo>
                  <a:pt x="12208633" y="1225322"/>
                </a:lnTo>
                <a:lnTo>
                  <a:pt x="12208633" y="1247932"/>
                </a:lnTo>
                <a:lnTo>
                  <a:pt x="12200316" y="1247932"/>
                </a:lnTo>
                <a:lnTo>
                  <a:pt x="12200316" y="5434893"/>
                </a:lnTo>
                <a:lnTo>
                  <a:pt x="8318" y="5434893"/>
                </a:lnTo>
                <a:lnTo>
                  <a:pt x="8318" y="1247932"/>
                </a:lnTo>
                <a:lnTo>
                  <a:pt x="0" y="1247932"/>
                </a:lnTo>
                <a:lnTo>
                  <a:pt x="0" y="1225322"/>
                </a:lnTo>
                <a:lnTo>
                  <a:pt x="0" y="1063433"/>
                </a:lnTo>
                <a:lnTo>
                  <a:pt x="56578" y="1063433"/>
                </a:lnTo>
                <a:cubicBezTo>
                  <a:pt x="82782" y="1063433"/>
                  <a:pt x="112730" y="1063433"/>
                  <a:pt x="146955" y="1063433"/>
                </a:cubicBezTo>
                <a:cubicBezTo>
                  <a:pt x="146955" y="1063433"/>
                  <a:pt x="146955" y="1063433"/>
                  <a:pt x="146955" y="480915"/>
                </a:cubicBezTo>
                <a:cubicBezTo>
                  <a:pt x="146955" y="480915"/>
                  <a:pt x="146955" y="480915"/>
                  <a:pt x="328613" y="480915"/>
                </a:cubicBezTo>
                <a:cubicBezTo>
                  <a:pt x="328613" y="480915"/>
                  <a:pt x="328613" y="480915"/>
                  <a:pt x="328613" y="962816"/>
                </a:cubicBezTo>
                <a:cubicBezTo>
                  <a:pt x="339144" y="933691"/>
                  <a:pt x="368104" y="870143"/>
                  <a:pt x="397064" y="870143"/>
                </a:cubicBezTo>
                <a:cubicBezTo>
                  <a:pt x="439187" y="870143"/>
                  <a:pt x="478678" y="976055"/>
                  <a:pt x="478678" y="976055"/>
                </a:cubicBezTo>
                <a:cubicBezTo>
                  <a:pt x="478678" y="976055"/>
                  <a:pt x="512903" y="870143"/>
                  <a:pt x="552394" y="870143"/>
                </a:cubicBezTo>
                <a:cubicBezTo>
                  <a:pt x="591885" y="870143"/>
                  <a:pt x="634009" y="976055"/>
                  <a:pt x="634009" y="976055"/>
                </a:cubicBezTo>
                <a:cubicBezTo>
                  <a:pt x="634009" y="976055"/>
                  <a:pt x="668234" y="870143"/>
                  <a:pt x="707725" y="870143"/>
                </a:cubicBezTo>
                <a:cubicBezTo>
                  <a:pt x="747216" y="870143"/>
                  <a:pt x="789340" y="976055"/>
                  <a:pt x="789340" y="976055"/>
                </a:cubicBezTo>
                <a:cubicBezTo>
                  <a:pt x="789340" y="976055"/>
                  <a:pt x="789340" y="976055"/>
                  <a:pt x="789340" y="999886"/>
                </a:cubicBezTo>
                <a:cubicBezTo>
                  <a:pt x="789340" y="999886"/>
                  <a:pt x="789340" y="999886"/>
                  <a:pt x="863056" y="999886"/>
                </a:cubicBezTo>
                <a:cubicBezTo>
                  <a:pt x="863056" y="999886"/>
                  <a:pt x="863056" y="999886"/>
                  <a:pt x="863056" y="925747"/>
                </a:cubicBezTo>
                <a:cubicBezTo>
                  <a:pt x="810402" y="915156"/>
                  <a:pt x="770911" y="867495"/>
                  <a:pt x="770911" y="811891"/>
                </a:cubicBezTo>
                <a:cubicBezTo>
                  <a:pt x="770911" y="756287"/>
                  <a:pt x="810402" y="708626"/>
                  <a:pt x="863056" y="698035"/>
                </a:cubicBezTo>
                <a:cubicBezTo>
                  <a:pt x="863056" y="698035"/>
                  <a:pt x="863056" y="698035"/>
                  <a:pt x="863056" y="568293"/>
                </a:cubicBezTo>
                <a:cubicBezTo>
                  <a:pt x="863056" y="568293"/>
                  <a:pt x="863056" y="568293"/>
                  <a:pt x="910445" y="568293"/>
                </a:cubicBezTo>
                <a:cubicBezTo>
                  <a:pt x="910445" y="568293"/>
                  <a:pt x="910445" y="568293"/>
                  <a:pt x="910445" y="698035"/>
                </a:cubicBezTo>
                <a:cubicBezTo>
                  <a:pt x="963099" y="708626"/>
                  <a:pt x="1002590" y="756287"/>
                  <a:pt x="1002590" y="811891"/>
                </a:cubicBezTo>
                <a:cubicBezTo>
                  <a:pt x="1002590" y="870143"/>
                  <a:pt x="963099" y="915156"/>
                  <a:pt x="910445" y="925747"/>
                </a:cubicBezTo>
                <a:cubicBezTo>
                  <a:pt x="910445" y="925747"/>
                  <a:pt x="910445" y="925747"/>
                  <a:pt x="910445" y="999886"/>
                </a:cubicBezTo>
                <a:cubicBezTo>
                  <a:pt x="910445" y="999886"/>
                  <a:pt x="910445" y="999886"/>
                  <a:pt x="973630" y="999886"/>
                </a:cubicBezTo>
                <a:cubicBezTo>
                  <a:pt x="973630" y="999886"/>
                  <a:pt x="973630" y="999886"/>
                  <a:pt x="973630" y="923099"/>
                </a:cubicBezTo>
                <a:cubicBezTo>
                  <a:pt x="973630" y="923099"/>
                  <a:pt x="973630" y="923099"/>
                  <a:pt x="1052612" y="923099"/>
                </a:cubicBezTo>
                <a:cubicBezTo>
                  <a:pt x="1052612" y="923099"/>
                  <a:pt x="1052612" y="923099"/>
                  <a:pt x="1052612" y="822482"/>
                </a:cubicBezTo>
                <a:cubicBezTo>
                  <a:pt x="1052612" y="822482"/>
                  <a:pt x="1052612" y="822482"/>
                  <a:pt x="1223739" y="822482"/>
                </a:cubicBezTo>
                <a:cubicBezTo>
                  <a:pt x="1223739" y="822482"/>
                  <a:pt x="1223739" y="822482"/>
                  <a:pt x="1223739" y="533871"/>
                </a:cubicBezTo>
                <a:cubicBezTo>
                  <a:pt x="1223739" y="533871"/>
                  <a:pt x="1223739" y="533871"/>
                  <a:pt x="1452786" y="533871"/>
                </a:cubicBezTo>
                <a:cubicBezTo>
                  <a:pt x="1452786" y="533871"/>
                  <a:pt x="1452786" y="533871"/>
                  <a:pt x="1452786" y="827778"/>
                </a:cubicBezTo>
                <a:cubicBezTo>
                  <a:pt x="1452786" y="827778"/>
                  <a:pt x="1452786" y="827778"/>
                  <a:pt x="1687099" y="827778"/>
                </a:cubicBezTo>
                <a:cubicBezTo>
                  <a:pt x="1687099" y="827778"/>
                  <a:pt x="1687099" y="827778"/>
                  <a:pt x="1687099" y="645080"/>
                </a:cubicBezTo>
                <a:cubicBezTo>
                  <a:pt x="1687099" y="645080"/>
                  <a:pt x="1687099" y="645080"/>
                  <a:pt x="1795945" y="645080"/>
                </a:cubicBezTo>
                <a:lnTo>
                  <a:pt x="1814336" y="645080"/>
                </a:lnTo>
                <a:lnTo>
                  <a:pt x="1814055" y="568843"/>
                </a:lnTo>
                <a:lnTo>
                  <a:pt x="1896602" y="567286"/>
                </a:lnTo>
                <a:lnTo>
                  <a:pt x="1917630" y="135119"/>
                </a:lnTo>
                <a:lnTo>
                  <a:pt x="2020520" y="135119"/>
                </a:lnTo>
                <a:lnTo>
                  <a:pt x="2040929" y="567805"/>
                </a:lnTo>
                <a:lnTo>
                  <a:pt x="2085058" y="569362"/>
                </a:lnTo>
                <a:lnTo>
                  <a:pt x="2104692" y="247596"/>
                </a:lnTo>
                <a:lnTo>
                  <a:pt x="2211603" y="247596"/>
                </a:lnTo>
                <a:lnTo>
                  <a:pt x="2230423" y="571958"/>
                </a:lnTo>
                <a:lnTo>
                  <a:pt x="2293761" y="575073"/>
                </a:lnTo>
                <a:cubicBezTo>
                  <a:pt x="2293761" y="543923"/>
                  <a:pt x="2293761" y="512255"/>
                  <a:pt x="2293761" y="481105"/>
                </a:cubicBezTo>
                <a:cubicBezTo>
                  <a:pt x="2293761" y="456704"/>
                  <a:pt x="2303625" y="437495"/>
                  <a:pt x="2325430" y="425035"/>
                </a:cubicBezTo>
                <a:cubicBezTo>
                  <a:pt x="2329064" y="422959"/>
                  <a:pt x="2331660" y="420882"/>
                  <a:pt x="2333736" y="417248"/>
                </a:cubicBezTo>
                <a:cubicBezTo>
                  <a:pt x="2338409" y="408422"/>
                  <a:pt x="2365406" y="405307"/>
                  <a:pt x="2370078" y="413614"/>
                </a:cubicBezTo>
                <a:cubicBezTo>
                  <a:pt x="2374751" y="421920"/>
                  <a:pt x="2382019" y="425035"/>
                  <a:pt x="2388249" y="430227"/>
                </a:cubicBezTo>
                <a:cubicBezTo>
                  <a:pt x="2402785" y="441648"/>
                  <a:pt x="2411611" y="456185"/>
                  <a:pt x="2411611" y="474355"/>
                </a:cubicBezTo>
                <a:cubicBezTo>
                  <a:pt x="2411611" y="487335"/>
                  <a:pt x="2416802" y="490969"/>
                  <a:pt x="2428224" y="489411"/>
                </a:cubicBezTo>
                <a:cubicBezTo>
                  <a:pt x="2439646" y="487854"/>
                  <a:pt x="2444318" y="494084"/>
                  <a:pt x="2443799" y="504986"/>
                </a:cubicBezTo>
                <a:cubicBezTo>
                  <a:pt x="2443280" y="513293"/>
                  <a:pt x="2443799" y="521599"/>
                  <a:pt x="2443799" y="530425"/>
                </a:cubicBezTo>
                <a:cubicBezTo>
                  <a:pt x="2443799" y="534059"/>
                  <a:pt x="2443280" y="538213"/>
                  <a:pt x="2448472" y="538732"/>
                </a:cubicBezTo>
                <a:cubicBezTo>
                  <a:pt x="2454182" y="539251"/>
                  <a:pt x="2454182" y="534059"/>
                  <a:pt x="2454182" y="529906"/>
                </a:cubicBezTo>
                <a:cubicBezTo>
                  <a:pt x="2454702" y="516408"/>
                  <a:pt x="2455740" y="502390"/>
                  <a:pt x="2455740" y="488892"/>
                </a:cubicBezTo>
                <a:cubicBezTo>
                  <a:pt x="2456259" y="452551"/>
                  <a:pt x="2456259" y="416209"/>
                  <a:pt x="2455740" y="379868"/>
                </a:cubicBezTo>
                <a:cubicBezTo>
                  <a:pt x="2455740" y="368966"/>
                  <a:pt x="2459374" y="361697"/>
                  <a:pt x="2471834" y="361697"/>
                </a:cubicBezTo>
                <a:cubicBezTo>
                  <a:pt x="2511290" y="361697"/>
                  <a:pt x="2550746" y="361697"/>
                  <a:pt x="2590203" y="361697"/>
                </a:cubicBezTo>
                <a:cubicBezTo>
                  <a:pt x="2600067" y="361697"/>
                  <a:pt x="2604739" y="366889"/>
                  <a:pt x="2604220" y="376753"/>
                </a:cubicBezTo>
                <a:cubicBezTo>
                  <a:pt x="2604220" y="386098"/>
                  <a:pt x="2604739" y="395443"/>
                  <a:pt x="2603701" y="404788"/>
                </a:cubicBezTo>
                <a:cubicBezTo>
                  <a:pt x="2602662" y="415171"/>
                  <a:pt x="2606297" y="420882"/>
                  <a:pt x="2616161" y="425035"/>
                </a:cubicBezTo>
                <a:cubicBezTo>
                  <a:pt x="2637965" y="434899"/>
                  <a:pt x="2648349" y="453070"/>
                  <a:pt x="2648868" y="476951"/>
                </a:cubicBezTo>
                <a:cubicBezTo>
                  <a:pt x="2648868" y="493565"/>
                  <a:pt x="2648868" y="510697"/>
                  <a:pt x="2648868" y="527310"/>
                </a:cubicBezTo>
                <a:cubicBezTo>
                  <a:pt x="2648868" y="542106"/>
                  <a:pt x="2648090" y="548596"/>
                  <a:pt x="2651010" y="551386"/>
                </a:cubicBezTo>
                <a:lnTo>
                  <a:pt x="2661207" y="552175"/>
                </a:lnTo>
                <a:lnTo>
                  <a:pt x="2661207" y="497877"/>
                </a:lnTo>
                <a:cubicBezTo>
                  <a:pt x="2661207" y="443514"/>
                  <a:pt x="2661207" y="371030"/>
                  <a:pt x="2661207" y="274385"/>
                </a:cubicBezTo>
                <a:cubicBezTo>
                  <a:pt x="2661207" y="274385"/>
                  <a:pt x="2661207" y="274385"/>
                  <a:pt x="2916581" y="274385"/>
                </a:cubicBezTo>
                <a:cubicBezTo>
                  <a:pt x="2916581" y="274385"/>
                  <a:pt x="2916581" y="274385"/>
                  <a:pt x="2916581" y="623897"/>
                </a:cubicBezTo>
                <a:cubicBezTo>
                  <a:pt x="2916581" y="623897"/>
                  <a:pt x="2916581" y="623897"/>
                  <a:pt x="3103505" y="623897"/>
                </a:cubicBezTo>
                <a:cubicBezTo>
                  <a:pt x="3103505" y="623897"/>
                  <a:pt x="3103505" y="623897"/>
                  <a:pt x="3103505" y="938986"/>
                </a:cubicBezTo>
                <a:cubicBezTo>
                  <a:pt x="3103505" y="938986"/>
                  <a:pt x="3103505" y="938986"/>
                  <a:pt x="3253570" y="938986"/>
                </a:cubicBezTo>
                <a:cubicBezTo>
                  <a:pt x="3253570" y="938986"/>
                  <a:pt x="3253570" y="938986"/>
                  <a:pt x="3253570" y="833074"/>
                </a:cubicBezTo>
                <a:cubicBezTo>
                  <a:pt x="3253570" y="833074"/>
                  <a:pt x="3253570" y="833074"/>
                  <a:pt x="3458923" y="833074"/>
                </a:cubicBezTo>
                <a:cubicBezTo>
                  <a:pt x="3458923" y="833074"/>
                  <a:pt x="3458923" y="833074"/>
                  <a:pt x="3458923" y="449141"/>
                </a:cubicBezTo>
                <a:cubicBezTo>
                  <a:pt x="3458923" y="449141"/>
                  <a:pt x="3458923" y="449141"/>
                  <a:pt x="3619519" y="449141"/>
                </a:cubicBezTo>
                <a:cubicBezTo>
                  <a:pt x="3619519" y="449141"/>
                  <a:pt x="3619519" y="449141"/>
                  <a:pt x="3619519" y="822482"/>
                </a:cubicBezTo>
                <a:cubicBezTo>
                  <a:pt x="3619519" y="822482"/>
                  <a:pt x="3619519" y="822482"/>
                  <a:pt x="3716929" y="822482"/>
                </a:cubicBezTo>
                <a:cubicBezTo>
                  <a:pt x="3716929" y="822482"/>
                  <a:pt x="3716929" y="822482"/>
                  <a:pt x="3716929" y="533871"/>
                </a:cubicBezTo>
                <a:cubicBezTo>
                  <a:pt x="3716929" y="533871"/>
                  <a:pt x="3716929" y="533871"/>
                  <a:pt x="3948609" y="533871"/>
                </a:cubicBezTo>
                <a:cubicBezTo>
                  <a:pt x="3948609" y="533871"/>
                  <a:pt x="3948609" y="533871"/>
                  <a:pt x="3948609" y="827778"/>
                </a:cubicBezTo>
                <a:cubicBezTo>
                  <a:pt x="3948609" y="827778"/>
                  <a:pt x="3948609" y="827778"/>
                  <a:pt x="3952270" y="827778"/>
                </a:cubicBezTo>
                <a:lnTo>
                  <a:pt x="3956368" y="827778"/>
                </a:lnTo>
                <a:lnTo>
                  <a:pt x="3956368" y="761209"/>
                </a:lnTo>
                <a:lnTo>
                  <a:pt x="3956368" y="714516"/>
                </a:lnTo>
                <a:lnTo>
                  <a:pt x="4000985" y="714516"/>
                </a:lnTo>
                <a:lnTo>
                  <a:pt x="4000985" y="420341"/>
                </a:lnTo>
                <a:lnTo>
                  <a:pt x="4000984" y="420341"/>
                </a:lnTo>
                <a:lnTo>
                  <a:pt x="4000984" y="339659"/>
                </a:lnTo>
                <a:lnTo>
                  <a:pt x="4071715" y="339659"/>
                </a:lnTo>
                <a:lnTo>
                  <a:pt x="4142446" y="339659"/>
                </a:lnTo>
                <a:lnTo>
                  <a:pt x="4142446" y="413478"/>
                </a:lnTo>
                <a:lnTo>
                  <a:pt x="4142446" y="413480"/>
                </a:lnTo>
                <a:lnTo>
                  <a:pt x="4142446" y="713686"/>
                </a:lnTo>
                <a:lnTo>
                  <a:pt x="4182921" y="713686"/>
                </a:lnTo>
                <a:lnTo>
                  <a:pt x="4182921" y="705384"/>
                </a:lnTo>
                <a:cubicBezTo>
                  <a:pt x="4182921" y="687899"/>
                  <a:pt x="4182921" y="667917"/>
                  <a:pt x="4182921" y="645080"/>
                </a:cubicBezTo>
                <a:cubicBezTo>
                  <a:pt x="4182921" y="645080"/>
                  <a:pt x="4182921" y="645080"/>
                  <a:pt x="4214842" y="645080"/>
                </a:cubicBezTo>
                <a:lnTo>
                  <a:pt x="4243942" y="645080"/>
                </a:lnTo>
                <a:lnTo>
                  <a:pt x="4243942" y="339659"/>
                </a:lnTo>
                <a:lnTo>
                  <a:pt x="4243942" y="249509"/>
                </a:lnTo>
                <a:lnTo>
                  <a:pt x="4288534" y="249509"/>
                </a:lnTo>
                <a:lnTo>
                  <a:pt x="4337854" y="249509"/>
                </a:lnTo>
                <a:lnTo>
                  <a:pt x="4337854" y="322718"/>
                </a:lnTo>
                <a:lnTo>
                  <a:pt x="4337854" y="322720"/>
                </a:lnTo>
                <a:lnTo>
                  <a:pt x="4337854" y="380000"/>
                </a:lnTo>
                <a:lnTo>
                  <a:pt x="4654875" y="380000"/>
                </a:lnTo>
                <a:lnTo>
                  <a:pt x="4654875" y="379790"/>
                </a:lnTo>
                <a:lnTo>
                  <a:pt x="4675084" y="379790"/>
                </a:lnTo>
                <a:lnTo>
                  <a:pt x="4675084" y="474896"/>
                </a:lnTo>
                <a:lnTo>
                  <a:pt x="4676745" y="475064"/>
                </a:lnTo>
                <a:cubicBezTo>
                  <a:pt x="4708955" y="481655"/>
                  <a:pt x="4734183" y="507417"/>
                  <a:pt x="4739988" y="539907"/>
                </a:cubicBezTo>
                <a:lnTo>
                  <a:pt x="4740674" y="547701"/>
                </a:lnTo>
                <a:lnTo>
                  <a:pt x="4741248" y="547701"/>
                </a:lnTo>
                <a:lnTo>
                  <a:pt x="4741248" y="554205"/>
                </a:lnTo>
                <a:lnTo>
                  <a:pt x="4741248" y="554208"/>
                </a:lnTo>
                <a:lnTo>
                  <a:pt x="4741248" y="739927"/>
                </a:lnTo>
                <a:lnTo>
                  <a:pt x="4764753" y="740400"/>
                </a:lnTo>
                <a:cubicBezTo>
                  <a:pt x="4764753" y="740400"/>
                  <a:pt x="4764753" y="740400"/>
                  <a:pt x="4764753" y="666262"/>
                </a:cubicBezTo>
                <a:cubicBezTo>
                  <a:pt x="4764753" y="666262"/>
                  <a:pt x="4764753" y="666262"/>
                  <a:pt x="4899024" y="666262"/>
                </a:cubicBezTo>
                <a:cubicBezTo>
                  <a:pt x="4899024" y="666262"/>
                  <a:pt x="4899024" y="666262"/>
                  <a:pt x="4899024" y="735104"/>
                </a:cubicBezTo>
                <a:cubicBezTo>
                  <a:pt x="4899024" y="735104"/>
                  <a:pt x="4899024" y="735104"/>
                  <a:pt x="5028026" y="735104"/>
                </a:cubicBezTo>
                <a:cubicBezTo>
                  <a:pt x="5028026" y="735104"/>
                  <a:pt x="5028026" y="735104"/>
                  <a:pt x="5028026" y="658319"/>
                </a:cubicBezTo>
                <a:cubicBezTo>
                  <a:pt x="5028026" y="658319"/>
                  <a:pt x="5028026" y="658319"/>
                  <a:pt x="5154397" y="660966"/>
                </a:cubicBezTo>
                <a:cubicBezTo>
                  <a:pt x="5154397" y="660966"/>
                  <a:pt x="5154397" y="660966"/>
                  <a:pt x="5154397" y="369707"/>
                </a:cubicBezTo>
                <a:cubicBezTo>
                  <a:pt x="5154397" y="369707"/>
                  <a:pt x="5154397" y="369707"/>
                  <a:pt x="5409771" y="369707"/>
                </a:cubicBezTo>
                <a:cubicBezTo>
                  <a:pt x="5409771" y="369707"/>
                  <a:pt x="5409771" y="369707"/>
                  <a:pt x="5409771" y="623897"/>
                </a:cubicBezTo>
                <a:cubicBezTo>
                  <a:pt x="5409771" y="623897"/>
                  <a:pt x="5409771" y="623897"/>
                  <a:pt x="5599327" y="623897"/>
                </a:cubicBezTo>
                <a:cubicBezTo>
                  <a:pt x="5599327" y="623897"/>
                  <a:pt x="5599327" y="623897"/>
                  <a:pt x="5599327" y="681817"/>
                </a:cubicBezTo>
                <a:lnTo>
                  <a:pt x="5599327" y="692743"/>
                </a:lnTo>
                <a:lnTo>
                  <a:pt x="5628967" y="692743"/>
                </a:lnTo>
                <a:lnTo>
                  <a:pt x="5628967" y="672950"/>
                </a:lnTo>
                <a:lnTo>
                  <a:pt x="5794767" y="672950"/>
                </a:lnTo>
                <a:lnTo>
                  <a:pt x="5794803" y="672943"/>
                </a:lnTo>
                <a:lnTo>
                  <a:pt x="5792189" y="672943"/>
                </a:lnTo>
                <a:lnTo>
                  <a:pt x="5784518" y="672943"/>
                </a:lnTo>
                <a:lnTo>
                  <a:pt x="5628967" y="672943"/>
                </a:lnTo>
                <a:lnTo>
                  <a:pt x="5792189" y="576196"/>
                </a:lnTo>
                <a:lnTo>
                  <a:pt x="5792189" y="668395"/>
                </a:lnTo>
                <a:lnTo>
                  <a:pt x="5947738" y="576196"/>
                </a:lnTo>
                <a:lnTo>
                  <a:pt x="5947738" y="668395"/>
                </a:lnTo>
                <a:lnTo>
                  <a:pt x="6103287" y="576196"/>
                </a:lnTo>
                <a:lnTo>
                  <a:pt x="6103287" y="668395"/>
                </a:lnTo>
                <a:lnTo>
                  <a:pt x="6258836" y="576196"/>
                </a:lnTo>
                <a:lnTo>
                  <a:pt x="6258836" y="672943"/>
                </a:lnTo>
                <a:lnTo>
                  <a:pt x="6154820" y="672943"/>
                </a:lnTo>
                <a:lnTo>
                  <a:pt x="6154820" y="672950"/>
                </a:lnTo>
                <a:lnTo>
                  <a:pt x="6258836" y="672950"/>
                </a:lnTo>
                <a:lnTo>
                  <a:pt x="6258836" y="708560"/>
                </a:lnTo>
                <a:lnTo>
                  <a:pt x="6258836" y="726328"/>
                </a:lnTo>
                <a:lnTo>
                  <a:pt x="6349534" y="726328"/>
                </a:lnTo>
                <a:cubicBezTo>
                  <a:pt x="6354193" y="726328"/>
                  <a:pt x="6354387" y="726134"/>
                  <a:pt x="6354387" y="721669"/>
                </a:cubicBezTo>
                <a:cubicBezTo>
                  <a:pt x="6354387" y="698761"/>
                  <a:pt x="6354387" y="676048"/>
                  <a:pt x="6354387" y="653142"/>
                </a:cubicBezTo>
                <a:cubicBezTo>
                  <a:pt x="6354387" y="651200"/>
                  <a:pt x="6354193" y="649647"/>
                  <a:pt x="6351863" y="648482"/>
                </a:cubicBezTo>
                <a:cubicBezTo>
                  <a:pt x="6348369" y="646735"/>
                  <a:pt x="6348563" y="644018"/>
                  <a:pt x="6352251" y="641882"/>
                </a:cubicBezTo>
                <a:cubicBezTo>
                  <a:pt x="6353999" y="640911"/>
                  <a:pt x="6354581" y="639941"/>
                  <a:pt x="6354581" y="638194"/>
                </a:cubicBezTo>
                <a:cubicBezTo>
                  <a:pt x="6354581" y="622081"/>
                  <a:pt x="6354581" y="605967"/>
                  <a:pt x="6354581" y="589854"/>
                </a:cubicBezTo>
                <a:cubicBezTo>
                  <a:pt x="6354581" y="587719"/>
                  <a:pt x="6353610" y="586554"/>
                  <a:pt x="6351863" y="585584"/>
                </a:cubicBezTo>
                <a:cubicBezTo>
                  <a:pt x="6348757" y="583836"/>
                  <a:pt x="6348757" y="581507"/>
                  <a:pt x="6351863" y="579954"/>
                </a:cubicBezTo>
                <a:cubicBezTo>
                  <a:pt x="6354581" y="578595"/>
                  <a:pt x="6354581" y="576848"/>
                  <a:pt x="6354581" y="574712"/>
                </a:cubicBezTo>
                <a:cubicBezTo>
                  <a:pt x="6354581" y="559182"/>
                  <a:pt x="6354581" y="543651"/>
                  <a:pt x="6354581" y="528121"/>
                </a:cubicBezTo>
                <a:cubicBezTo>
                  <a:pt x="6354581" y="525792"/>
                  <a:pt x="6354387" y="524238"/>
                  <a:pt x="6351669" y="522879"/>
                </a:cubicBezTo>
                <a:cubicBezTo>
                  <a:pt x="6348369" y="521326"/>
                  <a:pt x="6348563" y="518026"/>
                  <a:pt x="6351863" y="516473"/>
                </a:cubicBezTo>
                <a:cubicBezTo>
                  <a:pt x="6354193" y="515308"/>
                  <a:pt x="6354387" y="513755"/>
                  <a:pt x="6354387" y="511814"/>
                </a:cubicBezTo>
                <a:cubicBezTo>
                  <a:pt x="6354387" y="496672"/>
                  <a:pt x="6354387" y="481335"/>
                  <a:pt x="6354387" y="465999"/>
                </a:cubicBezTo>
                <a:cubicBezTo>
                  <a:pt x="6354387" y="463864"/>
                  <a:pt x="6353999" y="462311"/>
                  <a:pt x="6351475" y="460952"/>
                </a:cubicBezTo>
                <a:cubicBezTo>
                  <a:pt x="6348369" y="459399"/>
                  <a:pt x="6348563" y="456293"/>
                  <a:pt x="6351863" y="454545"/>
                </a:cubicBezTo>
                <a:cubicBezTo>
                  <a:pt x="6353999" y="453575"/>
                  <a:pt x="6354387" y="452410"/>
                  <a:pt x="6354387" y="450469"/>
                </a:cubicBezTo>
                <a:cubicBezTo>
                  <a:pt x="6354387" y="434356"/>
                  <a:pt x="6354387" y="418243"/>
                  <a:pt x="6354387" y="402130"/>
                </a:cubicBezTo>
                <a:cubicBezTo>
                  <a:pt x="6354387" y="400189"/>
                  <a:pt x="6353805" y="399218"/>
                  <a:pt x="6351863" y="398054"/>
                </a:cubicBezTo>
                <a:cubicBezTo>
                  <a:pt x="6348369" y="396112"/>
                  <a:pt x="6348369" y="393394"/>
                  <a:pt x="6352057" y="391453"/>
                </a:cubicBezTo>
                <a:cubicBezTo>
                  <a:pt x="6354193" y="390288"/>
                  <a:pt x="6354387" y="388929"/>
                  <a:pt x="6354387" y="387182"/>
                </a:cubicBezTo>
                <a:cubicBezTo>
                  <a:pt x="6354387" y="371652"/>
                  <a:pt x="6354387" y="356121"/>
                  <a:pt x="6354387" y="340591"/>
                </a:cubicBezTo>
                <a:cubicBezTo>
                  <a:pt x="6354387" y="338650"/>
                  <a:pt x="6354193" y="337096"/>
                  <a:pt x="6351863" y="335932"/>
                </a:cubicBezTo>
                <a:cubicBezTo>
                  <a:pt x="6348369" y="334185"/>
                  <a:pt x="6348563" y="331467"/>
                  <a:pt x="6352251" y="329331"/>
                </a:cubicBezTo>
                <a:cubicBezTo>
                  <a:pt x="6353999" y="328361"/>
                  <a:pt x="6354581" y="327390"/>
                  <a:pt x="6354581" y="325643"/>
                </a:cubicBezTo>
                <a:cubicBezTo>
                  <a:pt x="6354581" y="309530"/>
                  <a:pt x="6354581" y="293417"/>
                  <a:pt x="6354581" y="277304"/>
                </a:cubicBezTo>
                <a:cubicBezTo>
                  <a:pt x="6354581" y="275363"/>
                  <a:pt x="6353999" y="273810"/>
                  <a:pt x="6351863" y="273227"/>
                </a:cubicBezTo>
                <a:cubicBezTo>
                  <a:pt x="6349922" y="272645"/>
                  <a:pt x="6349534" y="271286"/>
                  <a:pt x="6349922" y="269539"/>
                </a:cubicBezTo>
                <a:cubicBezTo>
                  <a:pt x="6350310" y="267792"/>
                  <a:pt x="6351863" y="267209"/>
                  <a:pt x="6353610" y="267209"/>
                </a:cubicBezTo>
                <a:cubicBezTo>
                  <a:pt x="6354775" y="267209"/>
                  <a:pt x="6356134" y="267209"/>
                  <a:pt x="6357299" y="267209"/>
                </a:cubicBezTo>
                <a:cubicBezTo>
                  <a:pt x="6380206" y="267209"/>
                  <a:pt x="6403308" y="267209"/>
                  <a:pt x="6426409" y="267209"/>
                </a:cubicBezTo>
                <a:cubicBezTo>
                  <a:pt x="6427768" y="267209"/>
                  <a:pt x="6429321" y="267015"/>
                  <a:pt x="6430680" y="267209"/>
                </a:cubicBezTo>
                <a:cubicBezTo>
                  <a:pt x="6433010" y="267404"/>
                  <a:pt x="6433980" y="268568"/>
                  <a:pt x="6433980" y="270704"/>
                </a:cubicBezTo>
                <a:cubicBezTo>
                  <a:pt x="6433786" y="272839"/>
                  <a:pt x="6432233" y="273033"/>
                  <a:pt x="6430486" y="273033"/>
                </a:cubicBezTo>
                <a:cubicBezTo>
                  <a:pt x="6429515" y="273033"/>
                  <a:pt x="6428739" y="273033"/>
                  <a:pt x="6427962" y="273033"/>
                </a:cubicBezTo>
                <a:cubicBezTo>
                  <a:pt x="6427962" y="273422"/>
                  <a:pt x="6427768" y="273810"/>
                  <a:pt x="6427768" y="274198"/>
                </a:cubicBezTo>
                <a:cubicBezTo>
                  <a:pt x="6427768" y="292641"/>
                  <a:pt x="6427768" y="310889"/>
                  <a:pt x="6427768" y="329137"/>
                </a:cubicBezTo>
                <a:cubicBezTo>
                  <a:pt x="6428933" y="329331"/>
                  <a:pt x="6429904" y="329137"/>
                  <a:pt x="6430874" y="329331"/>
                </a:cubicBezTo>
                <a:cubicBezTo>
                  <a:pt x="6432622" y="329525"/>
                  <a:pt x="6433786" y="330690"/>
                  <a:pt x="6433786" y="332438"/>
                </a:cubicBezTo>
                <a:cubicBezTo>
                  <a:pt x="6433980" y="334379"/>
                  <a:pt x="6433010" y="335737"/>
                  <a:pt x="6430874" y="336126"/>
                </a:cubicBezTo>
                <a:cubicBezTo>
                  <a:pt x="6429710" y="336320"/>
                  <a:pt x="6428739" y="336320"/>
                  <a:pt x="6427768" y="336320"/>
                </a:cubicBezTo>
                <a:cubicBezTo>
                  <a:pt x="6427768" y="354763"/>
                  <a:pt x="6427768" y="373011"/>
                  <a:pt x="6427768" y="391259"/>
                </a:cubicBezTo>
                <a:cubicBezTo>
                  <a:pt x="6428933" y="391259"/>
                  <a:pt x="6429904" y="391259"/>
                  <a:pt x="6430874" y="391453"/>
                </a:cubicBezTo>
                <a:cubicBezTo>
                  <a:pt x="6433010" y="391647"/>
                  <a:pt x="6433786" y="393006"/>
                  <a:pt x="6433786" y="395142"/>
                </a:cubicBezTo>
                <a:cubicBezTo>
                  <a:pt x="6433786" y="396889"/>
                  <a:pt x="6432816" y="398054"/>
                  <a:pt x="6430874" y="398248"/>
                </a:cubicBezTo>
                <a:cubicBezTo>
                  <a:pt x="6429710" y="398248"/>
                  <a:pt x="6428739" y="398248"/>
                  <a:pt x="6427768" y="398248"/>
                </a:cubicBezTo>
                <a:cubicBezTo>
                  <a:pt x="6427768" y="417078"/>
                  <a:pt x="6427768" y="435715"/>
                  <a:pt x="6427768" y="454351"/>
                </a:cubicBezTo>
                <a:cubicBezTo>
                  <a:pt x="6428933" y="454545"/>
                  <a:pt x="6429904" y="454351"/>
                  <a:pt x="6430874" y="454545"/>
                </a:cubicBezTo>
                <a:cubicBezTo>
                  <a:pt x="6432622" y="454740"/>
                  <a:pt x="6433786" y="455904"/>
                  <a:pt x="6433786" y="457652"/>
                </a:cubicBezTo>
                <a:cubicBezTo>
                  <a:pt x="6433980" y="459593"/>
                  <a:pt x="6433010" y="460952"/>
                  <a:pt x="6430874" y="461340"/>
                </a:cubicBezTo>
                <a:cubicBezTo>
                  <a:pt x="6429710" y="461534"/>
                  <a:pt x="6428739" y="461534"/>
                  <a:pt x="6427768" y="461534"/>
                </a:cubicBezTo>
                <a:cubicBezTo>
                  <a:pt x="6427574" y="461534"/>
                  <a:pt x="6427574" y="461534"/>
                  <a:pt x="6427574" y="461534"/>
                </a:cubicBezTo>
                <a:cubicBezTo>
                  <a:pt x="6427574" y="461728"/>
                  <a:pt x="6427574" y="461728"/>
                  <a:pt x="6427574" y="461728"/>
                </a:cubicBezTo>
                <a:lnTo>
                  <a:pt x="6427768" y="461728"/>
                </a:lnTo>
                <a:cubicBezTo>
                  <a:pt x="6427768" y="480171"/>
                  <a:pt x="6427768" y="498419"/>
                  <a:pt x="6427768" y="516667"/>
                </a:cubicBezTo>
                <a:cubicBezTo>
                  <a:pt x="6428933" y="516861"/>
                  <a:pt x="6429904" y="516667"/>
                  <a:pt x="6430874" y="516861"/>
                </a:cubicBezTo>
                <a:cubicBezTo>
                  <a:pt x="6433010" y="517055"/>
                  <a:pt x="6433980" y="518608"/>
                  <a:pt x="6433786" y="520550"/>
                </a:cubicBezTo>
                <a:cubicBezTo>
                  <a:pt x="6433786" y="522297"/>
                  <a:pt x="6432816" y="523462"/>
                  <a:pt x="6430874" y="523656"/>
                </a:cubicBezTo>
                <a:cubicBezTo>
                  <a:pt x="6429710" y="523850"/>
                  <a:pt x="6428739" y="523850"/>
                  <a:pt x="6427768" y="523850"/>
                </a:cubicBezTo>
                <a:cubicBezTo>
                  <a:pt x="6427768" y="542681"/>
                  <a:pt x="6427768" y="561317"/>
                  <a:pt x="6427768" y="579954"/>
                </a:cubicBezTo>
                <a:cubicBezTo>
                  <a:pt x="6429127" y="579954"/>
                  <a:pt x="6430292" y="579954"/>
                  <a:pt x="6431457" y="580148"/>
                </a:cubicBezTo>
                <a:cubicBezTo>
                  <a:pt x="6433010" y="580536"/>
                  <a:pt x="6433786" y="581701"/>
                  <a:pt x="6433786" y="583254"/>
                </a:cubicBezTo>
                <a:cubicBezTo>
                  <a:pt x="6433786" y="585001"/>
                  <a:pt x="6433010" y="585778"/>
                  <a:pt x="6431263" y="585972"/>
                </a:cubicBezTo>
                <a:cubicBezTo>
                  <a:pt x="6430098" y="586166"/>
                  <a:pt x="6428933" y="586749"/>
                  <a:pt x="6427768" y="587137"/>
                </a:cubicBezTo>
                <a:cubicBezTo>
                  <a:pt x="6427768" y="605580"/>
                  <a:pt x="6427768" y="623828"/>
                  <a:pt x="6427768" y="642076"/>
                </a:cubicBezTo>
                <a:cubicBezTo>
                  <a:pt x="6428933" y="642270"/>
                  <a:pt x="6429904" y="642076"/>
                  <a:pt x="6430874" y="642270"/>
                </a:cubicBezTo>
                <a:cubicBezTo>
                  <a:pt x="6433010" y="642465"/>
                  <a:pt x="6433980" y="643823"/>
                  <a:pt x="6433786" y="645959"/>
                </a:cubicBezTo>
                <a:cubicBezTo>
                  <a:pt x="6433786" y="647706"/>
                  <a:pt x="6432816" y="648871"/>
                  <a:pt x="6430874" y="649065"/>
                </a:cubicBezTo>
                <a:cubicBezTo>
                  <a:pt x="6429710" y="649259"/>
                  <a:pt x="6428739" y="649259"/>
                  <a:pt x="6427768" y="649259"/>
                </a:cubicBezTo>
                <a:cubicBezTo>
                  <a:pt x="6427768" y="675272"/>
                  <a:pt x="6427768" y="701479"/>
                  <a:pt x="6427768" y="727687"/>
                </a:cubicBezTo>
                <a:cubicBezTo>
                  <a:pt x="6435339" y="727687"/>
                  <a:pt x="6443105" y="727881"/>
                  <a:pt x="6450870" y="727881"/>
                </a:cubicBezTo>
                <a:cubicBezTo>
                  <a:pt x="6473583" y="727881"/>
                  <a:pt x="6496490" y="727687"/>
                  <a:pt x="6519204" y="727687"/>
                </a:cubicBezTo>
                <a:cubicBezTo>
                  <a:pt x="6519204" y="714680"/>
                  <a:pt x="6519398" y="701479"/>
                  <a:pt x="6519398" y="688473"/>
                </a:cubicBezTo>
                <a:cubicBezTo>
                  <a:pt x="6519398" y="675466"/>
                  <a:pt x="6519398" y="662266"/>
                  <a:pt x="6519398" y="649259"/>
                </a:cubicBezTo>
                <a:cubicBezTo>
                  <a:pt x="6518427" y="649259"/>
                  <a:pt x="6517651" y="649259"/>
                  <a:pt x="6516874" y="649259"/>
                </a:cubicBezTo>
                <a:cubicBezTo>
                  <a:pt x="6514545" y="649259"/>
                  <a:pt x="6513186" y="647900"/>
                  <a:pt x="6513186" y="645570"/>
                </a:cubicBezTo>
                <a:cubicBezTo>
                  <a:pt x="6513186" y="643435"/>
                  <a:pt x="6514545" y="642465"/>
                  <a:pt x="6516680" y="642270"/>
                </a:cubicBezTo>
                <a:cubicBezTo>
                  <a:pt x="6517651" y="642270"/>
                  <a:pt x="6518427" y="642270"/>
                  <a:pt x="6519204" y="642270"/>
                </a:cubicBezTo>
                <a:cubicBezTo>
                  <a:pt x="6519204" y="623440"/>
                  <a:pt x="6519204" y="604803"/>
                  <a:pt x="6519204" y="586166"/>
                </a:cubicBezTo>
                <a:cubicBezTo>
                  <a:pt x="6518815" y="586166"/>
                  <a:pt x="6518427" y="586166"/>
                  <a:pt x="6518039" y="586166"/>
                </a:cubicBezTo>
                <a:cubicBezTo>
                  <a:pt x="6515904" y="586166"/>
                  <a:pt x="6513768" y="585972"/>
                  <a:pt x="6513574" y="583448"/>
                </a:cubicBezTo>
                <a:cubicBezTo>
                  <a:pt x="6513186" y="580342"/>
                  <a:pt x="6515709" y="580148"/>
                  <a:pt x="6518039" y="580148"/>
                </a:cubicBezTo>
                <a:cubicBezTo>
                  <a:pt x="6518427" y="580148"/>
                  <a:pt x="6518815" y="580148"/>
                  <a:pt x="6519204" y="580148"/>
                </a:cubicBezTo>
                <a:cubicBezTo>
                  <a:pt x="6519204" y="561317"/>
                  <a:pt x="6519204" y="542681"/>
                  <a:pt x="6519204" y="524044"/>
                </a:cubicBezTo>
                <a:cubicBezTo>
                  <a:pt x="6518039" y="523850"/>
                  <a:pt x="6517068" y="524044"/>
                  <a:pt x="6516098" y="523850"/>
                </a:cubicBezTo>
                <a:cubicBezTo>
                  <a:pt x="6514156" y="523462"/>
                  <a:pt x="6513186" y="522297"/>
                  <a:pt x="6513186" y="520550"/>
                </a:cubicBezTo>
                <a:cubicBezTo>
                  <a:pt x="6513186" y="518415"/>
                  <a:pt x="6514156" y="517250"/>
                  <a:pt x="6516292" y="516861"/>
                </a:cubicBezTo>
                <a:cubicBezTo>
                  <a:pt x="6517457" y="516667"/>
                  <a:pt x="6518427" y="516667"/>
                  <a:pt x="6519398" y="516667"/>
                </a:cubicBezTo>
                <a:cubicBezTo>
                  <a:pt x="6519398" y="498225"/>
                  <a:pt x="6519398" y="479977"/>
                  <a:pt x="6519398" y="461728"/>
                </a:cubicBezTo>
                <a:cubicBezTo>
                  <a:pt x="6519204" y="461728"/>
                  <a:pt x="6519010" y="461728"/>
                  <a:pt x="6518815" y="461728"/>
                </a:cubicBezTo>
                <a:cubicBezTo>
                  <a:pt x="6515904" y="461534"/>
                  <a:pt x="6513380" y="460369"/>
                  <a:pt x="6513574" y="457263"/>
                </a:cubicBezTo>
                <a:cubicBezTo>
                  <a:pt x="6513768" y="453963"/>
                  <a:pt x="6517068" y="454740"/>
                  <a:pt x="6519398" y="454545"/>
                </a:cubicBezTo>
                <a:cubicBezTo>
                  <a:pt x="6519398" y="435715"/>
                  <a:pt x="6519398" y="417078"/>
                  <a:pt x="6519398" y="398442"/>
                </a:cubicBezTo>
                <a:cubicBezTo>
                  <a:pt x="6517068" y="398442"/>
                  <a:pt x="6514156" y="399024"/>
                  <a:pt x="6513574" y="395724"/>
                </a:cubicBezTo>
                <a:cubicBezTo>
                  <a:pt x="6513186" y="393589"/>
                  <a:pt x="6515321" y="392036"/>
                  <a:pt x="6519592" y="391259"/>
                </a:cubicBezTo>
                <a:cubicBezTo>
                  <a:pt x="6519592" y="372817"/>
                  <a:pt x="6519592" y="354568"/>
                  <a:pt x="6519592" y="336320"/>
                </a:cubicBezTo>
                <a:cubicBezTo>
                  <a:pt x="6519010" y="336320"/>
                  <a:pt x="6518427" y="336320"/>
                  <a:pt x="6517845" y="336320"/>
                </a:cubicBezTo>
                <a:cubicBezTo>
                  <a:pt x="6515515" y="336320"/>
                  <a:pt x="6513574" y="335543"/>
                  <a:pt x="6513574" y="332826"/>
                </a:cubicBezTo>
                <a:cubicBezTo>
                  <a:pt x="6513574" y="330108"/>
                  <a:pt x="6515321" y="329331"/>
                  <a:pt x="6517845" y="329331"/>
                </a:cubicBezTo>
                <a:cubicBezTo>
                  <a:pt x="6518427" y="329331"/>
                  <a:pt x="6519010" y="329331"/>
                  <a:pt x="6519592" y="329331"/>
                </a:cubicBezTo>
                <a:cubicBezTo>
                  <a:pt x="6519592" y="311083"/>
                  <a:pt x="6519592" y="292835"/>
                  <a:pt x="6519592" y="274586"/>
                </a:cubicBezTo>
                <a:cubicBezTo>
                  <a:pt x="6518621" y="273227"/>
                  <a:pt x="6517068" y="273422"/>
                  <a:pt x="6515709" y="273033"/>
                </a:cubicBezTo>
                <a:cubicBezTo>
                  <a:pt x="6514156" y="272645"/>
                  <a:pt x="6513380" y="271480"/>
                  <a:pt x="6513574" y="269927"/>
                </a:cubicBezTo>
                <a:cubicBezTo>
                  <a:pt x="6513768" y="268374"/>
                  <a:pt x="6514933" y="267598"/>
                  <a:pt x="6516486" y="267404"/>
                </a:cubicBezTo>
                <a:cubicBezTo>
                  <a:pt x="6517651" y="267209"/>
                  <a:pt x="6519010" y="267209"/>
                  <a:pt x="6520174" y="267209"/>
                </a:cubicBezTo>
                <a:cubicBezTo>
                  <a:pt x="6544052" y="267209"/>
                  <a:pt x="6567930" y="267209"/>
                  <a:pt x="6591809" y="267209"/>
                </a:cubicBezTo>
                <a:cubicBezTo>
                  <a:pt x="6592779" y="267209"/>
                  <a:pt x="6593556" y="267209"/>
                  <a:pt x="6594332" y="267209"/>
                </a:cubicBezTo>
                <a:cubicBezTo>
                  <a:pt x="6595885" y="267209"/>
                  <a:pt x="6597632" y="267404"/>
                  <a:pt x="6598409" y="269733"/>
                </a:cubicBezTo>
                <a:cubicBezTo>
                  <a:pt x="6598603" y="271286"/>
                  <a:pt x="6598409" y="273033"/>
                  <a:pt x="6596274" y="273227"/>
                </a:cubicBezTo>
                <a:cubicBezTo>
                  <a:pt x="6593750" y="273616"/>
                  <a:pt x="6593556" y="275169"/>
                  <a:pt x="6593556" y="277110"/>
                </a:cubicBezTo>
                <a:cubicBezTo>
                  <a:pt x="6593556" y="293223"/>
                  <a:pt x="6593556" y="309336"/>
                  <a:pt x="6593556" y="325449"/>
                </a:cubicBezTo>
                <a:cubicBezTo>
                  <a:pt x="6593556" y="327390"/>
                  <a:pt x="6594138" y="328361"/>
                  <a:pt x="6596079" y="329525"/>
                </a:cubicBezTo>
                <a:cubicBezTo>
                  <a:pt x="6599574" y="331467"/>
                  <a:pt x="6599574" y="334185"/>
                  <a:pt x="6595885" y="336126"/>
                </a:cubicBezTo>
                <a:cubicBezTo>
                  <a:pt x="6593750" y="337291"/>
                  <a:pt x="6593556" y="338650"/>
                  <a:pt x="6593556" y="340397"/>
                </a:cubicBezTo>
                <a:cubicBezTo>
                  <a:pt x="6593556" y="355927"/>
                  <a:pt x="6593556" y="371458"/>
                  <a:pt x="6593556" y="386988"/>
                </a:cubicBezTo>
                <a:cubicBezTo>
                  <a:pt x="6593556" y="388929"/>
                  <a:pt x="6593750" y="390482"/>
                  <a:pt x="6596079" y="391647"/>
                </a:cubicBezTo>
                <a:cubicBezTo>
                  <a:pt x="6599768" y="393589"/>
                  <a:pt x="6599574" y="396501"/>
                  <a:pt x="6595691" y="398442"/>
                </a:cubicBezTo>
                <a:cubicBezTo>
                  <a:pt x="6593750" y="399412"/>
                  <a:pt x="6593556" y="400771"/>
                  <a:pt x="6593556" y="402324"/>
                </a:cubicBezTo>
                <a:cubicBezTo>
                  <a:pt x="6593556" y="407954"/>
                  <a:pt x="6593556" y="413390"/>
                  <a:pt x="6593556" y="419020"/>
                </a:cubicBezTo>
                <a:cubicBezTo>
                  <a:pt x="6593556" y="429309"/>
                  <a:pt x="6593556" y="439403"/>
                  <a:pt x="6593556" y="449498"/>
                </a:cubicBezTo>
                <a:cubicBezTo>
                  <a:pt x="6593556" y="451828"/>
                  <a:pt x="6593167" y="453963"/>
                  <a:pt x="6596662" y="454934"/>
                </a:cubicBezTo>
                <a:cubicBezTo>
                  <a:pt x="6599186" y="455516"/>
                  <a:pt x="6599380" y="459981"/>
                  <a:pt x="6596662" y="460952"/>
                </a:cubicBezTo>
                <a:cubicBezTo>
                  <a:pt x="6592779" y="462505"/>
                  <a:pt x="6593362" y="465029"/>
                  <a:pt x="6593362" y="467746"/>
                </a:cubicBezTo>
                <a:cubicBezTo>
                  <a:pt x="6593362" y="482112"/>
                  <a:pt x="6593362" y="496283"/>
                  <a:pt x="6593362" y="510649"/>
                </a:cubicBezTo>
                <a:cubicBezTo>
                  <a:pt x="6593362" y="513367"/>
                  <a:pt x="6592973" y="515891"/>
                  <a:pt x="6596662" y="517444"/>
                </a:cubicBezTo>
                <a:cubicBezTo>
                  <a:pt x="6599380" y="518415"/>
                  <a:pt x="6599186" y="522685"/>
                  <a:pt x="6596468" y="523462"/>
                </a:cubicBezTo>
                <a:cubicBezTo>
                  <a:pt x="6593362" y="524238"/>
                  <a:pt x="6593362" y="525986"/>
                  <a:pt x="6593362" y="528315"/>
                </a:cubicBezTo>
                <a:cubicBezTo>
                  <a:pt x="6593362" y="539381"/>
                  <a:pt x="6593362" y="550640"/>
                  <a:pt x="6593362" y="561706"/>
                </a:cubicBezTo>
                <a:cubicBezTo>
                  <a:pt x="6593362" y="566365"/>
                  <a:pt x="6593362" y="570830"/>
                  <a:pt x="6593362" y="575489"/>
                </a:cubicBezTo>
                <a:cubicBezTo>
                  <a:pt x="6593362" y="577430"/>
                  <a:pt x="6593362" y="578983"/>
                  <a:pt x="6596079" y="579954"/>
                </a:cubicBezTo>
                <a:cubicBezTo>
                  <a:pt x="6598991" y="581119"/>
                  <a:pt x="6599186" y="584613"/>
                  <a:pt x="6596274" y="585584"/>
                </a:cubicBezTo>
                <a:cubicBezTo>
                  <a:pt x="6593167" y="586360"/>
                  <a:pt x="6593167" y="588107"/>
                  <a:pt x="6593167" y="590437"/>
                </a:cubicBezTo>
                <a:cubicBezTo>
                  <a:pt x="6593167" y="600920"/>
                  <a:pt x="6593167" y="611209"/>
                  <a:pt x="6593167" y="621498"/>
                </a:cubicBezTo>
                <a:cubicBezTo>
                  <a:pt x="6593167" y="626934"/>
                  <a:pt x="6593167" y="632175"/>
                  <a:pt x="6593167" y="637611"/>
                </a:cubicBezTo>
                <a:cubicBezTo>
                  <a:pt x="6593167" y="639747"/>
                  <a:pt x="6593556" y="641105"/>
                  <a:pt x="6595885" y="642270"/>
                </a:cubicBezTo>
                <a:cubicBezTo>
                  <a:pt x="6598991" y="644018"/>
                  <a:pt x="6599186" y="647124"/>
                  <a:pt x="6595885" y="648676"/>
                </a:cubicBezTo>
                <a:cubicBezTo>
                  <a:pt x="6593167" y="650036"/>
                  <a:pt x="6593167" y="651783"/>
                  <a:pt x="6593167" y="653918"/>
                </a:cubicBezTo>
                <a:cubicBezTo>
                  <a:pt x="6593167" y="676631"/>
                  <a:pt x="6593167" y="699150"/>
                  <a:pt x="6593167" y="721863"/>
                </a:cubicBezTo>
                <a:cubicBezTo>
                  <a:pt x="6593167" y="726522"/>
                  <a:pt x="6593362" y="726716"/>
                  <a:pt x="6598021" y="726716"/>
                </a:cubicBezTo>
                <a:cubicBezTo>
                  <a:pt x="6631412" y="726716"/>
                  <a:pt x="6664996" y="726716"/>
                  <a:pt x="6698387" y="726716"/>
                </a:cubicBezTo>
                <a:cubicBezTo>
                  <a:pt x="6703434" y="726716"/>
                  <a:pt x="6703434" y="726522"/>
                  <a:pt x="6703434" y="720892"/>
                </a:cubicBezTo>
                <a:cubicBezTo>
                  <a:pt x="6703434" y="682649"/>
                  <a:pt x="6703434" y="644600"/>
                  <a:pt x="6703434" y="606356"/>
                </a:cubicBezTo>
                <a:cubicBezTo>
                  <a:pt x="6703434" y="583836"/>
                  <a:pt x="6703434" y="561511"/>
                  <a:pt x="6703434" y="538992"/>
                </a:cubicBezTo>
                <a:cubicBezTo>
                  <a:pt x="6703434" y="536663"/>
                  <a:pt x="6702658" y="534139"/>
                  <a:pt x="6704405" y="532004"/>
                </a:cubicBezTo>
                <a:cubicBezTo>
                  <a:pt x="6704599" y="534721"/>
                  <a:pt x="6704599" y="537633"/>
                  <a:pt x="6704599" y="540351"/>
                </a:cubicBezTo>
                <a:cubicBezTo>
                  <a:pt x="6704599" y="599949"/>
                  <a:pt x="6704599" y="659548"/>
                  <a:pt x="6704599" y="719145"/>
                </a:cubicBezTo>
                <a:cubicBezTo>
                  <a:pt x="6704599" y="721863"/>
                  <a:pt x="6704405" y="724775"/>
                  <a:pt x="6704405" y="727493"/>
                </a:cubicBezTo>
                <a:cubicBezTo>
                  <a:pt x="6704599" y="727493"/>
                  <a:pt x="6704987" y="727493"/>
                  <a:pt x="6705181" y="727493"/>
                </a:cubicBezTo>
                <a:cubicBezTo>
                  <a:pt x="6705181" y="727493"/>
                  <a:pt x="6704987" y="727299"/>
                  <a:pt x="6704987" y="727299"/>
                </a:cubicBezTo>
                <a:cubicBezTo>
                  <a:pt x="6704987" y="663430"/>
                  <a:pt x="6704987" y="599367"/>
                  <a:pt x="6704987" y="535498"/>
                </a:cubicBezTo>
                <a:cubicBezTo>
                  <a:pt x="6704987" y="534333"/>
                  <a:pt x="6704793" y="533169"/>
                  <a:pt x="6705375" y="532004"/>
                </a:cubicBezTo>
                <a:cubicBezTo>
                  <a:pt x="6708482" y="504049"/>
                  <a:pt x="6734301" y="488518"/>
                  <a:pt x="6753132" y="490460"/>
                </a:cubicBezTo>
                <a:cubicBezTo>
                  <a:pt x="6777592" y="488907"/>
                  <a:pt x="6800111" y="511814"/>
                  <a:pt x="6799917" y="535304"/>
                </a:cubicBezTo>
                <a:cubicBezTo>
                  <a:pt x="6799723" y="583836"/>
                  <a:pt x="6799917" y="632564"/>
                  <a:pt x="6799917" y="681290"/>
                </a:cubicBezTo>
                <a:cubicBezTo>
                  <a:pt x="6799917" y="726522"/>
                  <a:pt x="6799917" y="771949"/>
                  <a:pt x="6799917" y="817181"/>
                </a:cubicBezTo>
                <a:cubicBezTo>
                  <a:pt x="6799917" y="819511"/>
                  <a:pt x="6798558" y="822423"/>
                  <a:pt x="6801858" y="823976"/>
                </a:cubicBezTo>
                <a:cubicBezTo>
                  <a:pt x="6804964" y="815046"/>
                  <a:pt x="6809429" y="806892"/>
                  <a:pt x="6814283" y="798933"/>
                </a:cubicBezTo>
                <a:cubicBezTo>
                  <a:pt x="6816612" y="795244"/>
                  <a:pt x="6817389" y="791750"/>
                  <a:pt x="6817389" y="787673"/>
                </a:cubicBezTo>
                <a:cubicBezTo>
                  <a:pt x="6817389" y="720698"/>
                  <a:pt x="6817389" y="653724"/>
                  <a:pt x="6817389" y="586749"/>
                </a:cubicBezTo>
                <a:cubicBezTo>
                  <a:pt x="6817389" y="570247"/>
                  <a:pt x="6817777" y="553746"/>
                  <a:pt x="6817389" y="537245"/>
                </a:cubicBezTo>
                <a:cubicBezTo>
                  <a:pt x="6816806" y="517055"/>
                  <a:pt x="6831366" y="495313"/>
                  <a:pt x="6856991" y="490460"/>
                </a:cubicBezTo>
                <a:cubicBezTo>
                  <a:pt x="6859709" y="489877"/>
                  <a:pt x="6862621" y="489877"/>
                  <a:pt x="6865339" y="490265"/>
                </a:cubicBezTo>
                <a:cubicBezTo>
                  <a:pt x="6890770" y="489101"/>
                  <a:pt x="6912125" y="512202"/>
                  <a:pt x="6912125" y="535110"/>
                </a:cubicBezTo>
                <a:cubicBezTo>
                  <a:pt x="6911930" y="594708"/>
                  <a:pt x="6912125" y="654306"/>
                  <a:pt x="6912125" y="713904"/>
                </a:cubicBezTo>
                <a:cubicBezTo>
                  <a:pt x="6912125" y="715845"/>
                  <a:pt x="6912125" y="717592"/>
                  <a:pt x="6912125" y="719339"/>
                </a:cubicBezTo>
                <a:cubicBezTo>
                  <a:pt x="6912125" y="721475"/>
                  <a:pt x="6913872" y="721669"/>
                  <a:pt x="6915425" y="721669"/>
                </a:cubicBezTo>
                <a:cubicBezTo>
                  <a:pt x="6936780" y="715068"/>
                  <a:pt x="6958910" y="713321"/>
                  <a:pt x="6980847" y="716039"/>
                </a:cubicBezTo>
                <a:cubicBezTo>
                  <a:pt x="7045687" y="724193"/>
                  <a:pt x="7092666" y="757971"/>
                  <a:pt x="7121398" y="816793"/>
                </a:cubicBezTo>
                <a:cubicBezTo>
                  <a:pt x="7125086" y="824558"/>
                  <a:pt x="7128386" y="832517"/>
                  <a:pt x="7130134" y="840865"/>
                </a:cubicBezTo>
                <a:cubicBezTo>
                  <a:pt x="7131298" y="841447"/>
                  <a:pt x="7132269" y="842030"/>
                  <a:pt x="7133434" y="842224"/>
                </a:cubicBezTo>
                <a:cubicBezTo>
                  <a:pt x="7140423" y="843777"/>
                  <a:pt x="7143140" y="846883"/>
                  <a:pt x="7143140" y="854066"/>
                </a:cubicBezTo>
                <a:lnTo>
                  <a:pt x="7143162" y="858635"/>
                </a:lnTo>
                <a:lnTo>
                  <a:pt x="7363499" y="801441"/>
                </a:lnTo>
                <a:cubicBezTo>
                  <a:pt x="7365074" y="800811"/>
                  <a:pt x="7366334" y="800181"/>
                  <a:pt x="7367909" y="799551"/>
                </a:cubicBezTo>
                <a:cubicBezTo>
                  <a:pt x="7367909" y="797346"/>
                  <a:pt x="7367909" y="795141"/>
                  <a:pt x="7367909" y="792936"/>
                </a:cubicBezTo>
                <a:cubicBezTo>
                  <a:pt x="7368224" y="788211"/>
                  <a:pt x="7367594" y="785061"/>
                  <a:pt x="7362239" y="782541"/>
                </a:cubicBezTo>
                <a:cubicBezTo>
                  <a:pt x="7355625" y="779392"/>
                  <a:pt x="7355625" y="775296"/>
                  <a:pt x="7360349" y="769312"/>
                </a:cubicBezTo>
                <a:cubicBezTo>
                  <a:pt x="7362239" y="767107"/>
                  <a:pt x="7364129" y="766792"/>
                  <a:pt x="7365389" y="769627"/>
                </a:cubicBezTo>
                <a:cubicBezTo>
                  <a:pt x="7366334" y="772462"/>
                  <a:pt x="7366649" y="772777"/>
                  <a:pt x="7368854" y="770257"/>
                </a:cubicBezTo>
                <a:cubicBezTo>
                  <a:pt x="7372319" y="766162"/>
                  <a:pt x="7372634" y="766477"/>
                  <a:pt x="7374839" y="772777"/>
                </a:cubicBezTo>
                <a:cubicBezTo>
                  <a:pt x="7377044" y="772462"/>
                  <a:pt x="7376729" y="769942"/>
                  <a:pt x="7378304" y="768682"/>
                </a:cubicBezTo>
                <a:cubicBezTo>
                  <a:pt x="7379564" y="768052"/>
                  <a:pt x="7381139" y="767107"/>
                  <a:pt x="7381769" y="768367"/>
                </a:cubicBezTo>
                <a:cubicBezTo>
                  <a:pt x="7383659" y="772462"/>
                  <a:pt x="7384289" y="771517"/>
                  <a:pt x="7387439" y="768682"/>
                </a:cubicBezTo>
                <a:cubicBezTo>
                  <a:pt x="7391534" y="764902"/>
                  <a:pt x="7391219" y="770257"/>
                  <a:pt x="7392164" y="772462"/>
                </a:cubicBezTo>
                <a:cubicBezTo>
                  <a:pt x="7395314" y="772147"/>
                  <a:pt x="7396259" y="763327"/>
                  <a:pt x="7401299" y="770257"/>
                </a:cubicBezTo>
                <a:cubicBezTo>
                  <a:pt x="7402244" y="771832"/>
                  <a:pt x="7402874" y="769627"/>
                  <a:pt x="7403819" y="768997"/>
                </a:cubicBezTo>
                <a:cubicBezTo>
                  <a:pt x="7408858" y="764587"/>
                  <a:pt x="7408544" y="769312"/>
                  <a:pt x="7409488" y="772462"/>
                </a:cubicBezTo>
                <a:cubicBezTo>
                  <a:pt x="7412008" y="771517"/>
                  <a:pt x="7412638" y="767737"/>
                  <a:pt x="7416103" y="767737"/>
                </a:cubicBezTo>
                <a:cubicBezTo>
                  <a:pt x="7416733" y="768367"/>
                  <a:pt x="7417678" y="768997"/>
                  <a:pt x="7417993" y="769627"/>
                </a:cubicBezTo>
                <a:cubicBezTo>
                  <a:pt x="7423978" y="780336"/>
                  <a:pt x="7422403" y="778762"/>
                  <a:pt x="7413268" y="784116"/>
                </a:cubicBezTo>
                <a:cubicBezTo>
                  <a:pt x="7410434" y="785691"/>
                  <a:pt x="7411694" y="786636"/>
                  <a:pt x="7413268" y="788211"/>
                </a:cubicBezTo>
                <a:cubicBezTo>
                  <a:pt x="7442563" y="780966"/>
                  <a:pt x="7471857" y="773406"/>
                  <a:pt x="7501152" y="765847"/>
                </a:cubicBezTo>
                <a:cubicBezTo>
                  <a:pt x="7550291" y="753247"/>
                  <a:pt x="7599745" y="740332"/>
                  <a:pt x="7648884" y="727417"/>
                </a:cubicBezTo>
                <a:cubicBezTo>
                  <a:pt x="7653609" y="726157"/>
                  <a:pt x="7657703" y="726157"/>
                  <a:pt x="7662113" y="727417"/>
                </a:cubicBezTo>
                <a:cubicBezTo>
                  <a:pt x="7670303" y="729307"/>
                  <a:pt x="7678493" y="732457"/>
                  <a:pt x="7687313" y="733402"/>
                </a:cubicBezTo>
                <a:cubicBezTo>
                  <a:pt x="7687313" y="667255"/>
                  <a:pt x="7687313" y="601421"/>
                  <a:pt x="7687313" y="535272"/>
                </a:cubicBezTo>
                <a:cubicBezTo>
                  <a:pt x="7687313" y="494323"/>
                  <a:pt x="7687313" y="453059"/>
                  <a:pt x="7687313" y="411795"/>
                </a:cubicBezTo>
                <a:cubicBezTo>
                  <a:pt x="7687313" y="402660"/>
                  <a:pt x="7687313" y="402660"/>
                  <a:pt x="7696133" y="402660"/>
                </a:cubicBezTo>
                <a:cubicBezTo>
                  <a:pt x="7700858" y="402660"/>
                  <a:pt x="7705898" y="402975"/>
                  <a:pt x="7710622" y="402975"/>
                </a:cubicBezTo>
                <a:cubicBezTo>
                  <a:pt x="7715977" y="402975"/>
                  <a:pt x="7721647" y="402660"/>
                  <a:pt x="7727002" y="402660"/>
                </a:cubicBezTo>
                <a:cubicBezTo>
                  <a:pt x="7730467" y="402660"/>
                  <a:pt x="7732042" y="404550"/>
                  <a:pt x="7732042" y="408015"/>
                </a:cubicBezTo>
                <a:cubicBezTo>
                  <a:pt x="7732042" y="409275"/>
                  <a:pt x="7732042" y="410535"/>
                  <a:pt x="7732042" y="411795"/>
                </a:cubicBezTo>
                <a:cubicBezTo>
                  <a:pt x="7732042" y="522673"/>
                  <a:pt x="7732042" y="633865"/>
                  <a:pt x="7732042" y="745057"/>
                </a:cubicBezTo>
                <a:cubicBezTo>
                  <a:pt x="7744012" y="749467"/>
                  <a:pt x="7756926" y="751987"/>
                  <a:pt x="7769211" y="755137"/>
                </a:cubicBezTo>
                <a:cubicBezTo>
                  <a:pt x="7773936" y="756397"/>
                  <a:pt x="7778346" y="760177"/>
                  <a:pt x="7783701" y="758602"/>
                </a:cubicBezTo>
                <a:cubicBezTo>
                  <a:pt x="7783701" y="644260"/>
                  <a:pt x="7783701" y="529917"/>
                  <a:pt x="7783701" y="415575"/>
                </a:cubicBezTo>
                <a:cubicBezTo>
                  <a:pt x="7783701" y="401085"/>
                  <a:pt x="7782126" y="402660"/>
                  <a:pt x="7796616" y="402660"/>
                </a:cubicBezTo>
                <a:cubicBezTo>
                  <a:pt x="7800396" y="402660"/>
                  <a:pt x="7803860" y="402975"/>
                  <a:pt x="7807325" y="402975"/>
                </a:cubicBezTo>
                <a:cubicBezTo>
                  <a:pt x="7812365" y="402975"/>
                  <a:pt x="7817720" y="402975"/>
                  <a:pt x="7822760" y="402660"/>
                </a:cubicBezTo>
                <a:cubicBezTo>
                  <a:pt x="7827485" y="402345"/>
                  <a:pt x="7829060" y="404550"/>
                  <a:pt x="7828745" y="408960"/>
                </a:cubicBezTo>
                <a:cubicBezTo>
                  <a:pt x="7828745" y="411795"/>
                  <a:pt x="7828745" y="414315"/>
                  <a:pt x="7828745" y="416835"/>
                </a:cubicBezTo>
                <a:cubicBezTo>
                  <a:pt x="7828745" y="534642"/>
                  <a:pt x="7828745" y="652765"/>
                  <a:pt x="7828745" y="770572"/>
                </a:cubicBezTo>
                <a:cubicBezTo>
                  <a:pt x="7841660" y="774036"/>
                  <a:pt x="7854260" y="777186"/>
                  <a:pt x="7867174" y="780652"/>
                </a:cubicBezTo>
                <a:cubicBezTo>
                  <a:pt x="7869064" y="780022"/>
                  <a:pt x="7870954" y="779706"/>
                  <a:pt x="7870954" y="777186"/>
                </a:cubicBezTo>
                <a:cubicBezTo>
                  <a:pt x="7870954" y="774036"/>
                  <a:pt x="7870954" y="771202"/>
                  <a:pt x="7870954" y="768367"/>
                </a:cubicBezTo>
                <a:cubicBezTo>
                  <a:pt x="7870954" y="696548"/>
                  <a:pt x="7870954" y="625046"/>
                  <a:pt x="7870954" y="553542"/>
                </a:cubicBezTo>
                <a:cubicBezTo>
                  <a:pt x="7870954" y="549762"/>
                  <a:pt x="7871269" y="545667"/>
                  <a:pt x="7871269" y="541887"/>
                </a:cubicBezTo>
                <a:cubicBezTo>
                  <a:pt x="7870954" y="534327"/>
                  <a:pt x="7870639" y="526452"/>
                  <a:pt x="7870639" y="518892"/>
                </a:cubicBezTo>
                <a:cubicBezTo>
                  <a:pt x="7870639" y="511018"/>
                  <a:pt x="7870954" y="511018"/>
                  <a:pt x="7878514" y="511018"/>
                </a:cubicBezTo>
                <a:cubicBezTo>
                  <a:pt x="7895524" y="511018"/>
                  <a:pt x="7912533" y="511018"/>
                  <a:pt x="7929543" y="511018"/>
                </a:cubicBezTo>
                <a:cubicBezTo>
                  <a:pt x="7942458" y="511018"/>
                  <a:pt x="7955058" y="511018"/>
                  <a:pt x="7967972" y="511018"/>
                </a:cubicBezTo>
                <a:cubicBezTo>
                  <a:pt x="7970807" y="511018"/>
                  <a:pt x="7974272" y="511963"/>
                  <a:pt x="7977107" y="509758"/>
                </a:cubicBezTo>
                <a:cubicBezTo>
                  <a:pt x="7976792" y="500308"/>
                  <a:pt x="7976792" y="490543"/>
                  <a:pt x="7976792" y="481093"/>
                </a:cubicBezTo>
                <a:cubicBezTo>
                  <a:pt x="7976792" y="479203"/>
                  <a:pt x="7976477" y="476683"/>
                  <a:pt x="7979627" y="476368"/>
                </a:cubicBezTo>
                <a:cubicBezTo>
                  <a:pt x="7983722" y="476054"/>
                  <a:pt x="7983407" y="478888"/>
                  <a:pt x="7983407" y="481409"/>
                </a:cubicBezTo>
                <a:cubicBezTo>
                  <a:pt x="7983722" y="491173"/>
                  <a:pt x="7983722" y="501253"/>
                  <a:pt x="7983722" y="511018"/>
                </a:cubicBezTo>
                <a:cubicBezTo>
                  <a:pt x="7986242" y="511018"/>
                  <a:pt x="7988447" y="511018"/>
                  <a:pt x="7990967" y="511018"/>
                </a:cubicBezTo>
                <a:cubicBezTo>
                  <a:pt x="7990967" y="502828"/>
                  <a:pt x="7991282" y="494323"/>
                  <a:pt x="7991282" y="486133"/>
                </a:cubicBezTo>
                <a:cubicBezTo>
                  <a:pt x="7991282" y="484243"/>
                  <a:pt x="7991282" y="482353"/>
                  <a:pt x="7991282" y="480463"/>
                </a:cubicBezTo>
                <a:cubicBezTo>
                  <a:pt x="7991282" y="477944"/>
                  <a:pt x="7992227" y="476054"/>
                  <a:pt x="7995062" y="476054"/>
                </a:cubicBezTo>
                <a:cubicBezTo>
                  <a:pt x="7998212" y="475739"/>
                  <a:pt x="7998842" y="477629"/>
                  <a:pt x="7998842" y="480149"/>
                </a:cubicBezTo>
                <a:cubicBezTo>
                  <a:pt x="7998842" y="488023"/>
                  <a:pt x="7998842" y="496213"/>
                  <a:pt x="7998842" y="504088"/>
                </a:cubicBezTo>
                <a:cubicBezTo>
                  <a:pt x="7998842" y="506293"/>
                  <a:pt x="7999157" y="508498"/>
                  <a:pt x="7999157" y="510703"/>
                </a:cubicBezTo>
                <a:cubicBezTo>
                  <a:pt x="8001676" y="510703"/>
                  <a:pt x="8003881" y="510703"/>
                  <a:pt x="8006401" y="510703"/>
                </a:cubicBezTo>
                <a:cubicBezTo>
                  <a:pt x="8006401" y="502513"/>
                  <a:pt x="8006716" y="494008"/>
                  <a:pt x="8006716" y="485818"/>
                </a:cubicBezTo>
                <a:cubicBezTo>
                  <a:pt x="8006716" y="483929"/>
                  <a:pt x="8006716" y="482039"/>
                  <a:pt x="8006716" y="480149"/>
                </a:cubicBezTo>
                <a:cubicBezTo>
                  <a:pt x="8006716" y="477313"/>
                  <a:pt x="8007661" y="475739"/>
                  <a:pt x="8010497" y="475739"/>
                </a:cubicBezTo>
                <a:cubicBezTo>
                  <a:pt x="8013646" y="475424"/>
                  <a:pt x="8014276" y="477313"/>
                  <a:pt x="8014276" y="479833"/>
                </a:cubicBezTo>
                <a:cubicBezTo>
                  <a:pt x="8014276" y="487709"/>
                  <a:pt x="8014276" y="495898"/>
                  <a:pt x="8014276" y="503773"/>
                </a:cubicBezTo>
                <a:cubicBezTo>
                  <a:pt x="8014276" y="505978"/>
                  <a:pt x="8014591" y="508183"/>
                  <a:pt x="8014591" y="510388"/>
                </a:cubicBezTo>
                <a:cubicBezTo>
                  <a:pt x="8044515" y="510388"/>
                  <a:pt x="8074755" y="510388"/>
                  <a:pt x="8104995" y="510388"/>
                </a:cubicBezTo>
                <a:cubicBezTo>
                  <a:pt x="8104679" y="504718"/>
                  <a:pt x="8107514" y="503143"/>
                  <a:pt x="8113184" y="503143"/>
                </a:cubicBezTo>
                <a:cubicBezTo>
                  <a:pt x="8138384" y="503458"/>
                  <a:pt x="8163898" y="503773"/>
                  <a:pt x="8189098" y="503143"/>
                </a:cubicBezTo>
                <a:cubicBezTo>
                  <a:pt x="8195398" y="502828"/>
                  <a:pt x="8198548" y="505033"/>
                  <a:pt x="8199807" y="510703"/>
                </a:cubicBezTo>
                <a:cubicBezTo>
                  <a:pt x="8213982" y="510703"/>
                  <a:pt x="8213982" y="510703"/>
                  <a:pt x="8213037" y="525192"/>
                </a:cubicBezTo>
                <a:cubicBezTo>
                  <a:pt x="8213037" y="530862"/>
                  <a:pt x="8213037" y="536532"/>
                  <a:pt x="8212722" y="542202"/>
                </a:cubicBezTo>
                <a:cubicBezTo>
                  <a:pt x="8212722" y="545982"/>
                  <a:pt x="8213037" y="549447"/>
                  <a:pt x="8213037" y="552912"/>
                </a:cubicBezTo>
                <a:lnTo>
                  <a:pt x="8213037" y="899839"/>
                </a:lnTo>
                <a:lnTo>
                  <a:pt x="8222585" y="899839"/>
                </a:lnTo>
                <a:lnTo>
                  <a:pt x="8222588" y="899188"/>
                </a:lnTo>
                <a:lnTo>
                  <a:pt x="8361723" y="819757"/>
                </a:lnTo>
                <a:lnTo>
                  <a:pt x="8400660" y="891401"/>
                </a:lnTo>
                <a:lnTo>
                  <a:pt x="8528374" y="819237"/>
                </a:lnTo>
                <a:lnTo>
                  <a:pt x="8564716" y="886728"/>
                </a:lnTo>
                <a:cubicBezTo>
                  <a:pt x="8564716" y="832735"/>
                  <a:pt x="8565754" y="778742"/>
                  <a:pt x="8566273" y="724750"/>
                </a:cubicBezTo>
                <a:cubicBezTo>
                  <a:pt x="8566273" y="702426"/>
                  <a:pt x="8567831" y="700868"/>
                  <a:pt x="8590674" y="700868"/>
                </a:cubicBezTo>
                <a:cubicBezTo>
                  <a:pt x="8620266" y="700868"/>
                  <a:pt x="8617151" y="704503"/>
                  <a:pt x="8617151" y="674910"/>
                </a:cubicBezTo>
                <a:cubicBezTo>
                  <a:pt x="8617151" y="658297"/>
                  <a:pt x="8617151" y="641165"/>
                  <a:pt x="8617151" y="624552"/>
                </a:cubicBezTo>
                <a:cubicBezTo>
                  <a:pt x="8617670" y="600671"/>
                  <a:pt x="8628053" y="582500"/>
                  <a:pt x="8649858" y="572636"/>
                </a:cubicBezTo>
                <a:cubicBezTo>
                  <a:pt x="8659722" y="568483"/>
                  <a:pt x="8663356" y="562771"/>
                  <a:pt x="8662318" y="552388"/>
                </a:cubicBezTo>
                <a:cubicBezTo>
                  <a:pt x="8661280" y="543043"/>
                  <a:pt x="8661799" y="533698"/>
                  <a:pt x="8661799" y="524353"/>
                </a:cubicBezTo>
                <a:cubicBezTo>
                  <a:pt x="8661280" y="514490"/>
                  <a:pt x="8665952" y="509298"/>
                  <a:pt x="8675816" y="509298"/>
                </a:cubicBezTo>
                <a:cubicBezTo>
                  <a:pt x="8715273" y="509298"/>
                  <a:pt x="8754729" y="509298"/>
                  <a:pt x="8794185" y="509298"/>
                </a:cubicBezTo>
                <a:cubicBezTo>
                  <a:pt x="8806645" y="509298"/>
                  <a:pt x="8810279" y="516566"/>
                  <a:pt x="8810279" y="527469"/>
                </a:cubicBezTo>
                <a:cubicBezTo>
                  <a:pt x="8809760" y="563810"/>
                  <a:pt x="8809760" y="600151"/>
                  <a:pt x="8810279" y="636493"/>
                </a:cubicBezTo>
                <a:cubicBezTo>
                  <a:pt x="8810279" y="649991"/>
                  <a:pt x="8811317" y="664008"/>
                  <a:pt x="8811837" y="677506"/>
                </a:cubicBezTo>
                <a:cubicBezTo>
                  <a:pt x="8811837" y="681659"/>
                  <a:pt x="8811837" y="686851"/>
                  <a:pt x="8817547" y="686332"/>
                </a:cubicBezTo>
                <a:cubicBezTo>
                  <a:pt x="8822739" y="685813"/>
                  <a:pt x="8822220" y="681659"/>
                  <a:pt x="8822220" y="678025"/>
                </a:cubicBezTo>
                <a:cubicBezTo>
                  <a:pt x="8822220" y="669200"/>
                  <a:pt x="8822739" y="660893"/>
                  <a:pt x="8822220" y="652587"/>
                </a:cubicBezTo>
                <a:cubicBezTo>
                  <a:pt x="8821701" y="641684"/>
                  <a:pt x="8826373" y="635454"/>
                  <a:pt x="8837795" y="637012"/>
                </a:cubicBezTo>
                <a:cubicBezTo>
                  <a:pt x="8849216" y="638569"/>
                  <a:pt x="8854408" y="634935"/>
                  <a:pt x="8854408" y="621956"/>
                </a:cubicBezTo>
                <a:cubicBezTo>
                  <a:pt x="8854408" y="603786"/>
                  <a:pt x="8863234" y="589249"/>
                  <a:pt x="8877770" y="577828"/>
                </a:cubicBezTo>
                <a:cubicBezTo>
                  <a:pt x="8884000" y="572636"/>
                  <a:pt x="8891268" y="569521"/>
                  <a:pt x="8895941" y="561214"/>
                </a:cubicBezTo>
                <a:cubicBezTo>
                  <a:pt x="8900613" y="552908"/>
                  <a:pt x="8927610" y="556023"/>
                  <a:pt x="8932282" y="564848"/>
                </a:cubicBezTo>
                <a:cubicBezTo>
                  <a:pt x="8934359" y="568483"/>
                  <a:pt x="8936955" y="570559"/>
                  <a:pt x="8940589" y="572636"/>
                </a:cubicBezTo>
                <a:cubicBezTo>
                  <a:pt x="8962394" y="585096"/>
                  <a:pt x="8972258" y="604305"/>
                  <a:pt x="8972258" y="628706"/>
                </a:cubicBezTo>
                <a:cubicBezTo>
                  <a:pt x="8972258" y="659855"/>
                  <a:pt x="8972258" y="691523"/>
                  <a:pt x="8972258" y="722673"/>
                </a:cubicBezTo>
                <a:lnTo>
                  <a:pt x="9035595" y="719558"/>
                </a:lnTo>
                <a:lnTo>
                  <a:pt x="9068822" y="146923"/>
                </a:lnTo>
                <a:lnTo>
                  <a:pt x="9146177" y="146923"/>
                </a:lnTo>
                <a:lnTo>
                  <a:pt x="9180961" y="716962"/>
                </a:lnTo>
                <a:lnTo>
                  <a:pt x="9225090" y="715405"/>
                </a:lnTo>
                <a:close/>
              </a:path>
            </a:pathLst>
          </a:custGeom>
          <a:solidFill>
            <a:schemeClr val="bg1">
              <a:alpha val="1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3D5F95E-A64B-4CF3-896F-F3B321903429}"/>
              </a:ext>
            </a:extLst>
          </p:cNvPr>
          <p:cNvGrpSpPr/>
          <p:nvPr userDrawn="1"/>
        </p:nvGrpSpPr>
        <p:grpSpPr>
          <a:xfrm>
            <a:off x="218787" y="2622975"/>
            <a:ext cx="11517590" cy="3946317"/>
            <a:chOff x="218787" y="2622975"/>
            <a:chExt cx="11517590" cy="3946317"/>
          </a:xfrm>
          <a:solidFill>
            <a:schemeClr val="bg1">
              <a:alpha val="5000"/>
            </a:schemeClr>
          </a:solidFill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AC598B69-F9FE-4154-B147-8335AB2E2E58}"/>
                </a:ext>
              </a:extLst>
            </p:cNvPr>
            <p:cNvGrpSpPr/>
            <p:nvPr/>
          </p:nvGrpSpPr>
          <p:grpSpPr>
            <a:xfrm rot="12366785">
              <a:off x="10129411" y="5122363"/>
              <a:ext cx="1606966" cy="1446929"/>
              <a:chOff x="6486650" y="2648852"/>
              <a:chExt cx="2745260" cy="2471860"/>
            </a:xfrm>
            <a:grpFill/>
          </p:grpSpPr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B2891B34-6F88-4D11-AD5C-410F7771AEA2}"/>
                  </a:ext>
                </a:extLst>
              </p:cNvPr>
              <p:cNvSpPr/>
              <p:nvPr/>
            </p:nvSpPr>
            <p:spPr>
              <a:xfrm>
                <a:off x="6486650" y="3806165"/>
                <a:ext cx="1318090" cy="1314547"/>
              </a:xfrm>
              <a:custGeom>
                <a:avLst/>
                <a:gdLst>
                  <a:gd name="connsiteX0" fmla="*/ 0 w 1919435"/>
                  <a:gd name="connsiteY0" fmla="*/ 987194 h 1914275"/>
                  <a:gd name="connsiteX1" fmla="*/ 37667 w 1919435"/>
                  <a:gd name="connsiteY1" fmla="*/ 959846 h 1914275"/>
                  <a:gd name="connsiteX2" fmla="*/ 169757 w 1919435"/>
                  <a:gd name="connsiteY2" fmla="*/ 922696 h 1914275"/>
                  <a:gd name="connsiteX3" fmla="*/ 215163 w 1919435"/>
                  <a:gd name="connsiteY3" fmla="*/ 872130 h 1914275"/>
                  <a:gd name="connsiteX4" fmla="*/ 217743 w 1919435"/>
                  <a:gd name="connsiteY4" fmla="*/ 850459 h 1914275"/>
                  <a:gd name="connsiteX5" fmla="*/ 189364 w 1919435"/>
                  <a:gd name="connsiteY5" fmla="*/ 797830 h 1914275"/>
                  <a:gd name="connsiteX6" fmla="*/ 69657 w 1919435"/>
                  <a:gd name="connsiteY6" fmla="*/ 727657 h 1914275"/>
                  <a:gd name="connsiteX7" fmla="*/ 43858 w 1919435"/>
                  <a:gd name="connsiteY7" fmla="*/ 664708 h 1914275"/>
                  <a:gd name="connsiteX8" fmla="*/ 46438 w 1919435"/>
                  <a:gd name="connsiteY8" fmla="*/ 655936 h 1914275"/>
                  <a:gd name="connsiteX9" fmla="*/ 114547 w 1919435"/>
                  <a:gd name="connsiteY9" fmla="*/ 608982 h 1914275"/>
                  <a:gd name="connsiteX10" fmla="*/ 241478 w 1919435"/>
                  <a:gd name="connsiteY10" fmla="*/ 623429 h 1914275"/>
                  <a:gd name="connsiteX11" fmla="*/ 306491 w 1919435"/>
                  <a:gd name="connsiteY11" fmla="*/ 593503 h 1914275"/>
                  <a:gd name="connsiteX12" fmla="*/ 301331 w 1919435"/>
                  <a:gd name="connsiteY12" fmla="*/ 505271 h 1914275"/>
                  <a:gd name="connsiteX13" fmla="*/ 222386 w 1919435"/>
                  <a:gd name="connsiteY13" fmla="*/ 400527 h 1914275"/>
                  <a:gd name="connsiteX14" fmla="*/ 222386 w 1919435"/>
                  <a:gd name="connsiteY14" fmla="*/ 342222 h 1914275"/>
                  <a:gd name="connsiteX15" fmla="*/ 248185 w 1919435"/>
                  <a:gd name="connsiteY15" fmla="*/ 313327 h 1914275"/>
                  <a:gd name="connsiteX16" fmla="*/ 303395 w 1919435"/>
                  <a:gd name="connsiteY16" fmla="*/ 307135 h 1914275"/>
                  <a:gd name="connsiteX17" fmla="*/ 420522 w 1919435"/>
                  <a:gd name="connsiteY17" fmla="*/ 373180 h 1914275"/>
                  <a:gd name="connsiteX18" fmla="*/ 525265 w 1919435"/>
                  <a:gd name="connsiteY18" fmla="*/ 343770 h 1914275"/>
                  <a:gd name="connsiteX19" fmla="*/ 527845 w 1919435"/>
                  <a:gd name="connsiteY19" fmla="*/ 298364 h 1914275"/>
                  <a:gd name="connsiteX20" fmla="*/ 493791 w 1919435"/>
                  <a:gd name="connsiteY20" fmla="*/ 166789 h 1914275"/>
                  <a:gd name="connsiteX21" fmla="*/ 518557 w 1919435"/>
                  <a:gd name="connsiteY21" fmla="*/ 105904 h 1914275"/>
                  <a:gd name="connsiteX22" fmla="*/ 537649 w 1919435"/>
                  <a:gd name="connsiteY22" fmla="*/ 95585 h 1914275"/>
                  <a:gd name="connsiteX23" fmla="*/ 608853 w 1919435"/>
                  <a:gd name="connsiteY23" fmla="*/ 113128 h 1914275"/>
                  <a:gd name="connsiteX24" fmla="*/ 690894 w 1919435"/>
                  <a:gd name="connsiteY24" fmla="*/ 217355 h 1914275"/>
                  <a:gd name="connsiteX25" fmla="*/ 802861 w 1919435"/>
                  <a:gd name="connsiteY25" fmla="*/ 216839 h 1914275"/>
                  <a:gd name="connsiteX26" fmla="*/ 816277 w 1919435"/>
                  <a:gd name="connsiteY26" fmla="*/ 169369 h 1914275"/>
                  <a:gd name="connsiteX27" fmla="*/ 832788 w 1919435"/>
                  <a:gd name="connsiteY27" fmla="*/ 48631 h 1914275"/>
                  <a:gd name="connsiteX28" fmla="*/ 877677 w 1919435"/>
                  <a:gd name="connsiteY28" fmla="*/ 2193 h 1914275"/>
                  <a:gd name="connsiteX29" fmla="*/ 917924 w 1919435"/>
                  <a:gd name="connsiteY29" fmla="*/ 645 h 1914275"/>
                  <a:gd name="connsiteX30" fmla="*/ 956106 w 1919435"/>
                  <a:gd name="connsiteY30" fmla="*/ 31603 h 1914275"/>
                  <a:gd name="connsiteX31" fmla="*/ 993772 w 1919435"/>
                  <a:gd name="connsiteY31" fmla="*/ 163693 h 1914275"/>
                  <a:gd name="connsiteX32" fmla="*/ 1089745 w 1919435"/>
                  <a:gd name="connsiteY32" fmla="*/ 217871 h 1914275"/>
                  <a:gd name="connsiteX33" fmla="*/ 1120703 w 1919435"/>
                  <a:gd name="connsiteY33" fmla="*/ 191040 h 1914275"/>
                  <a:gd name="connsiteX34" fmla="*/ 1192940 w 1919435"/>
                  <a:gd name="connsiteY34" fmla="*/ 68754 h 1914275"/>
                  <a:gd name="connsiteX35" fmla="*/ 1251245 w 1919435"/>
                  <a:gd name="connsiteY35" fmla="*/ 44503 h 1914275"/>
                  <a:gd name="connsiteX36" fmla="*/ 1309035 w 1919435"/>
                  <a:gd name="connsiteY36" fmla="*/ 137895 h 1914275"/>
                  <a:gd name="connsiteX37" fmla="*/ 1294587 w 1919435"/>
                  <a:gd name="connsiteY37" fmla="*/ 255538 h 1914275"/>
                  <a:gd name="connsiteX38" fmla="*/ 1294587 w 1919435"/>
                  <a:gd name="connsiteY38" fmla="*/ 267921 h 1914275"/>
                  <a:gd name="connsiteX39" fmla="*/ 1399331 w 1919435"/>
                  <a:gd name="connsiteY39" fmla="*/ 314359 h 1914275"/>
                  <a:gd name="connsiteX40" fmla="*/ 1514394 w 1919435"/>
                  <a:gd name="connsiteY40" fmla="*/ 228191 h 1914275"/>
                  <a:gd name="connsiteX41" fmla="*/ 1584050 w 1919435"/>
                  <a:gd name="connsiteY41" fmla="*/ 229223 h 1914275"/>
                  <a:gd name="connsiteX42" fmla="*/ 1594886 w 1919435"/>
                  <a:gd name="connsiteY42" fmla="*/ 238510 h 1914275"/>
                  <a:gd name="connsiteX43" fmla="*/ 1606754 w 1919435"/>
                  <a:gd name="connsiteY43" fmla="*/ 317971 h 1914275"/>
                  <a:gd name="connsiteX44" fmla="*/ 1543288 w 1919435"/>
                  <a:gd name="connsiteY44" fmla="*/ 430970 h 1914275"/>
                  <a:gd name="connsiteX45" fmla="*/ 1552060 w 1919435"/>
                  <a:gd name="connsiteY45" fmla="*/ 504239 h 1914275"/>
                  <a:gd name="connsiteX46" fmla="*/ 1619137 w 1919435"/>
                  <a:gd name="connsiteY46" fmla="*/ 531069 h 1914275"/>
                  <a:gd name="connsiteX47" fmla="*/ 1754839 w 1919435"/>
                  <a:gd name="connsiteY47" fmla="*/ 495467 h 1914275"/>
                  <a:gd name="connsiteX48" fmla="*/ 1812629 w 1919435"/>
                  <a:gd name="connsiteY48" fmla="*/ 517654 h 1914275"/>
                  <a:gd name="connsiteX49" fmla="*/ 1830172 w 1919435"/>
                  <a:gd name="connsiteY49" fmla="*/ 552225 h 1914275"/>
                  <a:gd name="connsiteX50" fmla="*/ 1815724 w 1919435"/>
                  <a:gd name="connsiteY50" fmla="*/ 603306 h 1914275"/>
                  <a:gd name="connsiteX51" fmla="*/ 1699630 w 1919435"/>
                  <a:gd name="connsiteY51" fmla="*/ 695666 h 1914275"/>
                  <a:gd name="connsiteX52" fmla="*/ 1678990 w 1919435"/>
                  <a:gd name="connsiteY52" fmla="*/ 751908 h 1914275"/>
                  <a:gd name="connsiteX53" fmla="*/ 1685182 w 1919435"/>
                  <a:gd name="connsiteY53" fmla="*/ 774611 h 1914275"/>
                  <a:gd name="connsiteX54" fmla="*/ 1732652 w 1919435"/>
                  <a:gd name="connsiteY54" fmla="*/ 815373 h 1914275"/>
                  <a:gd name="connsiteX55" fmla="*/ 1872998 w 1919435"/>
                  <a:gd name="connsiteY55" fmla="*/ 834464 h 1914275"/>
                  <a:gd name="connsiteX56" fmla="*/ 1918404 w 1919435"/>
                  <a:gd name="connsiteY56" fmla="*/ 879354 h 1914275"/>
                  <a:gd name="connsiteX57" fmla="*/ 1919952 w 1919435"/>
                  <a:gd name="connsiteY57" fmla="*/ 919600 h 1914275"/>
                  <a:gd name="connsiteX58" fmla="*/ 1886930 w 1919435"/>
                  <a:gd name="connsiteY58" fmla="*/ 958299 h 1914275"/>
                  <a:gd name="connsiteX59" fmla="*/ 1754839 w 1919435"/>
                  <a:gd name="connsiteY59" fmla="*/ 995965 h 1914275"/>
                  <a:gd name="connsiteX60" fmla="*/ 1701178 w 1919435"/>
                  <a:gd name="connsiteY60" fmla="*/ 1085229 h 1914275"/>
                  <a:gd name="connsiteX61" fmla="*/ 1728524 w 1919435"/>
                  <a:gd name="connsiteY61" fmla="*/ 1121348 h 1914275"/>
                  <a:gd name="connsiteX62" fmla="*/ 1849779 w 1919435"/>
                  <a:gd name="connsiteY62" fmla="*/ 1192552 h 1914275"/>
                  <a:gd name="connsiteX63" fmla="*/ 1876094 w 1919435"/>
                  <a:gd name="connsiteY63" fmla="*/ 1253954 h 1914275"/>
                  <a:gd name="connsiteX64" fmla="*/ 1875062 w 1919435"/>
                  <a:gd name="connsiteY64" fmla="*/ 1260145 h 1914275"/>
                  <a:gd name="connsiteX65" fmla="*/ 1802309 w 1919435"/>
                  <a:gd name="connsiteY65" fmla="*/ 1312259 h 1914275"/>
                  <a:gd name="connsiteX66" fmla="*/ 1675379 w 1919435"/>
                  <a:gd name="connsiteY66" fmla="*/ 1296264 h 1914275"/>
                  <a:gd name="connsiteX67" fmla="*/ 1611398 w 1919435"/>
                  <a:gd name="connsiteY67" fmla="*/ 1329286 h 1914275"/>
                  <a:gd name="connsiteX68" fmla="*/ 1610365 w 1919435"/>
                  <a:gd name="connsiteY68" fmla="*/ 1405651 h 1914275"/>
                  <a:gd name="connsiteX69" fmla="*/ 1692406 w 1919435"/>
                  <a:gd name="connsiteY69" fmla="*/ 1514006 h 1914275"/>
                  <a:gd name="connsiteX70" fmla="*/ 1692406 w 1919435"/>
                  <a:gd name="connsiteY70" fmla="*/ 1584695 h 1914275"/>
                  <a:gd name="connsiteX71" fmla="*/ 1689310 w 1919435"/>
                  <a:gd name="connsiteY71" fmla="*/ 1588307 h 1914275"/>
                  <a:gd name="connsiteX72" fmla="*/ 1600562 w 1919435"/>
                  <a:gd name="connsiteY72" fmla="*/ 1605850 h 1914275"/>
                  <a:gd name="connsiteX73" fmla="*/ 1490659 w 1919435"/>
                  <a:gd name="connsiteY73" fmla="*/ 1543933 h 1914275"/>
                  <a:gd name="connsiteX74" fmla="*/ 1415326 w 1919435"/>
                  <a:gd name="connsiteY74" fmla="*/ 1554769 h 1914275"/>
                  <a:gd name="connsiteX75" fmla="*/ 1391075 w 1919435"/>
                  <a:gd name="connsiteY75" fmla="*/ 1622877 h 1914275"/>
                  <a:gd name="connsiteX76" fmla="*/ 1426677 w 1919435"/>
                  <a:gd name="connsiteY76" fmla="*/ 1760128 h 1914275"/>
                  <a:gd name="connsiteX77" fmla="*/ 1406554 w 1919435"/>
                  <a:gd name="connsiteY77" fmla="*/ 1811725 h 1914275"/>
                  <a:gd name="connsiteX78" fmla="*/ 1370436 w 1919435"/>
                  <a:gd name="connsiteY78" fmla="*/ 1830300 h 1914275"/>
                  <a:gd name="connsiteX79" fmla="*/ 1316258 w 1919435"/>
                  <a:gd name="connsiteY79" fmla="*/ 1815337 h 1914275"/>
                  <a:gd name="connsiteX80" fmla="*/ 1231122 w 1919435"/>
                  <a:gd name="connsiteY80" fmla="*/ 1707498 h 1914275"/>
                  <a:gd name="connsiteX81" fmla="*/ 1121219 w 1919435"/>
                  <a:gd name="connsiteY81" fmla="*/ 1698210 h 1914275"/>
                  <a:gd name="connsiteX82" fmla="*/ 1106771 w 1919435"/>
                  <a:gd name="connsiteY82" fmla="*/ 1727105 h 1914275"/>
                  <a:gd name="connsiteX83" fmla="*/ 1087165 w 1919435"/>
                  <a:gd name="connsiteY83" fmla="*/ 1868999 h 1914275"/>
                  <a:gd name="connsiteX84" fmla="*/ 1050014 w 1919435"/>
                  <a:gd name="connsiteY84" fmla="*/ 1919049 h 1914275"/>
                  <a:gd name="connsiteX85" fmla="*/ 987581 w 1919435"/>
                  <a:gd name="connsiteY85" fmla="*/ 1919049 h 1914275"/>
                  <a:gd name="connsiteX86" fmla="*/ 960234 w 1919435"/>
                  <a:gd name="connsiteY86" fmla="*/ 1880866 h 1914275"/>
                  <a:gd name="connsiteX87" fmla="*/ 921535 w 1919435"/>
                  <a:gd name="connsiteY87" fmla="*/ 1744132 h 1914275"/>
                  <a:gd name="connsiteX88" fmla="*/ 875614 w 1919435"/>
                  <a:gd name="connsiteY88" fmla="*/ 1703886 h 1914275"/>
                  <a:gd name="connsiteX89" fmla="*/ 847751 w 1919435"/>
                  <a:gd name="connsiteY89" fmla="*/ 1700790 h 1914275"/>
                  <a:gd name="connsiteX90" fmla="*/ 800281 w 1919435"/>
                  <a:gd name="connsiteY90" fmla="*/ 1727105 h 1914275"/>
                  <a:gd name="connsiteX91" fmla="*/ 788414 w 1919435"/>
                  <a:gd name="connsiteY91" fmla="*/ 1747228 h 1914275"/>
                  <a:gd name="connsiteX92" fmla="*/ 723401 w 1919435"/>
                  <a:gd name="connsiteY92" fmla="*/ 1857131 h 1914275"/>
                  <a:gd name="connsiteX93" fmla="*/ 674383 w 1919435"/>
                  <a:gd name="connsiteY93" fmla="*/ 1877254 h 1914275"/>
                  <a:gd name="connsiteX94" fmla="*/ 634652 w 1919435"/>
                  <a:gd name="connsiteY94" fmla="*/ 1863839 h 1914275"/>
                  <a:gd name="connsiteX95" fmla="*/ 607822 w 1919435"/>
                  <a:gd name="connsiteY95" fmla="*/ 1813789 h 1914275"/>
                  <a:gd name="connsiteX96" fmla="*/ 624848 w 1919435"/>
                  <a:gd name="connsiteY96" fmla="*/ 1672927 h 1914275"/>
                  <a:gd name="connsiteX97" fmla="*/ 586150 w 1919435"/>
                  <a:gd name="connsiteY97" fmla="*/ 1607398 h 1914275"/>
                  <a:gd name="connsiteX98" fmla="*/ 514430 w 1919435"/>
                  <a:gd name="connsiteY98" fmla="*/ 1611010 h 1914275"/>
                  <a:gd name="connsiteX99" fmla="*/ 413814 w 1919435"/>
                  <a:gd name="connsiteY99" fmla="*/ 1687375 h 1914275"/>
                  <a:gd name="connsiteX100" fmla="*/ 324550 w 1919435"/>
                  <a:gd name="connsiteY100" fmla="*/ 1682215 h 1914275"/>
                  <a:gd name="connsiteX101" fmla="*/ 316810 w 1919435"/>
                  <a:gd name="connsiteY101" fmla="*/ 1674475 h 1914275"/>
                  <a:gd name="connsiteX102" fmla="*/ 309071 w 1919435"/>
                  <a:gd name="connsiteY102" fmla="*/ 1612558 h 1914275"/>
                  <a:gd name="connsiteX103" fmla="*/ 376148 w 1919435"/>
                  <a:gd name="connsiteY103" fmla="*/ 1492851 h 1914275"/>
                  <a:gd name="connsiteX104" fmla="*/ 387499 w 1919435"/>
                  <a:gd name="connsiteY104" fmla="*/ 1456217 h 1914275"/>
                  <a:gd name="connsiteX105" fmla="*/ 297203 w 1919435"/>
                  <a:gd name="connsiteY105" fmla="*/ 1391720 h 1914275"/>
                  <a:gd name="connsiteX106" fmla="*/ 158405 w 1919435"/>
                  <a:gd name="connsiteY106" fmla="*/ 1427838 h 1914275"/>
                  <a:gd name="connsiteX107" fmla="*/ 114031 w 1919435"/>
                  <a:gd name="connsiteY107" fmla="*/ 1412875 h 1914275"/>
                  <a:gd name="connsiteX108" fmla="*/ 91844 w 1919435"/>
                  <a:gd name="connsiteY108" fmla="*/ 1373660 h 1914275"/>
                  <a:gd name="connsiteX109" fmla="*/ 106808 w 1919435"/>
                  <a:gd name="connsiteY109" fmla="*/ 1315871 h 1914275"/>
                  <a:gd name="connsiteX110" fmla="*/ 209487 w 1919435"/>
                  <a:gd name="connsiteY110" fmla="*/ 1234347 h 1914275"/>
                  <a:gd name="connsiteX111" fmla="*/ 236834 w 1919435"/>
                  <a:gd name="connsiteY111" fmla="*/ 1151274 h 1914275"/>
                  <a:gd name="connsiteX112" fmla="*/ 181624 w 1919435"/>
                  <a:gd name="connsiteY112" fmla="*/ 1104836 h 1914275"/>
                  <a:gd name="connsiteX113" fmla="*/ 52114 w 1919435"/>
                  <a:gd name="connsiteY113" fmla="*/ 1087293 h 1914275"/>
                  <a:gd name="connsiteX114" fmla="*/ 1032 w 1919435"/>
                  <a:gd name="connsiteY114" fmla="*/ 1051175 h 1914275"/>
                  <a:gd name="connsiteX115" fmla="*/ 0 w 1919435"/>
                  <a:gd name="connsiteY115" fmla="*/ 987194 h 1914275"/>
                  <a:gd name="connsiteX116" fmla="*/ 1198616 w 1919435"/>
                  <a:gd name="connsiteY116" fmla="*/ 960879 h 1914275"/>
                  <a:gd name="connsiteX117" fmla="*/ 958686 w 1919435"/>
                  <a:gd name="connsiteY117" fmla="*/ 720949 h 1914275"/>
                  <a:gd name="connsiteX118" fmla="*/ 720304 w 1919435"/>
                  <a:gd name="connsiteY118" fmla="*/ 959331 h 1914275"/>
                  <a:gd name="connsiteX119" fmla="*/ 957654 w 1919435"/>
                  <a:gd name="connsiteY119" fmla="*/ 1198744 h 1914275"/>
                  <a:gd name="connsiteX120" fmla="*/ 1198616 w 1919435"/>
                  <a:gd name="connsiteY120" fmla="*/ 960879 h 1914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</a:cxnLst>
                <a:rect l="l" t="t" r="r" b="b"/>
                <a:pathLst>
                  <a:path w="1919435" h="1914275">
                    <a:moveTo>
                      <a:pt x="0" y="987194"/>
                    </a:moveTo>
                    <a:cubicBezTo>
                      <a:pt x="8256" y="971714"/>
                      <a:pt x="21155" y="963975"/>
                      <a:pt x="37667" y="959846"/>
                    </a:cubicBezTo>
                    <a:cubicBezTo>
                      <a:pt x="82041" y="947979"/>
                      <a:pt x="125383" y="934564"/>
                      <a:pt x="169757" y="922696"/>
                    </a:cubicBezTo>
                    <a:cubicBezTo>
                      <a:pt x="196587" y="915473"/>
                      <a:pt x="212583" y="900509"/>
                      <a:pt x="215163" y="872130"/>
                    </a:cubicBezTo>
                    <a:cubicBezTo>
                      <a:pt x="215679" y="864907"/>
                      <a:pt x="216710" y="857683"/>
                      <a:pt x="217743" y="850459"/>
                    </a:cubicBezTo>
                    <a:cubicBezTo>
                      <a:pt x="220323" y="826209"/>
                      <a:pt x="209487" y="809697"/>
                      <a:pt x="189364" y="797830"/>
                    </a:cubicBezTo>
                    <a:cubicBezTo>
                      <a:pt x="149118" y="774611"/>
                      <a:pt x="109388" y="750876"/>
                      <a:pt x="69657" y="727657"/>
                    </a:cubicBezTo>
                    <a:cubicBezTo>
                      <a:pt x="40246" y="710629"/>
                      <a:pt x="35087" y="697730"/>
                      <a:pt x="43858" y="664708"/>
                    </a:cubicBezTo>
                    <a:cubicBezTo>
                      <a:pt x="44890" y="661612"/>
                      <a:pt x="45406" y="658516"/>
                      <a:pt x="46438" y="655936"/>
                    </a:cubicBezTo>
                    <a:cubicBezTo>
                      <a:pt x="59337" y="613110"/>
                      <a:pt x="70689" y="604854"/>
                      <a:pt x="114547" y="608982"/>
                    </a:cubicBezTo>
                    <a:cubicBezTo>
                      <a:pt x="156857" y="613110"/>
                      <a:pt x="199167" y="617754"/>
                      <a:pt x="241478" y="623429"/>
                    </a:cubicBezTo>
                    <a:cubicBezTo>
                      <a:pt x="275016" y="627557"/>
                      <a:pt x="289463" y="621881"/>
                      <a:pt x="306491" y="593503"/>
                    </a:cubicBezTo>
                    <a:cubicBezTo>
                      <a:pt x="330741" y="554288"/>
                      <a:pt x="329710" y="541905"/>
                      <a:pt x="301331" y="505271"/>
                    </a:cubicBezTo>
                    <a:cubicBezTo>
                      <a:pt x="274500" y="470700"/>
                      <a:pt x="248185" y="435614"/>
                      <a:pt x="222386" y="400527"/>
                    </a:cubicBezTo>
                    <a:cubicBezTo>
                      <a:pt x="206907" y="379888"/>
                      <a:pt x="206907" y="362861"/>
                      <a:pt x="222386" y="342222"/>
                    </a:cubicBezTo>
                    <a:cubicBezTo>
                      <a:pt x="230126" y="331902"/>
                      <a:pt x="238382" y="321583"/>
                      <a:pt x="248185" y="313327"/>
                    </a:cubicBezTo>
                    <a:cubicBezTo>
                      <a:pt x="267792" y="296816"/>
                      <a:pt x="281208" y="294752"/>
                      <a:pt x="303395" y="307135"/>
                    </a:cubicBezTo>
                    <a:cubicBezTo>
                      <a:pt x="342609" y="328806"/>
                      <a:pt x="382856" y="348929"/>
                      <a:pt x="420522" y="373180"/>
                    </a:cubicBezTo>
                    <a:cubicBezTo>
                      <a:pt x="463864" y="401043"/>
                      <a:pt x="493791" y="382468"/>
                      <a:pt x="525265" y="343770"/>
                    </a:cubicBezTo>
                    <a:cubicBezTo>
                      <a:pt x="535585" y="330870"/>
                      <a:pt x="531973" y="313843"/>
                      <a:pt x="527845" y="298364"/>
                    </a:cubicBezTo>
                    <a:cubicBezTo>
                      <a:pt x="516493" y="254506"/>
                      <a:pt x="505142" y="210647"/>
                      <a:pt x="493791" y="166789"/>
                    </a:cubicBezTo>
                    <a:cubicBezTo>
                      <a:pt x="485535" y="135315"/>
                      <a:pt x="490694" y="122415"/>
                      <a:pt x="518557" y="105904"/>
                    </a:cubicBezTo>
                    <a:cubicBezTo>
                      <a:pt x="524749" y="102292"/>
                      <a:pt x="530941" y="98680"/>
                      <a:pt x="537649" y="95585"/>
                    </a:cubicBezTo>
                    <a:cubicBezTo>
                      <a:pt x="571187" y="80105"/>
                      <a:pt x="586150" y="83717"/>
                      <a:pt x="608853" y="113128"/>
                    </a:cubicBezTo>
                    <a:cubicBezTo>
                      <a:pt x="636200" y="147698"/>
                      <a:pt x="663547" y="182785"/>
                      <a:pt x="690894" y="217355"/>
                    </a:cubicBezTo>
                    <a:cubicBezTo>
                      <a:pt x="716693" y="249346"/>
                      <a:pt x="777062" y="249346"/>
                      <a:pt x="802861" y="216839"/>
                    </a:cubicBezTo>
                    <a:cubicBezTo>
                      <a:pt x="813697" y="202908"/>
                      <a:pt x="813697" y="185365"/>
                      <a:pt x="816277" y="169369"/>
                    </a:cubicBezTo>
                    <a:cubicBezTo>
                      <a:pt x="822468" y="129123"/>
                      <a:pt x="827628" y="88877"/>
                      <a:pt x="832788" y="48631"/>
                    </a:cubicBezTo>
                    <a:cubicBezTo>
                      <a:pt x="836916" y="16640"/>
                      <a:pt x="845687" y="7868"/>
                      <a:pt x="877677" y="2193"/>
                    </a:cubicBezTo>
                    <a:cubicBezTo>
                      <a:pt x="891093" y="-387"/>
                      <a:pt x="904509" y="-387"/>
                      <a:pt x="917924" y="645"/>
                    </a:cubicBezTo>
                    <a:cubicBezTo>
                      <a:pt x="937531" y="1677"/>
                      <a:pt x="950947" y="11996"/>
                      <a:pt x="956106" y="31603"/>
                    </a:cubicBezTo>
                    <a:cubicBezTo>
                      <a:pt x="968490" y="75461"/>
                      <a:pt x="981389" y="119835"/>
                      <a:pt x="993772" y="163693"/>
                    </a:cubicBezTo>
                    <a:cubicBezTo>
                      <a:pt x="1006672" y="208584"/>
                      <a:pt x="1043822" y="229739"/>
                      <a:pt x="1089745" y="217871"/>
                    </a:cubicBezTo>
                    <a:cubicBezTo>
                      <a:pt x="1104707" y="214259"/>
                      <a:pt x="1113479" y="203424"/>
                      <a:pt x="1120703" y="191040"/>
                    </a:cubicBezTo>
                    <a:cubicBezTo>
                      <a:pt x="1144438" y="150278"/>
                      <a:pt x="1168689" y="109516"/>
                      <a:pt x="1192940" y="68754"/>
                    </a:cubicBezTo>
                    <a:cubicBezTo>
                      <a:pt x="1208419" y="42439"/>
                      <a:pt x="1221835" y="36763"/>
                      <a:pt x="1251245" y="44503"/>
                    </a:cubicBezTo>
                    <a:cubicBezTo>
                      <a:pt x="1310067" y="59466"/>
                      <a:pt x="1317806" y="72366"/>
                      <a:pt x="1309035" y="137895"/>
                    </a:cubicBezTo>
                    <a:cubicBezTo>
                      <a:pt x="1303875" y="177109"/>
                      <a:pt x="1299231" y="216323"/>
                      <a:pt x="1294587" y="255538"/>
                    </a:cubicBezTo>
                    <a:cubicBezTo>
                      <a:pt x="1294071" y="259665"/>
                      <a:pt x="1294071" y="263793"/>
                      <a:pt x="1294587" y="267921"/>
                    </a:cubicBezTo>
                    <a:cubicBezTo>
                      <a:pt x="1301295" y="309715"/>
                      <a:pt x="1364760" y="338610"/>
                      <a:pt x="1399331" y="314359"/>
                    </a:cubicBezTo>
                    <a:cubicBezTo>
                      <a:pt x="1438545" y="286496"/>
                      <a:pt x="1476211" y="257085"/>
                      <a:pt x="1514394" y="228191"/>
                    </a:cubicBezTo>
                    <a:cubicBezTo>
                      <a:pt x="1542256" y="207036"/>
                      <a:pt x="1556188" y="207552"/>
                      <a:pt x="1584050" y="229223"/>
                    </a:cubicBezTo>
                    <a:cubicBezTo>
                      <a:pt x="1587663" y="232319"/>
                      <a:pt x="1591274" y="234898"/>
                      <a:pt x="1594886" y="238510"/>
                    </a:cubicBezTo>
                    <a:cubicBezTo>
                      <a:pt x="1627393" y="269469"/>
                      <a:pt x="1628941" y="278757"/>
                      <a:pt x="1606754" y="317971"/>
                    </a:cubicBezTo>
                    <a:cubicBezTo>
                      <a:pt x="1585599" y="355637"/>
                      <a:pt x="1565475" y="393819"/>
                      <a:pt x="1543288" y="430970"/>
                    </a:cubicBezTo>
                    <a:cubicBezTo>
                      <a:pt x="1527293" y="458317"/>
                      <a:pt x="1534517" y="481020"/>
                      <a:pt x="1552060" y="504239"/>
                    </a:cubicBezTo>
                    <a:cubicBezTo>
                      <a:pt x="1569604" y="527458"/>
                      <a:pt x="1589726" y="538809"/>
                      <a:pt x="1619137" y="531069"/>
                    </a:cubicBezTo>
                    <a:cubicBezTo>
                      <a:pt x="1664543" y="519202"/>
                      <a:pt x="1709949" y="507850"/>
                      <a:pt x="1754839" y="495467"/>
                    </a:cubicBezTo>
                    <a:cubicBezTo>
                      <a:pt x="1783734" y="487727"/>
                      <a:pt x="1796634" y="492371"/>
                      <a:pt x="1812629" y="517654"/>
                    </a:cubicBezTo>
                    <a:cubicBezTo>
                      <a:pt x="1819853" y="528490"/>
                      <a:pt x="1826044" y="539841"/>
                      <a:pt x="1830172" y="552225"/>
                    </a:cubicBezTo>
                    <a:cubicBezTo>
                      <a:pt x="1837912" y="574412"/>
                      <a:pt x="1834299" y="588343"/>
                      <a:pt x="1815724" y="603306"/>
                    </a:cubicBezTo>
                    <a:cubicBezTo>
                      <a:pt x="1777026" y="634265"/>
                      <a:pt x="1738844" y="665224"/>
                      <a:pt x="1699630" y="695666"/>
                    </a:cubicBezTo>
                    <a:cubicBezTo>
                      <a:pt x="1680022" y="710629"/>
                      <a:pt x="1674862" y="729205"/>
                      <a:pt x="1678990" y="751908"/>
                    </a:cubicBezTo>
                    <a:cubicBezTo>
                      <a:pt x="1680539" y="759647"/>
                      <a:pt x="1683119" y="766871"/>
                      <a:pt x="1685182" y="774611"/>
                    </a:cubicBezTo>
                    <a:cubicBezTo>
                      <a:pt x="1691890" y="798862"/>
                      <a:pt x="1707885" y="812277"/>
                      <a:pt x="1732652" y="815373"/>
                    </a:cubicBezTo>
                    <a:cubicBezTo>
                      <a:pt x="1779606" y="821565"/>
                      <a:pt x="1826560" y="828272"/>
                      <a:pt x="1872998" y="834464"/>
                    </a:cubicBezTo>
                    <a:cubicBezTo>
                      <a:pt x="1900861" y="838076"/>
                      <a:pt x="1915308" y="851491"/>
                      <a:pt x="1918404" y="879354"/>
                    </a:cubicBezTo>
                    <a:cubicBezTo>
                      <a:pt x="1919952" y="892770"/>
                      <a:pt x="1921500" y="906185"/>
                      <a:pt x="1919952" y="919600"/>
                    </a:cubicBezTo>
                    <a:cubicBezTo>
                      <a:pt x="1917372" y="940755"/>
                      <a:pt x="1906536" y="952623"/>
                      <a:pt x="1886930" y="958299"/>
                    </a:cubicBezTo>
                    <a:cubicBezTo>
                      <a:pt x="1843071" y="970682"/>
                      <a:pt x="1798697" y="983065"/>
                      <a:pt x="1754839" y="995965"/>
                    </a:cubicBezTo>
                    <a:cubicBezTo>
                      <a:pt x="1712013" y="1008348"/>
                      <a:pt x="1692406" y="1040855"/>
                      <a:pt x="1701178" y="1085229"/>
                    </a:cubicBezTo>
                    <a:cubicBezTo>
                      <a:pt x="1704273" y="1102256"/>
                      <a:pt x="1714077" y="1113092"/>
                      <a:pt x="1728524" y="1121348"/>
                    </a:cubicBezTo>
                    <a:cubicBezTo>
                      <a:pt x="1768771" y="1145083"/>
                      <a:pt x="1809016" y="1168817"/>
                      <a:pt x="1849779" y="1192552"/>
                    </a:cubicBezTo>
                    <a:cubicBezTo>
                      <a:pt x="1879706" y="1210096"/>
                      <a:pt x="1884350" y="1220415"/>
                      <a:pt x="1876094" y="1253954"/>
                    </a:cubicBezTo>
                    <a:cubicBezTo>
                      <a:pt x="1875578" y="1256018"/>
                      <a:pt x="1875578" y="1258082"/>
                      <a:pt x="1875062" y="1260145"/>
                    </a:cubicBezTo>
                    <a:cubicBezTo>
                      <a:pt x="1862678" y="1300908"/>
                      <a:pt x="1848747" y="1321031"/>
                      <a:pt x="1802309" y="1312259"/>
                    </a:cubicBezTo>
                    <a:cubicBezTo>
                      <a:pt x="1760515" y="1304003"/>
                      <a:pt x="1717689" y="1302456"/>
                      <a:pt x="1675379" y="1296264"/>
                    </a:cubicBezTo>
                    <a:cubicBezTo>
                      <a:pt x="1645452" y="1292136"/>
                      <a:pt x="1625845" y="1304003"/>
                      <a:pt x="1611398" y="1329286"/>
                    </a:cubicBezTo>
                    <a:cubicBezTo>
                      <a:pt x="1596434" y="1355085"/>
                      <a:pt x="1589726" y="1379336"/>
                      <a:pt x="1610365" y="1405651"/>
                    </a:cubicBezTo>
                    <a:cubicBezTo>
                      <a:pt x="1638228" y="1441254"/>
                      <a:pt x="1665059" y="1477888"/>
                      <a:pt x="1692406" y="1514006"/>
                    </a:cubicBezTo>
                    <a:cubicBezTo>
                      <a:pt x="1715109" y="1543417"/>
                      <a:pt x="1715109" y="1555285"/>
                      <a:pt x="1692406" y="1584695"/>
                    </a:cubicBezTo>
                    <a:cubicBezTo>
                      <a:pt x="1691374" y="1585727"/>
                      <a:pt x="1690342" y="1587275"/>
                      <a:pt x="1689310" y="1588307"/>
                    </a:cubicBezTo>
                    <a:cubicBezTo>
                      <a:pt x="1659383" y="1620298"/>
                      <a:pt x="1647516" y="1634229"/>
                      <a:pt x="1600562" y="1605850"/>
                    </a:cubicBezTo>
                    <a:cubicBezTo>
                      <a:pt x="1564444" y="1584179"/>
                      <a:pt x="1526261" y="1565604"/>
                      <a:pt x="1490659" y="1543933"/>
                    </a:cubicBezTo>
                    <a:cubicBezTo>
                      <a:pt x="1461248" y="1526390"/>
                      <a:pt x="1438545" y="1536709"/>
                      <a:pt x="1415326" y="1554769"/>
                    </a:cubicBezTo>
                    <a:cubicBezTo>
                      <a:pt x="1392107" y="1572312"/>
                      <a:pt x="1382819" y="1593467"/>
                      <a:pt x="1391075" y="1622877"/>
                    </a:cubicBezTo>
                    <a:cubicBezTo>
                      <a:pt x="1403974" y="1668284"/>
                      <a:pt x="1415326" y="1714205"/>
                      <a:pt x="1426677" y="1760128"/>
                    </a:cubicBezTo>
                    <a:cubicBezTo>
                      <a:pt x="1432870" y="1784894"/>
                      <a:pt x="1427710" y="1798310"/>
                      <a:pt x="1406554" y="1811725"/>
                    </a:cubicBezTo>
                    <a:cubicBezTo>
                      <a:pt x="1395203" y="1818949"/>
                      <a:pt x="1383335" y="1825657"/>
                      <a:pt x="1370436" y="1830300"/>
                    </a:cubicBezTo>
                    <a:cubicBezTo>
                      <a:pt x="1347733" y="1838556"/>
                      <a:pt x="1331222" y="1834428"/>
                      <a:pt x="1316258" y="1815337"/>
                    </a:cubicBezTo>
                    <a:cubicBezTo>
                      <a:pt x="1287879" y="1779735"/>
                      <a:pt x="1259501" y="1743616"/>
                      <a:pt x="1231122" y="1707498"/>
                    </a:cubicBezTo>
                    <a:cubicBezTo>
                      <a:pt x="1203775" y="1673443"/>
                      <a:pt x="1154242" y="1668800"/>
                      <a:pt x="1121219" y="1698210"/>
                    </a:cubicBezTo>
                    <a:cubicBezTo>
                      <a:pt x="1112447" y="1705950"/>
                      <a:pt x="1108320" y="1715753"/>
                      <a:pt x="1106771" y="1727105"/>
                    </a:cubicBezTo>
                    <a:cubicBezTo>
                      <a:pt x="1100064" y="1774575"/>
                      <a:pt x="1092324" y="1821529"/>
                      <a:pt x="1087165" y="1868999"/>
                    </a:cubicBezTo>
                    <a:cubicBezTo>
                      <a:pt x="1084068" y="1893766"/>
                      <a:pt x="1074265" y="1911309"/>
                      <a:pt x="1050014" y="1919049"/>
                    </a:cubicBezTo>
                    <a:cubicBezTo>
                      <a:pt x="1029375" y="1919049"/>
                      <a:pt x="1008220" y="1919049"/>
                      <a:pt x="987581" y="1919049"/>
                    </a:cubicBezTo>
                    <a:cubicBezTo>
                      <a:pt x="973133" y="1910277"/>
                      <a:pt x="964878" y="1897377"/>
                      <a:pt x="960234" y="1880866"/>
                    </a:cubicBezTo>
                    <a:cubicBezTo>
                      <a:pt x="947851" y="1835460"/>
                      <a:pt x="933919" y="1790054"/>
                      <a:pt x="921535" y="1744132"/>
                    </a:cubicBezTo>
                    <a:cubicBezTo>
                      <a:pt x="914828" y="1719881"/>
                      <a:pt x="899865" y="1706982"/>
                      <a:pt x="875614" y="1703886"/>
                    </a:cubicBezTo>
                    <a:cubicBezTo>
                      <a:pt x="866326" y="1702854"/>
                      <a:pt x="857038" y="1701306"/>
                      <a:pt x="847751" y="1700790"/>
                    </a:cubicBezTo>
                    <a:cubicBezTo>
                      <a:pt x="826080" y="1699242"/>
                      <a:pt x="811117" y="1709046"/>
                      <a:pt x="800281" y="1727105"/>
                    </a:cubicBezTo>
                    <a:cubicBezTo>
                      <a:pt x="796153" y="1733813"/>
                      <a:pt x="792541" y="1740520"/>
                      <a:pt x="788414" y="1747228"/>
                    </a:cubicBezTo>
                    <a:cubicBezTo>
                      <a:pt x="766742" y="1783862"/>
                      <a:pt x="745587" y="1821013"/>
                      <a:pt x="723401" y="1857131"/>
                    </a:cubicBezTo>
                    <a:cubicBezTo>
                      <a:pt x="711533" y="1877254"/>
                      <a:pt x="697085" y="1882414"/>
                      <a:pt x="674383" y="1877254"/>
                    </a:cubicBezTo>
                    <a:cubicBezTo>
                      <a:pt x="660451" y="1874158"/>
                      <a:pt x="647552" y="1869515"/>
                      <a:pt x="634652" y="1863839"/>
                    </a:cubicBezTo>
                    <a:cubicBezTo>
                      <a:pt x="611949" y="1853003"/>
                      <a:pt x="604726" y="1839072"/>
                      <a:pt x="607822" y="1813789"/>
                    </a:cubicBezTo>
                    <a:cubicBezTo>
                      <a:pt x="613497" y="1766835"/>
                      <a:pt x="618141" y="1719881"/>
                      <a:pt x="624848" y="1672927"/>
                    </a:cubicBezTo>
                    <a:cubicBezTo>
                      <a:pt x="629492" y="1639905"/>
                      <a:pt x="611949" y="1621846"/>
                      <a:pt x="586150" y="1607398"/>
                    </a:cubicBezTo>
                    <a:cubicBezTo>
                      <a:pt x="560868" y="1593467"/>
                      <a:pt x="538165" y="1591403"/>
                      <a:pt x="514430" y="1611010"/>
                    </a:cubicBezTo>
                    <a:cubicBezTo>
                      <a:pt x="481407" y="1637325"/>
                      <a:pt x="446836" y="1661576"/>
                      <a:pt x="413814" y="1687375"/>
                    </a:cubicBezTo>
                    <a:cubicBezTo>
                      <a:pt x="380276" y="1713690"/>
                      <a:pt x="365828" y="1719365"/>
                      <a:pt x="324550" y="1682215"/>
                    </a:cubicBezTo>
                    <a:cubicBezTo>
                      <a:pt x="321970" y="1679635"/>
                      <a:pt x="319390" y="1677055"/>
                      <a:pt x="316810" y="1674475"/>
                    </a:cubicBezTo>
                    <a:cubicBezTo>
                      <a:pt x="296687" y="1653836"/>
                      <a:pt x="294623" y="1637841"/>
                      <a:pt x="309071" y="1612558"/>
                    </a:cubicBezTo>
                    <a:cubicBezTo>
                      <a:pt x="331258" y="1572828"/>
                      <a:pt x="353960" y="1532581"/>
                      <a:pt x="376148" y="1492851"/>
                    </a:cubicBezTo>
                    <a:cubicBezTo>
                      <a:pt x="382339" y="1481500"/>
                      <a:pt x="389047" y="1470148"/>
                      <a:pt x="387499" y="1456217"/>
                    </a:cubicBezTo>
                    <a:cubicBezTo>
                      <a:pt x="383887" y="1414423"/>
                      <a:pt x="337449" y="1381400"/>
                      <a:pt x="297203" y="1391720"/>
                    </a:cubicBezTo>
                    <a:cubicBezTo>
                      <a:pt x="250765" y="1403587"/>
                      <a:pt x="204327" y="1415455"/>
                      <a:pt x="158405" y="1427838"/>
                    </a:cubicBezTo>
                    <a:cubicBezTo>
                      <a:pt x="139830" y="1432998"/>
                      <a:pt x="125899" y="1427322"/>
                      <a:pt x="114031" y="1412875"/>
                    </a:cubicBezTo>
                    <a:cubicBezTo>
                      <a:pt x="104228" y="1401007"/>
                      <a:pt x="98036" y="1387592"/>
                      <a:pt x="91844" y="1373660"/>
                    </a:cubicBezTo>
                    <a:cubicBezTo>
                      <a:pt x="81525" y="1349409"/>
                      <a:pt x="86169" y="1331866"/>
                      <a:pt x="106808" y="1315871"/>
                    </a:cubicBezTo>
                    <a:cubicBezTo>
                      <a:pt x="140862" y="1288524"/>
                      <a:pt x="175432" y="1261693"/>
                      <a:pt x="209487" y="1234347"/>
                    </a:cubicBezTo>
                    <a:cubicBezTo>
                      <a:pt x="245605" y="1206484"/>
                      <a:pt x="248701" y="1194616"/>
                      <a:pt x="236834" y="1151274"/>
                    </a:cubicBezTo>
                    <a:cubicBezTo>
                      <a:pt x="228578" y="1122896"/>
                      <a:pt x="211551" y="1107932"/>
                      <a:pt x="181624" y="1104836"/>
                    </a:cubicBezTo>
                    <a:cubicBezTo>
                      <a:pt x="138282" y="1100192"/>
                      <a:pt x="95456" y="1091937"/>
                      <a:pt x="52114" y="1087293"/>
                    </a:cubicBezTo>
                    <a:cubicBezTo>
                      <a:pt x="27347" y="1084713"/>
                      <a:pt x="9804" y="1074910"/>
                      <a:pt x="1032" y="1051175"/>
                    </a:cubicBezTo>
                    <a:cubicBezTo>
                      <a:pt x="0" y="1028988"/>
                      <a:pt x="0" y="1008348"/>
                      <a:pt x="0" y="987194"/>
                    </a:cubicBezTo>
                    <a:close/>
                    <a:moveTo>
                      <a:pt x="1198616" y="960879"/>
                    </a:moveTo>
                    <a:cubicBezTo>
                      <a:pt x="1200163" y="838592"/>
                      <a:pt x="1104192" y="720433"/>
                      <a:pt x="958686" y="720949"/>
                    </a:cubicBezTo>
                    <a:cubicBezTo>
                      <a:pt x="824016" y="721465"/>
                      <a:pt x="720821" y="824145"/>
                      <a:pt x="720304" y="959331"/>
                    </a:cubicBezTo>
                    <a:cubicBezTo>
                      <a:pt x="719788" y="1096581"/>
                      <a:pt x="827628" y="1197712"/>
                      <a:pt x="957654" y="1198744"/>
                    </a:cubicBezTo>
                    <a:cubicBezTo>
                      <a:pt x="1090776" y="1199776"/>
                      <a:pt x="1198100" y="1092969"/>
                      <a:pt x="1198616" y="960879"/>
                    </a:cubicBezTo>
                    <a:close/>
                  </a:path>
                </a:pathLst>
              </a:custGeom>
              <a:grpFill/>
              <a:ln w="51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40" name="Group 39">
                <a:extLst>
                  <a:ext uri="{FF2B5EF4-FFF2-40B4-BE49-F238E27FC236}">
                    <a16:creationId xmlns:a16="http://schemas.microsoft.com/office/drawing/2014/main" id="{31D81169-CACA-4F00-B325-E9872F60ED27}"/>
                  </a:ext>
                </a:extLst>
              </p:cNvPr>
              <p:cNvGrpSpPr/>
              <p:nvPr/>
            </p:nvGrpSpPr>
            <p:grpSpPr>
              <a:xfrm>
                <a:off x="7392963" y="2648852"/>
                <a:ext cx="1838947" cy="1835405"/>
                <a:chOff x="7167947" y="1624190"/>
                <a:chExt cx="2677922" cy="2672763"/>
              </a:xfrm>
              <a:grpFill/>
            </p:grpSpPr>
            <p:sp>
              <p:nvSpPr>
                <p:cNvPr id="41" name="Freeform: Shape 40">
                  <a:extLst>
                    <a:ext uri="{FF2B5EF4-FFF2-40B4-BE49-F238E27FC236}">
                      <a16:creationId xmlns:a16="http://schemas.microsoft.com/office/drawing/2014/main" id="{F939FB8C-F4E6-45BF-BE92-A0D7E337E986}"/>
                    </a:ext>
                  </a:extLst>
                </p:cNvPr>
                <p:cNvSpPr/>
                <p:nvPr/>
              </p:nvSpPr>
              <p:spPr>
                <a:xfrm>
                  <a:off x="7167947" y="1624190"/>
                  <a:ext cx="2677922" cy="2672763"/>
                </a:xfrm>
                <a:custGeom>
                  <a:avLst/>
                  <a:gdLst>
                    <a:gd name="connsiteX0" fmla="*/ 2538684 w 2677922"/>
                    <a:gd name="connsiteY0" fmla="*/ 1897505 h 2672762"/>
                    <a:gd name="connsiteX1" fmla="*/ 2456643 w 2677922"/>
                    <a:gd name="connsiteY1" fmla="*/ 1879446 h 2672762"/>
                    <a:gd name="connsiteX2" fmla="*/ 2389566 w 2677922"/>
                    <a:gd name="connsiteY2" fmla="*/ 1863966 h 2672762"/>
                    <a:gd name="connsiteX3" fmla="*/ 2354479 w 2677922"/>
                    <a:gd name="connsiteY3" fmla="*/ 1874802 h 2672762"/>
                    <a:gd name="connsiteX4" fmla="*/ 2312170 w 2677922"/>
                    <a:gd name="connsiteY4" fmla="*/ 1950651 h 2672762"/>
                    <a:gd name="connsiteX5" fmla="*/ 2322489 w 2677922"/>
                    <a:gd name="connsiteY5" fmla="*/ 1983157 h 2672762"/>
                    <a:gd name="connsiteX6" fmla="*/ 2412785 w 2677922"/>
                    <a:gd name="connsiteY6" fmla="*/ 2080161 h 2672762"/>
                    <a:gd name="connsiteX7" fmla="*/ 2418461 w 2677922"/>
                    <a:gd name="connsiteY7" fmla="*/ 2146722 h 2672762"/>
                    <a:gd name="connsiteX8" fmla="*/ 2414849 w 2677922"/>
                    <a:gd name="connsiteY8" fmla="*/ 2151882 h 2672762"/>
                    <a:gd name="connsiteX9" fmla="*/ 2324037 w 2677922"/>
                    <a:gd name="connsiteY9" fmla="*/ 2174585 h 2672762"/>
                    <a:gd name="connsiteX10" fmla="*/ 2219294 w 2677922"/>
                    <a:gd name="connsiteY10" fmla="*/ 2118859 h 2672762"/>
                    <a:gd name="connsiteX11" fmla="*/ 2178531 w 2677922"/>
                    <a:gd name="connsiteY11" fmla="*/ 2120407 h 2672762"/>
                    <a:gd name="connsiteX12" fmla="*/ 2125386 w 2677922"/>
                    <a:gd name="connsiteY12" fmla="*/ 2172521 h 2672762"/>
                    <a:gd name="connsiteX13" fmla="*/ 2122806 w 2677922"/>
                    <a:gd name="connsiteY13" fmla="*/ 2217411 h 2672762"/>
                    <a:gd name="connsiteX14" fmla="*/ 2184723 w 2677922"/>
                    <a:gd name="connsiteY14" fmla="*/ 2334538 h 2672762"/>
                    <a:gd name="connsiteX15" fmla="*/ 2174404 w 2677922"/>
                    <a:gd name="connsiteY15" fmla="*/ 2395423 h 2672762"/>
                    <a:gd name="connsiteX16" fmla="*/ 2164084 w 2677922"/>
                    <a:gd name="connsiteY16" fmla="*/ 2404711 h 2672762"/>
                    <a:gd name="connsiteX17" fmla="*/ 2075336 w 2677922"/>
                    <a:gd name="connsiteY17" fmla="*/ 2401615 h 2672762"/>
                    <a:gd name="connsiteX18" fmla="*/ 1988652 w 2677922"/>
                    <a:gd name="connsiteY18" fmla="*/ 2320606 h 2672762"/>
                    <a:gd name="connsiteX19" fmla="*/ 1944277 w 2677922"/>
                    <a:gd name="connsiteY19" fmla="*/ 2311835 h 2672762"/>
                    <a:gd name="connsiteX20" fmla="*/ 1883392 w 2677922"/>
                    <a:gd name="connsiteY20" fmla="*/ 2346405 h 2672762"/>
                    <a:gd name="connsiteX21" fmla="*/ 1868429 w 2677922"/>
                    <a:gd name="connsiteY21" fmla="*/ 2391811 h 2672762"/>
                    <a:gd name="connsiteX22" fmla="*/ 1899388 w 2677922"/>
                    <a:gd name="connsiteY22" fmla="*/ 2526997 h 2672762"/>
                    <a:gd name="connsiteX23" fmla="*/ 1879264 w 2677922"/>
                    <a:gd name="connsiteY23" fmla="*/ 2571887 h 2672762"/>
                    <a:gd name="connsiteX24" fmla="*/ 1841082 w 2677922"/>
                    <a:gd name="connsiteY24" fmla="*/ 2588915 h 2672762"/>
                    <a:gd name="connsiteX25" fmla="*/ 1782777 w 2677922"/>
                    <a:gd name="connsiteY25" fmla="*/ 2568276 h 2672762"/>
                    <a:gd name="connsiteX26" fmla="*/ 1715184 w 2677922"/>
                    <a:gd name="connsiteY26" fmla="*/ 2459404 h 2672762"/>
                    <a:gd name="connsiteX27" fmla="*/ 1664618 w 2677922"/>
                    <a:gd name="connsiteY27" fmla="*/ 2435669 h 2672762"/>
                    <a:gd name="connsiteX28" fmla="*/ 1610440 w 2677922"/>
                    <a:gd name="connsiteY28" fmla="*/ 2450117 h 2672762"/>
                    <a:gd name="connsiteX29" fmla="*/ 1577418 w 2677922"/>
                    <a:gd name="connsiteY29" fmla="*/ 2495007 h 2672762"/>
                    <a:gd name="connsiteX30" fmla="*/ 1573806 w 2677922"/>
                    <a:gd name="connsiteY30" fmla="*/ 2616777 h 2672762"/>
                    <a:gd name="connsiteX31" fmla="*/ 1526852 w 2677922"/>
                    <a:gd name="connsiteY31" fmla="*/ 2672503 h 2672762"/>
                    <a:gd name="connsiteX32" fmla="*/ 1497441 w 2677922"/>
                    <a:gd name="connsiteY32" fmla="*/ 2676115 h 2672762"/>
                    <a:gd name="connsiteX33" fmla="*/ 1449972 w 2677922"/>
                    <a:gd name="connsiteY33" fmla="*/ 2644124 h 2672762"/>
                    <a:gd name="connsiteX34" fmla="*/ 1410241 w 2677922"/>
                    <a:gd name="connsiteY34" fmla="*/ 2514614 h 2672762"/>
                    <a:gd name="connsiteX35" fmla="*/ 1373091 w 2677922"/>
                    <a:gd name="connsiteY35" fmla="*/ 2482623 h 2672762"/>
                    <a:gd name="connsiteX36" fmla="*/ 1304982 w 2677922"/>
                    <a:gd name="connsiteY36" fmla="*/ 2483139 h 2672762"/>
                    <a:gd name="connsiteX37" fmla="*/ 1271959 w 2677922"/>
                    <a:gd name="connsiteY37" fmla="*/ 2511518 h 2672762"/>
                    <a:gd name="connsiteX38" fmla="*/ 1234293 w 2677922"/>
                    <a:gd name="connsiteY38" fmla="*/ 2633805 h 2672762"/>
                    <a:gd name="connsiteX39" fmla="*/ 1170828 w 2677922"/>
                    <a:gd name="connsiteY39" fmla="*/ 2674567 h 2672762"/>
                    <a:gd name="connsiteX40" fmla="*/ 1106847 w 2677922"/>
                    <a:gd name="connsiteY40" fmla="*/ 2602330 h 2672762"/>
                    <a:gd name="connsiteX41" fmla="*/ 1103751 w 2677922"/>
                    <a:gd name="connsiteY41" fmla="*/ 2491395 h 2672762"/>
                    <a:gd name="connsiteX42" fmla="*/ 1080532 w 2677922"/>
                    <a:gd name="connsiteY42" fmla="*/ 2454244 h 2672762"/>
                    <a:gd name="connsiteX43" fmla="*/ 1005199 w 2677922"/>
                    <a:gd name="connsiteY43" fmla="*/ 2435153 h 2672762"/>
                    <a:gd name="connsiteX44" fmla="*/ 969080 w 2677922"/>
                    <a:gd name="connsiteY44" fmla="*/ 2454244 h 2672762"/>
                    <a:gd name="connsiteX45" fmla="*/ 900456 w 2677922"/>
                    <a:gd name="connsiteY45" fmla="*/ 2564148 h 2672762"/>
                    <a:gd name="connsiteX46" fmla="*/ 836474 w 2677922"/>
                    <a:gd name="connsiteY46" fmla="*/ 2587367 h 2672762"/>
                    <a:gd name="connsiteX47" fmla="*/ 831830 w 2677922"/>
                    <a:gd name="connsiteY47" fmla="*/ 2585819 h 2672762"/>
                    <a:gd name="connsiteX48" fmla="*/ 785392 w 2677922"/>
                    <a:gd name="connsiteY48" fmla="*/ 2504810 h 2672762"/>
                    <a:gd name="connsiteX49" fmla="*/ 811707 w 2677922"/>
                    <a:gd name="connsiteY49" fmla="*/ 2390779 h 2672762"/>
                    <a:gd name="connsiteX50" fmla="*/ 794680 w 2677922"/>
                    <a:gd name="connsiteY50" fmla="*/ 2344341 h 2672762"/>
                    <a:gd name="connsiteX51" fmla="*/ 739470 w 2677922"/>
                    <a:gd name="connsiteY51" fmla="*/ 2312351 h 2672762"/>
                    <a:gd name="connsiteX52" fmla="*/ 689421 w 2677922"/>
                    <a:gd name="connsiteY52" fmla="*/ 2321638 h 2672762"/>
                    <a:gd name="connsiteX53" fmla="*/ 596029 w 2677922"/>
                    <a:gd name="connsiteY53" fmla="*/ 2408838 h 2672762"/>
                    <a:gd name="connsiteX54" fmla="*/ 530500 w 2677922"/>
                    <a:gd name="connsiteY54" fmla="*/ 2415030 h 2672762"/>
                    <a:gd name="connsiteX55" fmla="*/ 521212 w 2677922"/>
                    <a:gd name="connsiteY55" fmla="*/ 2408838 h 2672762"/>
                    <a:gd name="connsiteX56" fmla="*/ 500573 w 2677922"/>
                    <a:gd name="connsiteY56" fmla="*/ 2322670 h 2672762"/>
                    <a:gd name="connsiteX57" fmla="*/ 556298 w 2677922"/>
                    <a:gd name="connsiteY57" fmla="*/ 2217927 h 2672762"/>
                    <a:gd name="connsiteX58" fmla="*/ 552171 w 2677922"/>
                    <a:gd name="connsiteY58" fmla="*/ 2168909 h 2672762"/>
                    <a:gd name="connsiteX59" fmla="*/ 505733 w 2677922"/>
                    <a:gd name="connsiteY59" fmla="*/ 2122987 h 2672762"/>
                    <a:gd name="connsiteX60" fmla="*/ 457747 w 2677922"/>
                    <a:gd name="connsiteY60" fmla="*/ 2119375 h 2672762"/>
                    <a:gd name="connsiteX61" fmla="*/ 341652 w 2677922"/>
                    <a:gd name="connsiteY61" fmla="*/ 2180777 h 2672762"/>
                    <a:gd name="connsiteX62" fmla="*/ 278187 w 2677922"/>
                    <a:gd name="connsiteY62" fmla="*/ 2168909 h 2672762"/>
                    <a:gd name="connsiteX63" fmla="*/ 274059 w 2677922"/>
                    <a:gd name="connsiteY63" fmla="*/ 2164265 h 2672762"/>
                    <a:gd name="connsiteX64" fmla="*/ 276639 w 2677922"/>
                    <a:gd name="connsiteY64" fmla="*/ 2069325 h 2672762"/>
                    <a:gd name="connsiteX65" fmla="*/ 354551 w 2677922"/>
                    <a:gd name="connsiteY65" fmla="*/ 1986253 h 2672762"/>
                    <a:gd name="connsiteX66" fmla="*/ 363839 w 2677922"/>
                    <a:gd name="connsiteY66" fmla="*/ 1940847 h 2672762"/>
                    <a:gd name="connsiteX67" fmla="*/ 328237 w 2677922"/>
                    <a:gd name="connsiteY67" fmla="*/ 1878930 h 2672762"/>
                    <a:gd name="connsiteX68" fmla="*/ 283347 w 2677922"/>
                    <a:gd name="connsiteY68" fmla="*/ 1866030 h 2672762"/>
                    <a:gd name="connsiteX69" fmla="*/ 170864 w 2677922"/>
                    <a:gd name="connsiteY69" fmla="*/ 1891829 h 2672762"/>
                    <a:gd name="connsiteX70" fmla="*/ 155900 w 2677922"/>
                    <a:gd name="connsiteY70" fmla="*/ 1895441 h 2672762"/>
                    <a:gd name="connsiteX71" fmla="*/ 100175 w 2677922"/>
                    <a:gd name="connsiteY71" fmla="*/ 1868094 h 2672762"/>
                    <a:gd name="connsiteX72" fmla="*/ 87275 w 2677922"/>
                    <a:gd name="connsiteY72" fmla="*/ 1838168 h 2672762"/>
                    <a:gd name="connsiteX73" fmla="*/ 107915 w 2677922"/>
                    <a:gd name="connsiteY73" fmla="*/ 1779862 h 2672762"/>
                    <a:gd name="connsiteX74" fmla="*/ 213690 w 2677922"/>
                    <a:gd name="connsiteY74" fmla="*/ 1713817 h 2672762"/>
                    <a:gd name="connsiteX75" fmla="*/ 238972 w 2677922"/>
                    <a:gd name="connsiteY75" fmla="*/ 1654480 h 2672762"/>
                    <a:gd name="connsiteX76" fmla="*/ 222977 w 2677922"/>
                    <a:gd name="connsiteY76" fmla="*/ 1600818 h 2672762"/>
                    <a:gd name="connsiteX77" fmla="*/ 184279 w 2677922"/>
                    <a:gd name="connsiteY77" fmla="*/ 1575019 h 2672762"/>
                    <a:gd name="connsiteX78" fmla="*/ 59413 w 2677922"/>
                    <a:gd name="connsiteY78" fmla="*/ 1571407 h 2672762"/>
                    <a:gd name="connsiteX79" fmla="*/ 3687 w 2677922"/>
                    <a:gd name="connsiteY79" fmla="*/ 1524453 h 2672762"/>
                    <a:gd name="connsiteX80" fmla="*/ 1623 w 2677922"/>
                    <a:gd name="connsiteY80" fmla="*/ 1513618 h 2672762"/>
                    <a:gd name="connsiteX81" fmla="*/ 48577 w 2677922"/>
                    <a:gd name="connsiteY81" fmla="*/ 1442413 h 2672762"/>
                    <a:gd name="connsiteX82" fmla="*/ 160544 w 2677922"/>
                    <a:gd name="connsiteY82" fmla="*/ 1408358 h 2672762"/>
                    <a:gd name="connsiteX83" fmla="*/ 194083 w 2677922"/>
                    <a:gd name="connsiteY83" fmla="*/ 1370692 h 2672762"/>
                    <a:gd name="connsiteX84" fmla="*/ 192534 w 2677922"/>
                    <a:gd name="connsiteY84" fmla="*/ 1298971 h 2672762"/>
                    <a:gd name="connsiteX85" fmla="*/ 166220 w 2677922"/>
                    <a:gd name="connsiteY85" fmla="*/ 1269560 h 2672762"/>
                    <a:gd name="connsiteX86" fmla="*/ 47029 w 2677922"/>
                    <a:gd name="connsiteY86" fmla="*/ 1232926 h 2672762"/>
                    <a:gd name="connsiteX87" fmla="*/ 1623 w 2677922"/>
                    <a:gd name="connsiteY87" fmla="*/ 1166881 h 2672762"/>
                    <a:gd name="connsiteX88" fmla="*/ 6267 w 2677922"/>
                    <a:gd name="connsiteY88" fmla="*/ 1139534 h 2672762"/>
                    <a:gd name="connsiteX89" fmla="*/ 49093 w 2677922"/>
                    <a:gd name="connsiteY89" fmla="*/ 1105480 h 2672762"/>
                    <a:gd name="connsiteX90" fmla="*/ 164672 w 2677922"/>
                    <a:gd name="connsiteY90" fmla="*/ 1101868 h 2672762"/>
                    <a:gd name="connsiteX91" fmla="*/ 181699 w 2677922"/>
                    <a:gd name="connsiteY91" fmla="*/ 1101352 h 2672762"/>
                    <a:gd name="connsiteX92" fmla="*/ 227621 w 2677922"/>
                    <a:gd name="connsiteY92" fmla="*/ 1065233 h 2672762"/>
                    <a:gd name="connsiteX93" fmla="*/ 241036 w 2677922"/>
                    <a:gd name="connsiteY93" fmla="*/ 1014152 h 2672762"/>
                    <a:gd name="connsiteX94" fmla="*/ 219366 w 2677922"/>
                    <a:gd name="connsiteY94" fmla="*/ 965650 h 2672762"/>
                    <a:gd name="connsiteX95" fmla="*/ 113590 w 2677922"/>
                    <a:gd name="connsiteY95" fmla="*/ 899605 h 2672762"/>
                    <a:gd name="connsiteX96" fmla="*/ 89855 w 2677922"/>
                    <a:gd name="connsiteY96" fmla="*/ 832012 h 2672762"/>
                    <a:gd name="connsiteX97" fmla="*/ 104818 w 2677922"/>
                    <a:gd name="connsiteY97" fmla="*/ 799505 h 2672762"/>
                    <a:gd name="connsiteX98" fmla="*/ 151256 w 2677922"/>
                    <a:gd name="connsiteY98" fmla="*/ 779898 h 2672762"/>
                    <a:gd name="connsiteX99" fmla="*/ 283347 w 2677922"/>
                    <a:gd name="connsiteY99" fmla="*/ 810341 h 2672762"/>
                    <a:gd name="connsiteX100" fmla="*/ 331332 w 2677922"/>
                    <a:gd name="connsiteY100" fmla="*/ 794345 h 2672762"/>
                    <a:gd name="connsiteX101" fmla="*/ 363839 w 2677922"/>
                    <a:gd name="connsiteY101" fmla="*/ 737588 h 2672762"/>
                    <a:gd name="connsiteX102" fmla="*/ 354551 w 2677922"/>
                    <a:gd name="connsiteY102" fmla="*/ 689086 h 2672762"/>
                    <a:gd name="connsiteX103" fmla="*/ 266835 w 2677922"/>
                    <a:gd name="connsiteY103" fmla="*/ 595694 h 2672762"/>
                    <a:gd name="connsiteX104" fmla="*/ 261675 w 2677922"/>
                    <a:gd name="connsiteY104" fmla="*/ 529133 h 2672762"/>
                    <a:gd name="connsiteX105" fmla="*/ 270447 w 2677922"/>
                    <a:gd name="connsiteY105" fmla="*/ 516233 h 2672762"/>
                    <a:gd name="connsiteX106" fmla="*/ 349907 w 2677922"/>
                    <a:gd name="connsiteY106" fmla="*/ 498690 h 2672762"/>
                    <a:gd name="connsiteX107" fmla="*/ 457231 w 2677922"/>
                    <a:gd name="connsiteY107" fmla="*/ 555964 h 2672762"/>
                    <a:gd name="connsiteX108" fmla="*/ 507797 w 2677922"/>
                    <a:gd name="connsiteY108" fmla="*/ 551320 h 2672762"/>
                    <a:gd name="connsiteX109" fmla="*/ 551139 w 2677922"/>
                    <a:gd name="connsiteY109" fmla="*/ 508494 h 2672762"/>
                    <a:gd name="connsiteX110" fmla="*/ 556815 w 2677922"/>
                    <a:gd name="connsiteY110" fmla="*/ 456896 h 2672762"/>
                    <a:gd name="connsiteX111" fmla="*/ 494381 w 2677922"/>
                    <a:gd name="connsiteY111" fmla="*/ 339769 h 2672762"/>
                    <a:gd name="connsiteX112" fmla="*/ 505217 w 2677922"/>
                    <a:gd name="connsiteY112" fmla="*/ 280432 h 2672762"/>
                    <a:gd name="connsiteX113" fmla="*/ 537723 w 2677922"/>
                    <a:gd name="connsiteY113" fmla="*/ 256181 h 2672762"/>
                    <a:gd name="connsiteX114" fmla="*/ 590353 w 2677922"/>
                    <a:gd name="connsiteY114" fmla="*/ 261857 h 2672762"/>
                    <a:gd name="connsiteX115" fmla="*/ 679617 w 2677922"/>
                    <a:gd name="connsiteY115" fmla="*/ 344929 h 2672762"/>
                    <a:gd name="connsiteX116" fmla="*/ 754950 w 2677922"/>
                    <a:gd name="connsiteY116" fmla="*/ 355765 h 2672762"/>
                    <a:gd name="connsiteX117" fmla="*/ 797260 w 2677922"/>
                    <a:gd name="connsiteY117" fmla="*/ 329450 h 2672762"/>
                    <a:gd name="connsiteX118" fmla="*/ 811707 w 2677922"/>
                    <a:gd name="connsiteY118" fmla="*/ 285076 h 2672762"/>
                    <a:gd name="connsiteX119" fmla="*/ 781781 w 2677922"/>
                    <a:gd name="connsiteY119" fmla="*/ 156081 h 2672762"/>
                    <a:gd name="connsiteX120" fmla="*/ 807064 w 2677922"/>
                    <a:gd name="connsiteY120" fmla="*/ 100872 h 2672762"/>
                    <a:gd name="connsiteX121" fmla="*/ 841634 w 2677922"/>
                    <a:gd name="connsiteY121" fmla="*/ 86424 h 2672762"/>
                    <a:gd name="connsiteX122" fmla="*/ 896328 w 2677922"/>
                    <a:gd name="connsiteY122" fmla="*/ 106031 h 2672762"/>
                    <a:gd name="connsiteX123" fmla="*/ 965469 w 2677922"/>
                    <a:gd name="connsiteY123" fmla="*/ 217483 h 2672762"/>
                    <a:gd name="connsiteX124" fmla="*/ 1013455 w 2677922"/>
                    <a:gd name="connsiteY124" fmla="*/ 240702 h 2672762"/>
                    <a:gd name="connsiteX125" fmla="*/ 1077952 w 2677922"/>
                    <a:gd name="connsiteY125" fmla="*/ 222642 h 2672762"/>
                    <a:gd name="connsiteX126" fmla="*/ 1101687 w 2677922"/>
                    <a:gd name="connsiteY126" fmla="*/ 188072 h 2672762"/>
                    <a:gd name="connsiteX127" fmla="*/ 1106847 w 2677922"/>
                    <a:gd name="connsiteY127" fmla="*/ 53918 h 2672762"/>
                    <a:gd name="connsiteX128" fmla="*/ 1145029 w 2677922"/>
                    <a:gd name="connsiteY128" fmla="*/ 4900 h 2672762"/>
                    <a:gd name="connsiteX129" fmla="*/ 1158960 w 2677922"/>
                    <a:gd name="connsiteY129" fmla="*/ 1804 h 2672762"/>
                    <a:gd name="connsiteX130" fmla="*/ 1235841 w 2677922"/>
                    <a:gd name="connsiteY130" fmla="*/ 48758 h 2672762"/>
                    <a:gd name="connsiteX131" fmla="*/ 1269895 w 2677922"/>
                    <a:gd name="connsiteY131" fmla="*/ 162273 h 2672762"/>
                    <a:gd name="connsiteX132" fmla="*/ 1303434 w 2677922"/>
                    <a:gd name="connsiteY132" fmla="*/ 192716 h 2672762"/>
                    <a:gd name="connsiteX133" fmla="*/ 1376702 w 2677922"/>
                    <a:gd name="connsiteY133" fmla="*/ 192716 h 2672762"/>
                    <a:gd name="connsiteX134" fmla="*/ 1409209 w 2677922"/>
                    <a:gd name="connsiteY134" fmla="*/ 163305 h 2672762"/>
                    <a:gd name="connsiteX135" fmla="*/ 1447392 w 2677922"/>
                    <a:gd name="connsiteY135" fmla="*/ 37922 h 2672762"/>
                    <a:gd name="connsiteX136" fmla="*/ 1499505 w 2677922"/>
                    <a:gd name="connsiteY136" fmla="*/ 256 h 2672762"/>
                    <a:gd name="connsiteX137" fmla="*/ 1513436 w 2677922"/>
                    <a:gd name="connsiteY137" fmla="*/ 772 h 2672762"/>
                    <a:gd name="connsiteX138" fmla="*/ 1573290 w 2677922"/>
                    <a:gd name="connsiteY138" fmla="*/ 65269 h 2672762"/>
                    <a:gd name="connsiteX139" fmla="*/ 1576902 w 2677922"/>
                    <a:gd name="connsiteY139" fmla="*/ 185492 h 2672762"/>
                    <a:gd name="connsiteX140" fmla="*/ 1598057 w 2677922"/>
                    <a:gd name="connsiteY140" fmla="*/ 220578 h 2672762"/>
                    <a:gd name="connsiteX141" fmla="*/ 1674422 w 2677922"/>
                    <a:gd name="connsiteY141" fmla="*/ 240702 h 2672762"/>
                    <a:gd name="connsiteX142" fmla="*/ 1710540 w 2677922"/>
                    <a:gd name="connsiteY142" fmla="*/ 221610 h 2672762"/>
                    <a:gd name="connsiteX143" fmla="*/ 1779165 w 2677922"/>
                    <a:gd name="connsiteY143" fmla="*/ 111707 h 2672762"/>
                    <a:gd name="connsiteX144" fmla="*/ 1845726 w 2677922"/>
                    <a:gd name="connsiteY144" fmla="*/ 88488 h 2672762"/>
                    <a:gd name="connsiteX145" fmla="*/ 1857594 w 2677922"/>
                    <a:gd name="connsiteY145" fmla="*/ 92616 h 2672762"/>
                    <a:gd name="connsiteX146" fmla="*/ 1895260 w 2677922"/>
                    <a:gd name="connsiteY146" fmla="*/ 166401 h 2672762"/>
                    <a:gd name="connsiteX147" fmla="*/ 1868429 w 2677922"/>
                    <a:gd name="connsiteY147" fmla="*/ 281980 h 2672762"/>
                    <a:gd name="connsiteX148" fmla="*/ 1887004 w 2677922"/>
                    <a:gd name="connsiteY148" fmla="*/ 332030 h 2672762"/>
                    <a:gd name="connsiteX149" fmla="*/ 1946857 w 2677922"/>
                    <a:gd name="connsiteY149" fmla="*/ 365052 h 2672762"/>
                    <a:gd name="connsiteX150" fmla="*/ 1986588 w 2677922"/>
                    <a:gd name="connsiteY150" fmla="*/ 355765 h 2672762"/>
                    <a:gd name="connsiteX151" fmla="*/ 2081528 w 2677922"/>
                    <a:gd name="connsiteY151" fmla="*/ 267532 h 2672762"/>
                    <a:gd name="connsiteX152" fmla="*/ 2151701 w 2677922"/>
                    <a:gd name="connsiteY152" fmla="*/ 261857 h 2672762"/>
                    <a:gd name="connsiteX153" fmla="*/ 2155312 w 2677922"/>
                    <a:gd name="connsiteY153" fmla="*/ 264437 h 2672762"/>
                    <a:gd name="connsiteX154" fmla="*/ 2177500 w 2677922"/>
                    <a:gd name="connsiteY154" fmla="*/ 353701 h 2672762"/>
                    <a:gd name="connsiteX155" fmla="*/ 2122290 w 2677922"/>
                    <a:gd name="connsiteY155" fmla="*/ 456896 h 2672762"/>
                    <a:gd name="connsiteX156" fmla="*/ 2126934 w 2677922"/>
                    <a:gd name="connsiteY156" fmla="*/ 505914 h 2672762"/>
                    <a:gd name="connsiteX157" fmla="*/ 2173372 w 2677922"/>
                    <a:gd name="connsiteY157" fmla="*/ 551836 h 2672762"/>
                    <a:gd name="connsiteX158" fmla="*/ 2219810 w 2677922"/>
                    <a:gd name="connsiteY158" fmla="*/ 555964 h 2672762"/>
                    <a:gd name="connsiteX159" fmla="*/ 2336937 w 2677922"/>
                    <a:gd name="connsiteY159" fmla="*/ 494046 h 2672762"/>
                    <a:gd name="connsiteX160" fmla="*/ 2400917 w 2677922"/>
                    <a:gd name="connsiteY160" fmla="*/ 507462 h 2672762"/>
                    <a:gd name="connsiteX161" fmla="*/ 2420525 w 2677922"/>
                    <a:gd name="connsiteY161" fmla="*/ 533777 h 2672762"/>
                    <a:gd name="connsiteX162" fmla="*/ 2415365 w 2677922"/>
                    <a:gd name="connsiteY162" fmla="*/ 591566 h 2672762"/>
                    <a:gd name="connsiteX163" fmla="*/ 2321973 w 2677922"/>
                    <a:gd name="connsiteY163" fmla="*/ 692182 h 2672762"/>
                    <a:gd name="connsiteX164" fmla="*/ 2313718 w 2677922"/>
                    <a:gd name="connsiteY164" fmla="*/ 733460 h 2672762"/>
                    <a:gd name="connsiteX165" fmla="*/ 2349320 w 2677922"/>
                    <a:gd name="connsiteY165" fmla="*/ 795377 h 2672762"/>
                    <a:gd name="connsiteX166" fmla="*/ 2394726 w 2677922"/>
                    <a:gd name="connsiteY166" fmla="*/ 810341 h 2672762"/>
                    <a:gd name="connsiteX167" fmla="*/ 2526816 w 2677922"/>
                    <a:gd name="connsiteY167" fmla="*/ 780414 h 2672762"/>
                    <a:gd name="connsiteX168" fmla="*/ 2575834 w 2677922"/>
                    <a:gd name="connsiteY168" fmla="*/ 803117 h 2672762"/>
                    <a:gd name="connsiteX169" fmla="*/ 2591313 w 2677922"/>
                    <a:gd name="connsiteY169" fmla="*/ 838719 h 2672762"/>
                    <a:gd name="connsiteX170" fmla="*/ 2570158 w 2677922"/>
                    <a:gd name="connsiteY170" fmla="*/ 896509 h 2672762"/>
                    <a:gd name="connsiteX171" fmla="*/ 2461287 w 2677922"/>
                    <a:gd name="connsiteY171" fmla="*/ 964102 h 2672762"/>
                    <a:gd name="connsiteX172" fmla="*/ 2438068 w 2677922"/>
                    <a:gd name="connsiteY172" fmla="*/ 1014668 h 2672762"/>
                    <a:gd name="connsiteX173" fmla="*/ 2454063 w 2677922"/>
                    <a:gd name="connsiteY173" fmla="*/ 1073489 h 2672762"/>
                    <a:gd name="connsiteX174" fmla="*/ 2492762 w 2677922"/>
                    <a:gd name="connsiteY174" fmla="*/ 1100836 h 2672762"/>
                    <a:gd name="connsiteX175" fmla="*/ 2628464 w 2677922"/>
                    <a:gd name="connsiteY175" fmla="*/ 1105996 h 2672762"/>
                    <a:gd name="connsiteX176" fmla="*/ 2672322 w 2677922"/>
                    <a:gd name="connsiteY176" fmla="*/ 1140566 h 2672762"/>
                    <a:gd name="connsiteX177" fmla="*/ 2677998 w 2677922"/>
                    <a:gd name="connsiteY177" fmla="*/ 1182360 h 2672762"/>
                    <a:gd name="connsiteX178" fmla="*/ 2644459 w 2677922"/>
                    <a:gd name="connsiteY178" fmla="*/ 1229830 h 2672762"/>
                    <a:gd name="connsiteX179" fmla="*/ 2522172 w 2677922"/>
                    <a:gd name="connsiteY179" fmla="*/ 1267497 h 2672762"/>
                    <a:gd name="connsiteX180" fmla="*/ 2483990 w 2677922"/>
                    <a:gd name="connsiteY180" fmla="*/ 1315998 h 2672762"/>
                    <a:gd name="connsiteX181" fmla="*/ 2486570 w 2677922"/>
                    <a:gd name="connsiteY181" fmla="*/ 1379980 h 2672762"/>
                    <a:gd name="connsiteX182" fmla="*/ 2512885 w 2677922"/>
                    <a:gd name="connsiteY182" fmla="*/ 1407842 h 2672762"/>
                    <a:gd name="connsiteX183" fmla="*/ 2641363 w 2677922"/>
                    <a:gd name="connsiteY183" fmla="*/ 1447057 h 2672762"/>
                    <a:gd name="connsiteX184" fmla="*/ 2677998 w 2677922"/>
                    <a:gd name="connsiteY184" fmla="*/ 1498138 h 2672762"/>
                    <a:gd name="connsiteX185" fmla="*/ 2677998 w 2677922"/>
                    <a:gd name="connsiteY185" fmla="*/ 1507426 h 2672762"/>
                    <a:gd name="connsiteX186" fmla="*/ 2611952 w 2677922"/>
                    <a:gd name="connsiteY186" fmla="*/ 1572955 h 2672762"/>
                    <a:gd name="connsiteX187" fmla="*/ 2490182 w 2677922"/>
                    <a:gd name="connsiteY187" fmla="*/ 1576567 h 2672762"/>
                    <a:gd name="connsiteX188" fmla="*/ 2457675 w 2677922"/>
                    <a:gd name="connsiteY188" fmla="*/ 1596690 h 2672762"/>
                    <a:gd name="connsiteX189" fmla="*/ 2437036 w 2677922"/>
                    <a:gd name="connsiteY189" fmla="*/ 1673055 h 2672762"/>
                    <a:gd name="connsiteX190" fmla="*/ 2457159 w 2677922"/>
                    <a:gd name="connsiteY190" fmla="*/ 1710205 h 2672762"/>
                    <a:gd name="connsiteX191" fmla="*/ 2564483 w 2677922"/>
                    <a:gd name="connsiteY191" fmla="*/ 1777282 h 2672762"/>
                    <a:gd name="connsiteX192" fmla="*/ 2588733 w 2677922"/>
                    <a:gd name="connsiteY192" fmla="*/ 1845907 h 2672762"/>
                    <a:gd name="connsiteX193" fmla="*/ 2571706 w 2677922"/>
                    <a:gd name="connsiteY193" fmla="*/ 1880994 h 2672762"/>
                    <a:gd name="connsiteX194" fmla="*/ 2538684 w 2677922"/>
                    <a:gd name="connsiteY194" fmla="*/ 1897505 h 2672762"/>
                    <a:gd name="connsiteX195" fmla="*/ 1338521 w 2677922"/>
                    <a:gd name="connsiteY195" fmla="*/ 2312867 h 2672762"/>
                    <a:gd name="connsiteX196" fmla="*/ 2316814 w 2677922"/>
                    <a:gd name="connsiteY196" fmla="*/ 1335605 h 2672762"/>
                    <a:gd name="connsiteX197" fmla="*/ 1340068 w 2677922"/>
                    <a:gd name="connsiteY197" fmla="*/ 359376 h 2672762"/>
                    <a:gd name="connsiteX198" fmla="*/ 361775 w 2677922"/>
                    <a:gd name="connsiteY198" fmla="*/ 1331994 h 2672762"/>
                    <a:gd name="connsiteX199" fmla="*/ 1338521 w 2677922"/>
                    <a:gd name="connsiteY199" fmla="*/ 2312867 h 26727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</a:cxnLst>
                  <a:rect l="l" t="t" r="r" b="b"/>
                  <a:pathLst>
                    <a:path w="2677922" h="2672762">
                      <a:moveTo>
                        <a:pt x="2538684" y="1897505"/>
                      </a:moveTo>
                      <a:cubicBezTo>
                        <a:pt x="2511337" y="1891313"/>
                        <a:pt x="2483990" y="1885121"/>
                        <a:pt x="2456643" y="1879446"/>
                      </a:cubicBezTo>
                      <a:cubicBezTo>
                        <a:pt x="2434456" y="1874286"/>
                        <a:pt x="2411753" y="1869642"/>
                        <a:pt x="2389566" y="1863966"/>
                      </a:cubicBezTo>
                      <a:cubicBezTo>
                        <a:pt x="2375119" y="1860354"/>
                        <a:pt x="2363767" y="1864482"/>
                        <a:pt x="2354479" y="1874802"/>
                      </a:cubicBezTo>
                      <a:cubicBezTo>
                        <a:pt x="2335389" y="1896989"/>
                        <a:pt x="2320425" y="1922272"/>
                        <a:pt x="2312170" y="1950651"/>
                      </a:cubicBezTo>
                      <a:cubicBezTo>
                        <a:pt x="2308042" y="1964066"/>
                        <a:pt x="2314234" y="1973869"/>
                        <a:pt x="2322489" y="1983157"/>
                      </a:cubicBezTo>
                      <a:cubicBezTo>
                        <a:pt x="2352416" y="2015664"/>
                        <a:pt x="2382858" y="2048170"/>
                        <a:pt x="2412785" y="2080161"/>
                      </a:cubicBezTo>
                      <a:cubicBezTo>
                        <a:pt x="2435488" y="2104412"/>
                        <a:pt x="2436520" y="2118859"/>
                        <a:pt x="2418461" y="2146722"/>
                      </a:cubicBezTo>
                      <a:cubicBezTo>
                        <a:pt x="2417429" y="2148270"/>
                        <a:pt x="2416397" y="2150334"/>
                        <a:pt x="2414849" y="2151882"/>
                      </a:cubicBezTo>
                      <a:cubicBezTo>
                        <a:pt x="2380795" y="2197804"/>
                        <a:pt x="2365831" y="2198320"/>
                        <a:pt x="2324037" y="2174585"/>
                      </a:cubicBezTo>
                      <a:cubicBezTo>
                        <a:pt x="2289982" y="2154978"/>
                        <a:pt x="2253864" y="2137434"/>
                        <a:pt x="2219294" y="2118859"/>
                      </a:cubicBezTo>
                      <a:cubicBezTo>
                        <a:pt x="2204846" y="2111120"/>
                        <a:pt x="2191431" y="2111120"/>
                        <a:pt x="2178531" y="2120407"/>
                      </a:cubicBezTo>
                      <a:cubicBezTo>
                        <a:pt x="2157892" y="2134855"/>
                        <a:pt x="2140349" y="2152398"/>
                        <a:pt x="2125386" y="2172521"/>
                      </a:cubicBezTo>
                      <a:cubicBezTo>
                        <a:pt x="2114550" y="2186968"/>
                        <a:pt x="2114034" y="2201416"/>
                        <a:pt x="2122806" y="2217411"/>
                      </a:cubicBezTo>
                      <a:cubicBezTo>
                        <a:pt x="2143961" y="2256109"/>
                        <a:pt x="2164600" y="2295323"/>
                        <a:pt x="2184723" y="2334538"/>
                      </a:cubicBezTo>
                      <a:cubicBezTo>
                        <a:pt x="2198655" y="2361885"/>
                        <a:pt x="2196591" y="2374268"/>
                        <a:pt x="2174404" y="2395423"/>
                      </a:cubicBezTo>
                      <a:cubicBezTo>
                        <a:pt x="2170792" y="2398519"/>
                        <a:pt x="2167696" y="2402131"/>
                        <a:pt x="2164084" y="2404711"/>
                      </a:cubicBezTo>
                      <a:cubicBezTo>
                        <a:pt x="2131062" y="2428962"/>
                        <a:pt x="2114034" y="2440829"/>
                        <a:pt x="2075336" y="2401615"/>
                      </a:cubicBezTo>
                      <a:cubicBezTo>
                        <a:pt x="2047473" y="2373236"/>
                        <a:pt x="2017547" y="2347953"/>
                        <a:pt x="1988652" y="2320606"/>
                      </a:cubicBezTo>
                      <a:cubicBezTo>
                        <a:pt x="1975236" y="2307707"/>
                        <a:pt x="1960789" y="2305127"/>
                        <a:pt x="1944277" y="2311835"/>
                      </a:cubicBezTo>
                      <a:cubicBezTo>
                        <a:pt x="1922607" y="2320606"/>
                        <a:pt x="1901968" y="2331958"/>
                        <a:pt x="1883392" y="2346405"/>
                      </a:cubicBezTo>
                      <a:cubicBezTo>
                        <a:pt x="1867913" y="2358273"/>
                        <a:pt x="1863785" y="2373236"/>
                        <a:pt x="1868429" y="2391811"/>
                      </a:cubicBezTo>
                      <a:cubicBezTo>
                        <a:pt x="1879264" y="2436701"/>
                        <a:pt x="1889584" y="2482107"/>
                        <a:pt x="1899388" y="2526997"/>
                      </a:cubicBezTo>
                      <a:cubicBezTo>
                        <a:pt x="1903516" y="2546604"/>
                        <a:pt x="1896808" y="2561568"/>
                        <a:pt x="1879264" y="2571887"/>
                      </a:cubicBezTo>
                      <a:cubicBezTo>
                        <a:pt x="1867397" y="2579111"/>
                        <a:pt x="1854498" y="2584787"/>
                        <a:pt x="1841082" y="2588915"/>
                      </a:cubicBezTo>
                      <a:cubicBezTo>
                        <a:pt x="1813736" y="2597686"/>
                        <a:pt x="1798256" y="2592526"/>
                        <a:pt x="1782777" y="2568276"/>
                      </a:cubicBezTo>
                      <a:cubicBezTo>
                        <a:pt x="1760074" y="2532157"/>
                        <a:pt x="1736855" y="2496555"/>
                        <a:pt x="1715184" y="2459404"/>
                      </a:cubicBezTo>
                      <a:cubicBezTo>
                        <a:pt x="1703316" y="2439281"/>
                        <a:pt x="1687837" y="2431542"/>
                        <a:pt x="1664618" y="2435669"/>
                      </a:cubicBezTo>
                      <a:cubicBezTo>
                        <a:pt x="1646043" y="2439281"/>
                        <a:pt x="1627984" y="2443925"/>
                        <a:pt x="1610440" y="2450117"/>
                      </a:cubicBezTo>
                      <a:cubicBezTo>
                        <a:pt x="1586190" y="2458888"/>
                        <a:pt x="1578450" y="2469208"/>
                        <a:pt x="1577418" y="2495007"/>
                      </a:cubicBezTo>
                      <a:cubicBezTo>
                        <a:pt x="1575870" y="2535769"/>
                        <a:pt x="1574838" y="2576015"/>
                        <a:pt x="1573806" y="2616777"/>
                      </a:cubicBezTo>
                      <a:cubicBezTo>
                        <a:pt x="1572774" y="2653928"/>
                        <a:pt x="1563487" y="2665795"/>
                        <a:pt x="1526852" y="2672503"/>
                      </a:cubicBezTo>
                      <a:cubicBezTo>
                        <a:pt x="1517049" y="2674567"/>
                        <a:pt x="1507245" y="2675599"/>
                        <a:pt x="1497441" y="2676115"/>
                      </a:cubicBezTo>
                      <a:cubicBezTo>
                        <a:pt x="1473191" y="2677663"/>
                        <a:pt x="1457711" y="2667859"/>
                        <a:pt x="1449972" y="2644124"/>
                      </a:cubicBezTo>
                      <a:cubicBezTo>
                        <a:pt x="1436040" y="2600782"/>
                        <a:pt x="1422624" y="2557956"/>
                        <a:pt x="1410241" y="2514614"/>
                      </a:cubicBezTo>
                      <a:cubicBezTo>
                        <a:pt x="1404565" y="2495007"/>
                        <a:pt x="1392698" y="2485719"/>
                        <a:pt x="1373091" y="2482623"/>
                      </a:cubicBezTo>
                      <a:cubicBezTo>
                        <a:pt x="1350388" y="2479527"/>
                        <a:pt x="1327685" y="2479527"/>
                        <a:pt x="1304982" y="2483139"/>
                      </a:cubicBezTo>
                      <a:cubicBezTo>
                        <a:pt x="1287955" y="2485719"/>
                        <a:pt x="1277119" y="2494491"/>
                        <a:pt x="1271959" y="2511518"/>
                      </a:cubicBezTo>
                      <a:cubicBezTo>
                        <a:pt x="1260092" y="2552280"/>
                        <a:pt x="1247192" y="2593042"/>
                        <a:pt x="1234293" y="2633805"/>
                      </a:cubicBezTo>
                      <a:cubicBezTo>
                        <a:pt x="1222941" y="2670439"/>
                        <a:pt x="1208494" y="2679727"/>
                        <a:pt x="1170828" y="2674567"/>
                      </a:cubicBezTo>
                      <a:cubicBezTo>
                        <a:pt x="1114070" y="2666827"/>
                        <a:pt x="1107362" y="2659087"/>
                        <a:pt x="1106847" y="2602330"/>
                      </a:cubicBezTo>
                      <a:cubicBezTo>
                        <a:pt x="1106331" y="2565180"/>
                        <a:pt x="1104783" y="2528545"/>
                        <a:pt x="1103751" y="2491395"/>
                      </a:cubicBezTo>
                      <a:cubicBezTo>
                        <a:pt x="1103234" y="2474368"/>
                        <a:pt x="1096527" y="2460952"/>
                        <a:pt x="1080532" y="2454244"/>
                      </a:cubicBezTo>
                      <a:cubicBezTo>
                        <a:pt x="1056281" y="2443925"/>
                        <a:pt x="1031514" y="2436701"/>
                        <a:pt x="1005199" y="2435153"/>
                      </a:cubicBezTo>
                      <a:cubicBezTo>
                        <a:pt x="989203" y="2434121"/>
                        <a:pt x="977852" y="2440313"/>
                        <a:pt x="969080" y="2454244"/>
                      </a:cubicBezTo>
                      <a:cubicBezTo>
                        <a:pt x="946894" y="2491395"/>
                        <a:pt x="923159" y="2527513"/>
                        <a:pt x="900456" y="2564148"/>
                      </a:cubicBezTo>
                      <a:cubicBezTo>
                        <a:pt x="882396" y="2593042"/>
                        <a:pt x="868465" y="2598202"/>
                        <a:pt x="836474" y="2587367"/>
                      </a:cubicBezTo>
                      <a:cubicBezTo>
                        <a:pt x="834926" y="2586851"/>
                        <a:pt x="833379" y="2586335"/>
                        <a:pt x="831830" y="2585819"/>
                      </a:cubicBezTo>
                      <a:cubicBezTo>
                        <a:pt x="782297" y="2565696"/>
                        <a:pt x="772493" y="2554344"/>
                        <a:pt x="785392" y="2504810"/>
                      </a:cubicBezTo>
                      <a:cubicBezTo>
                        <a:pt x="795196" y="2467144"/>
                        <a:pt x="802420" y="2428962"/>
                        <a:pt x="811707" y="2390779"/>
                      </a:cubicBezTo>
                      <a:cubicBezTo>
                        <a:pt x="816351" y="2371172"/>
                        <a:pt x="811191" y="2356209"/>
                        <a:pt x="794680" y="2344341"/>
                      </a:cubicBezTo>
                      <a:cubicBezTo>
                        <a:pt x="777137" y="2331958"/>
                        <a:pt x="759078" y="2321122"/>
                        <a:pt x="739470" y="2312351"/>
                      </a:cubicBezTo>
                      <a:cubicBezTo>
                        <a:pt x="720895" y="2304095"/>
                        <a:pt x="704900" y="2307191"/>
                        <a:pt x="689421" y="2321638"/>
                      </a:cubicBezTo>
                      <a:cubicBezTo>
                        <a:pt x="658462" y="2351049"/>
                        <a:pt x="626988" y="2379944"/>
                        <a:pt x="596029" y="2408838"/>
                      </a:cubicBezTo>
                      <a:cubicBezTo>
                        <a:pt x="572810" y="2431026"/>
                        <a:pt x="557847" y="2432057"/>
                        <a:pt x="530500" y="2415030"/>
                      </a:cubicBezTo>
                      <a:cubicBezTo>
                        <a:pt x="527404" y="2412966"/>
                        <a:pt x="524308" y="2410902"/>
                        <a:pt x="521212" y="2408838"/>
                      </a:cubicBezTo>
                      <a:cubicBezTo>
                        <a:pt x="481482" y="2380460"/>
                        <a:pt x="477870" y="2365496"/>
                        <a:pt x="500573" y="2322670"/>
                      </a:cubicBezTo>
                      <a:cubicBezTo>
                        <a:pt x="519148" y="2287584"/>
                        <a:pt x="537207" y="2252497"/>
                        <a:pt x="556298" y="2217927"/>
                      </a:cubicBezTo>
                      <a:cubicBezTo>
                        <a:pt x="566102" y="2199868"/>
                        <a:pt x="564555" y="2184388"/>
                        <a:pt x="552171" y="2168909"/>
                      </a:cubicBezTo>
                      <a:cubicBezTo>
                        <a:pt x="538756" y="2151882"/>
                        <a:pt x="523276" y="2136402"/>
                        <a:pt x="505733" y="2122987"/>
                      </a:cubicBezTo>
                      <a:cubicBezTo>
                        <a:pt x="490254" y="2111120"/>
                        <a:pt x="474774" y="2110088"/>
                        <a:pt x="457747" y="2119375"/>
                      </a:cubicBezTo>
                      <a:cubicBezTo>
                        <a:pt x="419564" y="2140014"/>
                        <a:pt x="380866" y="2160653"/>
                        <a:pt x="341652" y="2180777"/>
                      </a:cubicBezTo>
                      <a:cubicBezTo>
                        <a:pt x="314305" y="2195224"/>
                        <a:pt x="298310" y="2191612"/>
                        <a:pt x="278187" y="2168909"/>
                      </a:cubicBezTo>
                      <a:cubicBezTo>
                        <a:pt x="276639" y="2167361"/>
                        <a:pt x="275607" y="2165813"/>
                        <a:pt x="274059" y="2164265"/>
                      </a:cubicBezTo>
                      <a:cubicBezTo>
                        <a:pt x="238456" y="2122987"/>
                        <a:pt x="238972" y="2108540"/>
                        <a:pt x="276639" y="2069325"/>
                      </a:cubicBezTo>
                      <a:cubicBezTo>
                        <a:pt x="302954" y="2041463"/>
                        <a:pt x="327721" y="2013084"/>
                        <a:pt x="354551" y="1986253"/>
                      </a:cubicBezTo>
                      <a:cubicBezTo>
                        <a:pt x="367967" y="1972322"/>
                        <a:pt x="370547" y="1957874"/>
                        <a:pt x="363839" y="1940847"/>
                      </a:cubicBezTo>
                      <a:cubicBezTo>
                        <a:pt x="355067" y="1918660"/>
                        <a:pt x="342684" y="1898021"/>
                        <a:pt x="328237" y="1878930"/>
                      </a:cubicBezTo>
                      <a:cubicBezTo>
                        <a:pt x="316369" y="1863450"/>
                        <a:pt x="300374" y="1861902"/>
                        <a:pt x="283347" y="1866030"/>
                      </a:cubicBezTo>
                      <a:cubicBezTo>
                        <a:pt x="245680" y="1874802"/>
                        <a:pt x="208530" y="1883573"/>
                        <a:pt x="170864" y="1891829"/>
                      </a:cubicBezTo>
                      <a:cubicBezTo>
                        <a:pt x="165704" y="1892861"/>
                        <a:pt x="160544" y="1894409"/>
                        <a:pt x="155900" y="1895441"/>
                      </a:cubicBezTo>
                      <a:cubicBezTo>
                        <a:pt x="127521" y="1900601"/>
                        <a:pt x="113074" y="1893893"/>
                        <a:pt x="100175" y="1868094"/>
                      </a:cubicBezTo>
                      <a:cubicBezTo>
                        <a:pt x="95531" y="1858291"/>
                        <a:pt x="90887" y="1848487"/>
                        <a:pt x="87275" y="1838168"/>
                      </a:cubicBezTo>
                      <a:cubicBezTo>
                        <a:pt x="77988" y="1810821"/>
                        <a:pt x="83147" y="1795341"/>
                        <a:pt x="107915" y="1779862"/>
                      </a:cubicBezTo>
                      <a:cubicBezTo>
                        <a:pt x="143001" y="1757675"/>
                        <a:pt x="178603" y="1735488"/>
                        <a:pt x="213690" y="1713817"/>
                      </a:cubicBezTo>
                      <a:cubicBezTo>
                        <a:pt x="241552" y="1696274"/>
                        <a:pt x="245680" y="1686470"/>
                        <a:pt x="238972" y="1654480"/>
                      </a:cubicBezTo>
                      <a:cubicBezTo>
                        <a:pt x="234845" y="1636420"/>
                        <a:pt x="230201" y="1617845"/>
                        <a:pt x="222977" y="1600818"/>
                      </a:cubicBezTo>
                      <a:cubicBezTo>
                        <a:pt x="215753" y="1583791"/>
                        <a:pt x="203370" y="1575535"/>
                        <a:pt x="184279" y="1575019"/>
                      </a:cubicBezTo>
                      <a:cubicBezTo>
                        <a:pt x="142485" y="1574503"/>
                        <a:pt x="101207" y="1572955"/>
                        <a:pt x="59413" y="1571407"/>
                      </a:cubicBezTo>
                      <a:cubicBezTo>
                        <a:pt x="21746" y="1570375"/>
                        <a:pt x="10395" y="1560572"/>
                        <a:pt x="3687" y="1524453"/>
                      </a:cubicBezTo>
                      <a:cubicBezTo>
                        <a:pt x="3171" y="1520841"/>
                        <a:pt x="2139" y="1517230"/>
                        <a:pt x="1623" y="1513618"/>
                      </a:cubicBezTo>
                      <a:cubicBezTo>
                        <a:pt x="-4053" y="1467696"/>
                        <a:pt x="3687" y="1455828"/>
                        <a:pt x="48577" y="1442413"/>
                      </a:cubicBezTo>
                      <a:cubicBezTo>
                        <a:pt x="85727" y="1431061"/>
                        <a:pt x="122877" y="1418678"/>
                        <a:pt x="160544" y="1408358"/>
                      </a:cubicBezTo>
                      <a:cubicBezTo>
                        <a:pt x="181183" y="1402683"/>
                        <a:pt x="192018" y="1390815"/>
                        <a:pt x="194083" y="1370692"/>
                      </a:cubicBezTo>
                      <a:cubicBezTo>
                        <a:pt x="196147" y="1346957"/>
                        <a:pt x="197178" y="1322706"/>
                        <a:pt x="192534" y="1298971"/>
                      </a:cubicBezTo>
                      <a:cubicBezTo>
                        <a:pt x="189954" y="1283492"/>
                        <a:pt x="181183" y="1274204"/>
                        <a:pt x="166220" y="1269560"/>
                      </a:cubicBezTo>
                      <a:cubicBezTo>
                        <a:pt x="126490" y="1257693"/>
                        <a:pt x="86759" y="1245310"/>
                        <a:pt x="47029" y="1232926"/>
                      </a:cubicBezTo>
                      <a:cubicBezTo>
                        <a:pt x="3687" y="1219511"/>
                        <a:pt x="-957" y="1212287"/>
                        <a:pt x="1623" y="1166881"/>
                      </a:cubicBezTo>
                      <a:cubicBezTo>
                        <a:pt x="2139" y="1157593"/>
                        <a:pt x="4203" y="1148306"/>
                        <a:pt x="6267" y="1139534"/>
                      </a:cubicBezTo>
                      <a:cubicBezTo>
                        <a:pt x="12459" y="1116831"/>
                        <a:pt x="25358" y="1106512"/>
                        <a:pt x="49093" y="1105480"/>
                      </a:cubicBezTo>
                      <a:cubicBezTo>
                        <a:pt x="87791" y="1103932"/>
                        <a:pt x="125974" y="1102900"/>
                        <a:pt x="164672" y="1101868"/>
                      </a:cubicBezTo>
                      <a:cubicBezTo>
                        <a:pt x="170348" y="1101868"/>
                        <a:pt x="176023" y="1101352"/>
                        <a:pt x="181699" y="1101352"/>
                      </a:cubicBezTo>
                      <a:cubicBezTo>
                        <a:pt x="207498" y="1102384"/>
                        <a:pt x="220913" y="1087936"/>
                        <a:pt x="227621" y="1065233"/>
                      </a:cubicBezTo>
                      <a:cubicBezTo>
                        <a:pt x="232781" y="1048206"/>
                        <a:pt x="237425" y="1031179"/>
                        <a:pt x="241036" y="1014152"/>
                      </a:cubicBezTo>
                      <a:cubicBezTo>
                        <a:pt x="245680" y="990417"/>
                        <a:pt x="240005" y="979065"/>
                        <a:pt x="219366" y="965650"/>
                      </a:cubicBezTo>
                      <a:cubicBezTo>
                        <a:pt x="184279" y="943463"/>
                        <a:pt x="148676" y="921276"/>
                        <a:pt x="113590" y="899605"/>
                      </a:cubicBezTo>
                      <a:cubicBezTo>
                        <a:pt x="82116" y="879997"/>
                        <a:pt x="77472" y="867614"/>
                        <a:pt x="89855" y="832012"/>
                      </a:cubicBezTo>
                      <a:cubicBezTo>
                        <a:pt x="93467" y="820660"/>
                        <a:pt x="98111" y="809309"/>
                        <a:pt x="104818" y="799505"/>
                      </a:cubicBezTo>
                      <a:cubicBezTo>
                        <a:pt x="115654" y="782994"/>
                        <a:pt x="130617" y="774738"/>
                        <a:pt x="151256" y="779898"/>
                      </a:cubicBezTo>
                      <a:cubicBezTo>
                        <a:pt x="195114" y="790217"/>
                        <a:pt x="239489" y="799505"/>
                        <a:pt x="283347" y="810341"/>
                      </a:cubicBezTo>
                      <a:cubicBezTo>
                        <a:pt x="303469" y="815500"/>
                        <a:pt x="318949" y="810857"/>
                        <a:pt x="331332" y="794345"/>
                      </a:cubicBezTo>
                      <a:cubicBezTo>
                        <a:pt x="344232" y="776802"/>
                        <a:pt x="355584" y="757711"/>
                        <a:pt x="363839" y="737588"/>
                      </a:cubicBezTo>
                      <a:cubicBezTo>
                        <a:pt x="371063" y="719529"/>
                        <a:pt x="368999" y="704049"/>
                        <a:pt x="354551" y="689086"/>
                      </a:cubicBezTo>
                      <a:cubicBezTo>
                        <a:pt x="324625" y="658643"/>
                        <a:pt x="296246" y="627169"/>
                        <a:pt x="266835" y="595694"/>
                      </a:cubicBezTo>
                      <a:cubicBezTo>
                        <a:pt x="244132" y="570927"/>
                        <a:pt x="243100" y="556996"/>
                        <a:pt x="261675" y="529133"/>
                      </a:cubicBezTo>
                      <a:cubicBezTo>
                        <a:pt x="264771" y="525005"/>
                        <a:pt x="267351" y="520361"/>
                        <a:pt x="270447" y="516233"/>
                      </a:cubicBezTo>
                      <a:cubicBezTo>
                        <a:pt x="296762" y="481663"/>
                        <a:pt x="311209" y="478567"/>
                        <a:pt x="349907" y="498690"/>
                      </a:cubicBezTo>
                      <a:cubicBezTo>
                        <a:pt x="386026" y="517781"/>
                        <a:pt x="422144" y="536357"/>
                        <a:pt x="457231" y="555964"/>
                      </a:cubicBezTo>
                      <a:cubicBezTo>
                        <a:pt x="475806" y="566283"/>
                        <a:pt x="492318" y="564219"/>
                        <a:pt x="507797" y="551320"/>
                      </a:cubicBezTo>
                      <a:cubicBezTo>
                        <a:pt x="523276" y="538421"/>
                        <a:pt x="537723" y="523973"/>
                        <a:pt x="551139" y="508494"/>
                      </a:cubicBezTo>
                      <a:cubicBezTo>
                        <a:pt x="564555" y="492499"/>
                        <a:pt x="567650" y="476503"/>
                        <a:pt x="556815" y="456896"/>
                      </a:cubicBezTo>
                      <a:cubicBezTo>
                        <a:pt x="535143" y="418198"/>
                        <a:pt x="515020" y="378983"/>
                        <a:pt x="494381" y="339769"/>
                      </a:cubicBezTo>
                      <a:cubicBezTo>
                        <a:pt x="480966" y="313970"/>
                        <a:pt x="484062" y="300039"/>
                        <a:pt x="505217" y="280432"/>
                      </a:cubicBezTo>
                      <a:cubicBezTo>
                        <a:pt x="515020" y="271144"/>
                        <a:pt x="525856" y="263405"/>
                        <a:pt x="537723" y="256181"/>
                      </a:cubicBezTo>
                      <a:cubicBezTo>
                        <a:pt x="558362" y="244313"/>
                        <a:pt x="572810" y="245861"/>
                        <a:pt x="590353" y="261857"/>
                      </a:cubicBezTo>
                      <a:cubicBezTo>
                        <a:pt x="620280" y="289203"/>
                        <a:pt x="650207" y="317066"/>
                        <a:pt x="679617" y="344929"/>
                      </a:cubicBezTo>
                      <a:cubicBezTo>
                        <a:pt x="710576" y="374340"/>
                        <a:pt x="717284" y="375372"/>
                        <a:pt x="754950" y="355765"/>
                      </a:cubicBezTo>
                      <a:cubicBezTo>
                        <a:pt x="769913" y="348025"/>
                        <a:pt x="783845" y="339769"/>
                        <a:pt x="797260" y="329450"/>
                      </a:cubicBezTo>
                      <a:cubicBezTo>
                        <a:pt x="811707" y="317582"/>
                        <a:pt x="816351" y="303651"/>
                        <a:pt x="811707" y="285076"/>
                      </a:cubicBezTo>
                      <a:cubicBezTo>
                        <a:pt x="800872" y="242249"/>
                        <a:pt x="791585" y="198907"/>
                        <a:pt x="781781" y="156081"/>
                      </a:cubicBezTo>
                      <a:cubicBezTo>
                        <a:pt x="775589" y="128218"/>
                        <a:pt x="782297" y="114287"/>
                        <a:pt x="807064" y="100872"/>
                      </a:cubicBezTo>
                      <a:cubicBezTo>
                        <a:pt x="818415" y="95196"/>
                        <a:pt x="829766" y="90552"/>
                        <a:pt x="841634" y="86424"/>
                      </a:cubicBezTo>
                      <a:cubicBezTo>
                        <a:pt x="866917" y="78685"/>
                        <a:pt x="881364" y="83328"/>
                        <a:pt x="896328" y="106031"/>
                      </a:cubicBezTo>
                      <a:cubicBezTo>
                        <a:pt x="920062" y="142666"/>
                        <a:pt x="943798" y="179300"/>
                        <a:pt x="965469" y="217483"/>
                      </a:cubicBezTo>
                      <a:cubicBezTo>
                        <a:pt x="976820" y="237090"/>
                        <a:pt x="992299" y="243797"/>
                        <a:pt x="1013455" y="240702"/>
                      </a:cubicBezTo>
                      <a:cubicBezTo>
                        <a:pt x="1035641" y="237090"/>
                        <a:pt x="1057313" y="231414"/>
                        <a:pt x="1077952" y="222642"/>
                      </a:cubicBezTo>
                      <a:cubicBezTo>
                        <a:pt x="1092915" y="215935"/>
                        <a:pt x="1101171" y="205615"/>
                        <a:pt x="1101687" y="188072"/>
                      </a:cubicBezTo>
                      <a:cubicBezTo>
                        <a:pt x="1102719" y="143182"/>
                        <a:pt x="1105298" y="98808"/>
                        <a:pt x="1106847" y="53918"/>
                      </a:cubicBezTo>
                      <a:cubicBezTo>
                        <a:pt x="1107878" y="25023"/>
                        <a:pt x="1117166" y="12640"/>
                        <a:pt x="1145029" y="4900"/>
                      </a:cubicBezTo>
                      <a:cubicBezTo>
                        <a:pt x="1149672" y="3868"/>
                        <a:pt x="1154316" y="2320"/>
                        <a:pt x="1158960" y="1804"/>
                      </a:cubicBezTo>
                      <a:cubicBezTo>
                        <a:pt x="1210042" y="-3872"/>
                        <a:pt x="1222426" y="1804"/>
                        <a:pt x="1235841" y="48758"/>
                      </a:cubicBezTo>
                      <a:cubicBezTo>
                        <a:pt x="1246676" y="86940"/>
                        <a:pt x="1259576" y="124091"/>
                        <a:pt x="1269895" y="162273"/>
                      </a:cubicBezTo>
                      <a:cubicBezTo>
                        <a:pt x="1275055" y="180332"/>
                        <a:pt x="1285890" y="190136"/>
                        <a:pt x="1303434" y="192716"/>
                      </a:cubicBezTo>
                      <a:cubicBezTo>
                        <a:pt x="1327685" y="195812"/>
                        <a:pt x="1352452" y="195812"/>
                        <a:pt x="1376702" y="192716"/>
                      </a:cubicBezTo>
                      <a:cubicBezTo>
                        <a:pt x="1393730" y="190652"/>
                        <a:pt x="1404049" y="180332"/>
                        <a:pt x="1409209" y="163305"/>
                      </a:cubicBezTo>
                      <a:cubicBezTo>
                        <a:pt x="1421593" y="121511"/>
                        <a:pt x="1434492" y="79717"/>
                        <a:pt x="1447392" y="37922"/>
                      </a:cubicBezTo>
                      <a:cubicBezTo>
                        <a:pt x="1457195" y="6964"/>
                        <a:pt x="1466998" y="-260"/>
                        <a:pt x="1499505" y="256"/>
                      </a:cubicBezTo>
                      <a:cubicBezTo>
                        <a:pt x="1504149" y="256"/>
                        <a:pt x="1508793" y="256"/>
                        <a:pt x="1513436" y="772"/>
                      </a:cubicBezTo>
                      <a:cubicBezTo>
                        <a:pt x="1559358" y="5416"/>
                        <a:pt x="1572258" y="19347"/>
                        <a:pt x="1573290" y="65269"/>
                      </a:cubicBezTo>
                      <a:cubicBezTo>
                        <a:pt x="1574322" y="105515"/>
                        <a:pt x="1575870" y="145246"/>
                        <a:pt x="1576902" y="185492"/>
                      </a:cubicBezTo>
                      <a:cubicBezTo>
                        <a:pt x="1577418" y="201487"/>
                        <a:pt x="1583093" y="213871"/>
                        <a:pt x="1598057" y="220578"/>
                      </a:cubicBezTo>
                      <a:cubicBezTo>
                        <a:pt x="1622308" y="231414"/>
                        <a:pt x="1647590" y="238638"/>
                        <a:pt x="1674422" y="240702"/>
                      </a:cubicBezTo>
                      <a:cubicBezTo>
                        <a:pt x="1690933" y="241733"/>
                        <a:pt x="1702285" y="235026"/>
                        <a:pt x="1710540" y="221610"/>
                      </a:cubicBezTo>
                      <a:cubicBezTo>
                        <a:pt x="1733243" y="184976"/>
                        <a:pt x="1756462" y="148342"/>
                        <a:pt x="1779165" y="111707"/>
                      </a:cubicBezTo>
                      <a:cubicBezTo>
                        <a:pt x="1798772" y="80749"/>
                        <a:pt x="1810640" y="76621"/>
                        <a:pt x="1845726" y="88488"/>
                      </a:cubicBezTo>
                      <a:cubicBezTo>
                        <a:pt x="1849854" y="90036"/>
                        <a:pt x="1853466" y="91068"/>
                        <a:pt x="1857594" y="92616"/>
                      </a:cubicBezTo>
                      <a:cubicBezTo>
                        <a:pt x="1898356" y="110159"/>
                        <a:pt x="1905063" y="123059"/>
                        <a:pt x="1895260" y="166401"/>
                      </a:cubicBezTo>
                      <a:cubicBezTo>
                        <a:pt x="1886488" y="205099"/>
                        <a:pt x="1877717" y="243281"/>
                        <a:pt x="1868429" y="281980"/>
                      </a:cubicBezTo>
                      <a:cubicBezTo>
                        <a:pt x="1863269" y="303135"/>
                        <a:pt x="1868429" y="319646"/>
                        <a:pt x="1887004" y="332030"/>
                      </a:cubicBezTo>
                      <a:cubicBezTo>
                        <a:pt x="1906096" y="344929"/>
                        <a:pt x="1925187" y="356796"/>
                        <a:pt x="1946857" y="365052"/>
                      </a:cubicBezTo>
                      <a:cubicBezTo>
                        <a:pt x="1962337" y="370728"/>
                        <a:pt x="1974720" y="367116"/>
                        <a:pt x="1986588" y="355765"/>
                      </a:cubicBezTo>
                      <a:cubicBezTo>
                        <a:pt x="2018062" y="325838"/>
                        <a:pt x="2049537" y="296943"/>
                        <a:pt x="2081528" y="267532"/>
                      </a:cubicBezTo>
                      <a:cubicBezTo>
                        <a:pt x="2107843" y="242765"/>
                        <a:pt x="2122290" y="241733"/>
                        <a:pt x="2151701" y="261857"/>
                      </a:cubicBezTo>
                      <a:cubicBezTo>
                        <a:pt x="2153248" y="262889"/>
                        <a:pt x="2154281" y="263405"/>
                        <a:pt x="2155312" y="264437"/>
                      </a:cubicBezTo>
                      <a:cubicBezTo>
                        <a:pt x="2205363" y="300555"/>
                        <a:pt x="2198139" y="316034"/>
                        <a:pt x="2177500" y="353701"/>
                      </a:cubicBezTo>
                      <a:cubicBezTo>
                        <a:pt x="2158925" y="387755"/>
                        <a:pt x="2141381" y="422842"/>
                        <a:pt x="2122290" y="456896"/>
                      </a:cubicBezTo>
                      <a:cubicBezTo>
                        <a:pt x="2112487" y="474955"/>
                        <a:pt x="2114550" y="490435"/>
                        <a:pt x="2126934" y="505914"/>
                      </a:cubicBezTo>
                      <a:cubicBezTo>
                        <a:pt x="2140865" y="522941"/>
                        <a:pt x="2156345" y="538421"/>
                        <a:pt x="2173372" y="551836"/>
                      </a:cubicBezTo>
                      <a:cubicBezTo>
                        <a:pt x="2187819" y="563187"/>
                        <a:pt x="2202783" y="564735"/>
                        <a:pt x="2219810" y="555964"/>
                      </a:cubicBezTo>
                      <a:cubicBezTo>
                        <a:pt x="2258508" y="534809"/>
                        <a:pt x="2297722" y="514170"/>
                        <a:pt x="2336937" y="494046"/>
                      </a:cubicBezTo>
                      <a:cubicBezTo>
                        <a:pt x="2364799" y="479599"/>
                        <a:pt x="2380795" y="482695"/>
                        <a:pt x="2400917" y="507462"/>
                      </a:cubicBezTo>
                      <a:cubicBezTo>
                        <a:pt x="2408141" y="515717"/>
                        <a:pt x="2414849" y="524489"/>
                        <a:pt x="2420525" y="533777"/>
                      </a:cubicBezTo>
                      <a:cubicBezTo>
                        <a:pt x="2434972" y="556480"/>
                        <a:pt x="2433424" y="571443"/>
                        <a:pt x="2415365" y="591566"/>
                      </a:cubicBezTo>
                      <a:cubicBezTo>
                        <a:pt x="2384406" y="625105"/>
                        <a:pt x="2353448" y="659159"/>
                        <a:pt x="2321973" y="692182"/>
                      </a:cubicBezTo>
                      <a:cubicBezTo>
                        <a:pt x="2310106" y="704565"/>
                        <a:pt x="2307526" y="717981"/>
                        <a:pt x="2313718" y="733460"/>
                      </a:cubicBezTo>
                      <a:cubicBezTo>
                        <a:pt x="2323005" y="755647"/>
                        <a:pt x="2334357" y="776286"/>
                        <a:pt x="2349320" y="795377"/>
                      </a:cubicBezTo>
                      <a:cubicBezTo>
                        <a:pt x="2361187" y="810857"/>
                        <a:pt x="2375635" y="814984"/>
                        <a:pt x="2394726" y="810341"/>
                      </a:cubicBezTo>
                      <a:cubicBezTo>
                        <a:pt x="2438584" y="799505"/>
                        <a:pt x="2482958" y="789701"/>
                        <a:pt x="2526816" y="780414"/>
                      </a:cubicBezTo>
                      <a:cubicBezTo>
                        <a:pt x="2550035" y="775254"/>
                        <a:pt x="2563967" y="781962"/>
                        <a:pt x="2575834" y="803117"/>
                      </a:cubicBezTo>
                      <a:cubicBezTo>
                        <a:pt x="2582026" y="814468"/>
                        <a:pt x="2587186" y="826336"/>
                        <a:pt x="2591313" y="838719"/>
                      </a:cubicBezTo>
                      <a:cubicBezTo>
                        <a:pt x="2600085" y="867098"/>
                        <a:pt x="2595441" y="880514"/>
                        <a:pt x="2570158" y="896509"/>
                      </a:cubicBezTo>
                      <a:cubicBezTo>
                        <a:pt x="2534040" y="919212"/>
                        <a:pt x="2498437" y="942947"/>
                        <a:pt x="2461287" y="964102"/>
                      </a:cubicBezTo>
                      <a:cubicBezTo>
                        <a:pt x="2440132" y="976485"/>
                        <a:pt x="2434456" y="992997"/>
                        <a:pt x="2438068" y="1014668"/>
                      </a:cubicBezTo>
                      <a:cubicBezTo>
                        <a:pt x="2441164" y="1034791"/>
                        <a:pt x="2446840" y="1054398"/>
                        <a:pt x="2454063" y="1073489"/>
                      </a:cubicBezTo>
                      <a:cubicBezTo>
                        <a:pt x="2460771" y="1091032"/>
                        <a:pt x="2472638" y="1100320"/>
                        <a:pt x="2492762" y="1100836"/>
                      </a:cubicBezTo>
                      <a:cubicBezTo>
                        <a:pt x="2538168" y="1101352"/>
                        <a:pt x="2583058" y="1104448"/>
                        <a:pt x="2628464" y="1105996"/>
                      </a:cubicBezTo>
                      <a:cubicBezTo>
                        <a:pt x="2653230" y="1107028"/>
                        <a:pt x="2665614" y="1116831"/>
                        <a:pt x="2672322" y="1140566"/>
                      </a:cubicBezTo>
                      <a:cubicBezTo>
                        <a:pt x="2676449" y="1153982"/>
                        <a:pt x="2677998" y="1167913"/>
                        <a:pt x="2677998" y="1182360"/>
                      </a:cubicBezTo>
                      <a:cubicBezTo>
                        <a:pt x="2677998" y="1210223"/>
                        <a:pt x="2670258" y="1221575"/>
                        <a:pt x="2644459" y="1229830"/>
                      </a:cubicBezTo>
                      <a:cubicBezTo>
                        <a:pt x="2603697" y="1242730"/>
                        <a:pt x="2562934" y="1255113"/>
                        <a:pt x="2522172" y="1267497"/>
                      </a:cubicBezTo>
                      <a:cubicBezTo>
                        <a:pt x="2492762" y="1276268"/>
                        <a:pt x="2485022" y="1285556"/>
                        <a:pt x="2483990" y="1315998"/>
                      </a:cubicBezTo>
                      <a:cubicBezTo>
                        <a:pt x="2483474" y="1337153"/>
                        <a:pt x="2481926" y="1358824"/>
                        <a:pt x="2486570" y="1379980"/>
                      </a:cubicBezTo>
                      <a:cubicBezTo>
                        <a:pt x="2489666" y="1394427"/>
                        <a:pt x="2498437" y="1403199"/>
                        <a:pt x="2512885" y="1407842"/>
                      </a:cubicBezTo>
                      <a:cubicBezTo>
                        <a:pt x="2555711" y="1420742"/>
                        <a:pt x="2598537" y="1433641"/>
                        <a:pt x="2641363" y="1447057"/>
                      </a:cubicBezTo>
                      <a:cubicBezTo>
                        <a:pt x="2671290" y="1456344"/>
                        <a:pt x="2678514" y="1466664"/>
                        <a:pt x="2677998" y="1498138"/>
                      </a:cubicBezTo>
                      <a:cubicBezTo>
                        <a:pt x="2677998" y="1501234"/>
                        <a:pt x="2677998" y="1504330"/>
                        <a:pt x="2677998" y="1507426"/>
                      </a:cubicBezTo>
                      <a:cubicBezTo>
                        <a:pt x="2675934" y="1555928"/>
                        <a:pt x="2660454" y="1571407"/>
                        <a:pt x="2611952" y="1572955"/>
                      </a:cubicBezTo>
                      <a:cubicBezTo>
                        <a:pt x="2571190" y="1573987"/>
                        <a:pt x="2530944" y="1576051"/>
                        <a:pt x="2490182" y="1576567"/>
                      </a:cubicBezTo>
                      <a:cubicBezTo>
                        <a:pt x="2474702" y="1577083"/>
                        <a:pt x="2463867" y="1583791"/>
                        <a:pt x="2457675" y="1596690"/>
                      </a:cubicBezTo>
                      <a:cubicBezTo>
                        <a:pt x="2446324" y="1620941"/>
                        <a:pt x="2439100" y="1646224"/>
                        <a:pt x="2437036" y="1673055"/>
                      </a:cubicBezTo>
                      <a:cubicBezTo>
                        <a:pt x="2435488" y="1690082"/>
                        <a:pt x="2442712" y="1701434"/>
                        <a:pt x="2457159" y="1710205"/>
                      </a:cubicBezTo>
                      <a:cubicBezTo>
                        <a:pt x="2493278" y="1732392"/>
                        <a:pt x="2528880" y="1754579"/>
                        <a:pt x="2564483" y="1777282"/>
                      </a:cubicBezTo>
                      <a:cubicBezTo>
                        <a:pt x="2596989" y="1797405"/>
                        <a:pt x="2601117" y="1809789"/>
                        <a:pt x="2588733" y="1845907"/>
                      </a:cubicBezTo>
                      <a:cubicBezTo>
                        <a:pt x="2584606" y="1858291"/>
                        <a:pt x="2578930" y="1870158"/>
                        <a:pt x="2571706" y="1880994"/>
                      </a:cubicBezTo>
                      <a:cubicBezTo>
                        <a:pt x="2564998" y="1890797"/>
                        <a:pt x="2554163" y="1897505"/>
                        <a:pt x="2538684" y="1897505"/>
                      </a:cubicBezTo>
                      <a:close/>
                      <a:moveTo>
                        <a:pt x="1338521" y="2312867"/>
                      </a:moveTo>
                      <a:cubicBezTo>
                        <a:pt x="1869461" y="2314931"/>
                        <a:pt x="2317329" y="1887701"/>
                        <a:pt x="2316814" y="1335605"/>
                      </a:cubicBezTo>
                      <a:cubicBezTo>
                        <a:pt x="2316298" y="792797"/>
                        <a:pt x="1880813" y="359892"/>
                        <a:pt x="1340068" y="359376"/>
                      </a:cubicBezTo>
                      <a:cubicBezTo>
                        <a:pt x="796228" y="358860"/>
                        <a:pt x="363839" y="794861"/>
                        <a:pt x="361775" y="1331994"/>
                      </a:cubicBezTo>
                      <a:cubicBezTo>
                        <a:pt x="359711" y="1882026"/>
                        <a:pt x="806032" y="2314415"/>
                        <a:pt x="1338521" y="2312867"/>
                      </a:cubicBezTo>
                      <a:close/>
                    </a:path>
                  </a:pathLst>
                </a:custGeom>
                <a:grpFill/>
                <a:ln w="515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" name="Freeform: Shape 41">
                  <a:extLst>
                    <a:ext uri="{FF2B5EF4-FFF2-40B4-BE49-F238E27FC236}">
                      <a16:creationId xmlns:a16="http://schemas.microsoft.com/office/drawing/2014/main" id="{E7D2F5C8-112A-47AC-8EBA-CA3BCCFFD653}"/>
                    </a:ext>
                  </a:extLst>
                </p:cNvPr>
                <p:cNvSpPr/>
                <p:nvPr/>
              </p:nvSpPr>
              <p:spPr>
                <a:xfrm>
                  <a:off x="7558586" y="2011427"/>
                  <a:ext cx="1898797" cy="1893637"/>
                </a:xfrm>
                <a:custGeom>
                  <a:avLst/>
                  <a:gdLst>
                    <a:gd name="connsiteX0" fmla="*/ 30 w 1898796"/>
                    <a:gd name="connsiteY0" fmla="*/ 947852 h 1893636"/>
                    <a:gd name="connsiteX1" fmla="*/ 950461 w 1898796"/>
                    <a:gd name="connsiteY1" fmla="*/ 2 h 1893636"/>
                    <a:gd name="connsiteX2" fmla="*/ 1898827 w 1898796"/>
                    <a:gd name="connsiteY2" fmla="*/ 950948 h 1893636"/>
                    <a:gd name="connsiteX3" fmla="*/ 946849 w 1898796"/>
                    <a:gd name="connsiteY3" fmla="*/ 1898283 h 1893636"/>
                    <a:gd name="connsiteX4" fmla="*/ 30 w 1898796"/>
                    <a:gd name="connsiteY4" fmla="*/ 947852 h 1893636"/>
                    <a:gd name="connsiteX5" fmla="*/ 1187811 w 1898796"/>
                    <a:gd name="connsiteY5" fmla="*/ 949916 h 1893636"/>
                    <a:gd name="connsiteX6" fmla="*/ 949429 w 1898796"/>
                    <a:gd name="connsiteY6" fmla="*/ 710503 h 1893636"/>
                    <a:gd name="connsiteX7" fmla="*/ 710532 w 1898796"/>
                    <a:gd name="connsiteY7" fmla="*/ 948368 h 1893636"/>
                    <a:gd name="connsiteX8" fmla="*/ 948397 w 1898796"/>
                    <a:gd name="connsiteY8" fmla="*/ 1188298 h 1893636"/>
                    <a:gd name="connsiteX9" fmla="*/ 1187811 w 1898796"/>
                    <a:gd name="connsiteY9" fmla="*/ 949916 h 18936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898796" h="1893636">
                      <a:moveTo>
                        <a:pt x="30" y="947852"/>
                      </a:moveTo>
                      <a:cubicBezTo>
                        <a:pt x="-3065" y="428263"/>
                        <a:pt x="426228" y="-1030"/>
                        <a:pt x="950461" y="2"/>
                      </a:cubicBezTo>
                      <a:cubicBezTo>
                        <a:pt x="1472114" y="1034"/>
                        <a:pt x="1899859" y="427747"/>
                        <a:pt x="1898827" y="950948"/>
                      </a:cubicBezTo>
                      <a:cubicBezTo>
                        <a:pt x="1897795" y="1468473"/>
                        <a:pt x="1477790" y="1899315"/>
                        <a:pt x="946849" y="1898283"/>
                      </a:cubicBezTo>
                      <a:cubicBezTo>
                        <a:pt x="411781" y="1896735"/>
                        <a:pt x="-4097" y="1460218"/>
                        <a:pt x="30" y="947852"/>
                      </a:cubicBezTo>
                      <a:close/>
                      <a:moveTo>
                        <a:pt x="1187811" y="949916"/>
                      </a:moveTo>
                      <a:cubicBezTo>
                        <a:pt x="1188327" y="817310"/>
                        <a:pt x="1084099" y="710503"/>
                        <a:pt x="949429" y="710503"/>
                      </a:cubicBezTo>
                      <a:cubicBezTo>
                        <a:pt x="805987" y="710503"/>
                        <a:pt x="710015" y="828146"/>
                        <a:pt x="710532" y="948368"/>
                      </a:cubicBezTo>
                      <a:cubicBezTo>
                        <a:pt x="711048" y="1081490"/>
                        <a:pt x="815791" y="1188298"/>
                        <a:pt x="948397" y="1188298"/>
                      </a:cubicBezTo>
                      <a:cubicBezTo>
                        <a:pt x="1081003" y="1188298"/>
                        <a:pt x="1187294" y="1083038"/>
                        <a:pt x="1187811" y="949916"/>
                      </a:cubicBezTo>
                      <a:close/>
                    </a:path>
                  </a:pathLst>
                </a:custGeom>
                <a:grpFill/>
                <a:ln w="515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B07F2CD7-68E5-49F5-BBED-77DA2BFBE7AD}"/>
                </a:ext>
              </a:extLst>
            </p:cNvPr>
            <p:cNvSpPr/>
            <p:nvPr/>
          </p:nvSpPr>
          <p:spPr>
            <a:xfrm>
              <a:off x="10132589" y="4237994"/>
              <a:ext cx="577306" cy="577307"/>
            </a:xfrm>
            <a:custGeom>
              <a:avLst/>
              <a:gdLst>
                <a:gd name="connsiteX0" fmla="*/ 686157 w 1243505"/>
                <a:gd name="connsiteY0" fmla="*/ 1016068 h 1243505"/>
                <a:gd name="connsiteX1" fmla="*/ 560258 w 1243505"/>
                <a:gd name="connsiteY1" fmla="*/ 1016068 h 1243505"/>
                <a:gd name="connsiteX2" fmla="*/ 545811 w 1243505"/>
                <a:gd name="connsiteY2" fmla="*/ 1026903 h 1243505"/>
                <a:gd name="connsiteX3" fmla="*/ 533944 w 1243505"/>
                <a:gd name="connsiteY3" fmla="*/ 1088821 h 1243505"/>
                <a:gd name="connsiteX4" fmla="*/ 505565 w 1243505"/>
                <a:gd name="connsiteY4" fmla="*/ 1169829 h 1243505"/>
                <a:gd name="connsiteX5" fmla="*/ 469447 w 1243505"/>
                <a:gd name="connsiteY5" fmla="*/ 1240002 h 1243505"/>
                <a:gd name="connsiteX6" fmla="*/ 452935 w 1243505"/>
                <a:gd name="connsiteY6" fmla="*/ 1246710 h 1243505"/>
                <a:gd name="connsiteX7" fmla="*/ 305366 w 1243505"/>
                <a:gd name="connsiteY7" fmla="*/ 1185824 h 1243505"/>
                <a:gd name="connsiteX8" fmla="*/ 298142 w 1243505"/>
                <a:gd name="connsiteY8" fmla="*/ 1168281 h 1243505"/>
                <a:gd name="connsiteX9" fmla="*/ 333744 w 1243505"/>
                <a:gd name="connsiteY9" fmla="*/ 1059410 h 1243505"/>
                <a:gd name="connsiteX10" fmla="*/ 342000 w 1243505"/>
                <a:gd name="connsiteY10" fmla="*/ 1043415 h 1243505"/>
                <a:gd name="connsiteX11" fmla="*/ 395662 w 1243505"/>
                <a:gd name="connsiteY11" fmla="*/ 962922 h 1243505"/>
                <a:gd name="connsiteX12" fmla="*/ 393598 w 1243505"/>
                <a:gd name="connsiteY12" fmla="*/ 947959 h 1243505"/>
                <a:gd name="connsiteX13" fmla="*/ 299174 w 1243505"/>
                <a:gd name="connsiteY13" fmla="*/ 853535 h 1243505"/>
                <a:gd name="connsiteX14" fmla="*/ 285243 w 1243505"/>
                <a:gd name="connsiteY14" fmla="*/ 851471 h 1243505"/>
                <a:gd name="connsiteX15" fmla="*/ 230549 w 1243505"/>
                <a:gd name="connsiteY15" fmla="*/ 888106 h 1243505"/>
                <a:gd name="connsiteX16" fmla="*/ 148509 w 1243505"/>
                <a:gd name="connsiteY16" fmla="*/ 926804 h 1243505"/>
                <a:gd name="connsiteX17" fmla="*/ 78852 w 1243505"/>
                <a:gd name="connsiteY17" fmla="*/ 949507 h 1243505"/>
                <a:gd name="connsiteX18" fmla="*/ 62340 w 1243505"/>
                <a:gd name="connsiteY18" fmla="*/ 942799 h 1243505"/>
                <a:gd name="connsiteX19" fmla="*/ 939 w 1243505"/>
                <a:gd name="connsiteY19" fmla="*/ 794198 h 1243505"/>
                <a:gd name="connsiteX20" fmla="*/ 7131 w 1243505"/>
                <a:gd name="connsiteY20" fmla="*/ 778718 h 1243505"/>
                <a:gd name="connsiteX21" fmla="*/ 114454 w 1243505"/>
                <a:gd name="connsiteY21" fmla="*/ 725056 h 1243505"/>
                <a:gd name="connsiteX22" fmla="*/ 189787 w 1243505"/>
                <a:gd name="connsiteY22" fmla="*/ 708545 h 1243505"/>
                <a:gd name="connsiteX23" fmla="*/ 221261 w 1243505"/>
                <a:gd name="connsiteY23" fmla="*/ 702354 h 1243505"/>
                <a:gd name="connsiteX24" fmla="*/ 231581 w 1243505"/>
                <a:gd name="connsiteY24" fmla="*/ 688938 h 1243505"/>
                <a:gd name="connsiteX25" fmla="*/ 225905 w 1243505"/>
                <a:gd name="connsiteY25" fmla="*/ 631149 h 1243505"/>
                <a:gd name="connsiteX26" fmla="*/ 231581 w 1243505"/>
                <a:gd name="connsiteY26" fmla="*/ 559428 h 1243505"/>
                <a:gd name="connsiteX27" fmla="*/ 220745 w 1243505"/>
                <a:gd name="connsiteY27" fmla="*/ 544980 h 1243505"/>
                <a:gd name="connsiteX28" fmla="*/ 172760 w 1243505"/>
                <a:gd name="connsiteY28" fmla="*/ 535693 h 1243505"/>
                <a:gd name="connsiteX29" fmla="*/ 27770 w 1243505"/>
                <a:gd name="connsiteY29" fmla="*/ 478419 h 1243505"/>
                <a:gd name="connsiteX30" fmla="*/ 8163 w 1243505"/>
                <a:gd name="connsiteY30" fmla="*/ 431465 h 1243505"/>
                <a:gd name="connsiteX31" fmla="*/ 62340 w 1243505"/>
                <a:gd name="connsiteY31" fmla="*/ 305051 h 1243505"/>
                <a:gd name="connsiteX32" fmla="*/ 79884 w 1243505"/>
                <a:gd name="connsiteY32" fmla="*/ 297827 h 1243505"/>
                <a:gd name="connsiteX33" fmla="*/ 188755 w 1243505"/>
                <a:gd name="connsiteY33" fmla="*/ 333430 h 1243505"/>
                <a:gd name="connsiteX34" fmla="*/ 204750 w 1243505"/>
                <a:gd name="connsiteY34" fmla="*/ 341685 h 1243505"/>
                <a:gd name="connsiteX35" fmla="*/ 285243 w 1243505"/>
                <a:gd name="connsiteY35" fmla="*/ 395347 h 1243505"/>
                <a:gd name="connsiteX36" fmla="*/ 300206 w 1243505"/>
                <a:gd name="connsiteY36" fmla="*/ 393283 h 1243505"/>
                <a:gd name="connsiteX37" fmla="*/ 393598 w 1243505"/>
                <a:gd name="connsiteY37" fmla="*/ 299891 h 1243505"/>
                <a:gd name="connsiteX38" fmla="*/ 395662 w 1243505"/>
                <a:gd name="connsiteY38" fmla="*/ 283896 h 1243505"/>
                <a:gd name="connsiteX39" fmla="*/ 353352 w 1243505"/>
                <a:gd name="connsiteY39" fmla="*/ 220947 h 1243505"/>
                <a:gd name="connsiteX40" fmla="*/ 325489 w 1243505"/>
                <a:gd name="connsiteY40" fmla="*/ 162125 h 1243505"/>
                <a:gd name="connsiteX41" fmla="*/ 299690 w 1243505"/>
                <a:gd name="connsiteY41" fmla="*/ 82665 h 1243505"/>
                <a:gd name="connsiteX42" fmla="*/ 307946 w 1243505"/>
                <a:gd name="connsiteY42" fmla="*/ 61510 h 1243505"/>
                <a:gd name="connsiteX43" fmla="*/ 451903 w 1243505"/>
                <a:gd name="connsiteY43" fmla="*/ 2172 h 1243505"/>
                <a:gd name="connsiteX44" fmla="*/ 470478 w 1243505"/>
                <a:gd name="connsiteY44" fmla="*/ 9396 h 1243505"/>
                <a:gd name="connsiteX45" fmla="*/ 522076 w 1243505"/>
                <a:gd name="connsiteY45" fmla="*/ 111559 h 1243505"/>
                <a:gd name="connsiteX46" fmla="*/ 537555 w 1243505"/>
                <a:gd name="connsiteY46" fmla="*/ 177605 h 1243505"/>
                <a:gd name="connsiteX47" fmla="*/ 546843 w 1243505"/>
                <a:gd name="connsiteY47" fmla="*/ 223011 h 1243505"/>
                <a:gd name="connsiteX48" fmla="*/ 559227 w 1243505"/>
                <a:gd name="connsiteY48" fmla="*/ 231782 h 1243505"/>
                <a:gd name="connsiteX49" fmla="*/ 688737 w 1243505"/>
                <a:gd name="connsiteY49" fmla="*/ 231782 h 1243505"/>
                <a:gd name="connsiteX50" fmla="*/ 704216 w 1243505"/>
                <a:gd name="connsiteY50" fmla="*/ 220431 h 1243505"/>
                <a:gd name="connsiteX51" fmla="*/ 716600 w 1243505"/>
                <a:gd name="connsiteY51" fmla="*/ 156966 h 1243505"/>
                <a:gd name="connsiteX52" fmla="*/ 743430 w 1243505"/>
                <a:gd name="connsiteY52" fmla="*/ 79569 h 1243505"/>
                <a:gd name="connsiteX53" fmla="*/ 780065 w 1243505"/>
                <a:gd name="connsiteY53" fmla="*/ 8364 h 1243505"/>
                <a:gd name="connsiteX54" fmla="*/ 797092 w 1243505"/>
                <a:gd name="connsiteY54" fmla="*/ 1140 h 1243505"/>
                <a:gd name="connsiteX55" fmla="*/ 944146 w 1243505"/>
                <a:gd name="connsiteY55" fmla="*/ 62542 h 1243505"/>
                <a:gd name="connsiteX56" fmla="*/ 950853 w 1243505"/>
                <a:gd name="connsiteY56" fmla="*/ 79053 h 1243505"/>
                <a:gd name="connsiteX57" fmla="*/ 914735 w 1243505"/>
                <a:gd name="connsiteY57" fmla="*/ 189472 h 1243505"/>
                <a:gd name="connsiteX58" fmla="*/ 906479 w 1243505"/>
                <a:gd name="connsiteY58" fmla="*/ 205467 h 1243505"/>
                <a:gd name="connsiteX59" fmla="*/ 853334 w 1243505"/>
                <a:gd name="connsiteY59" fmla="*/ 284928 h 1243505"/>
                <a:gd name="connsiteX60" fmla="*/ 855398 w 1243505"/>
                <a:gd name="connsiteY60" fmla="*/ 300923 h 1243505"/>
                <a:gd name="connsiteX61" fmla="*/ 948789 w 1243505"/>
                <a:gd name="connsiteY61" fmla="*/ 394315 h 1243505"/>
                <a:gd name="connsiteX62" fmla="*/ 963753 w 1243505"/>
                <a:gd name="connsiteY62" fmla="*/ 396379 h 1243505"/>
                <a:gd name="connsiteX63" fmla="*/ 1015866 w 1243505"/>
                <a:gd name="connsiteY63" fmla="*/ 360777 h 1243505"/>
                <a:gd name="connsiteX64" fmla="*/ 1099971 w 1243505"/>
                <a:gd name="connsiteY64" fmla="*/ 320530 h 1243505"/>
                <a:gd name="connsiteX65" fmla="*/ 1168596 w 1243505"/>
                <a:gd name="connsiteY65" fmla="*/ 298343 h 1243505"/>
                <a:gd name="connsiteX66" fmla="*/ 1186139 w 1243505"/>
                <a:gd name="connsiteY66" fmla="*/ 305567 h 1243505"/>
                <a:gd name="connsiteX67" fmla="*/ 1247024 w 1243505"/>
                <a:gd name="connsiteY67" fmla="*/ 453136 h 1243505"/>
                <a:gd name="connsiteX68" fmla="*/ 1240317 w 1243505"/>
                <a:gd name="connsiteY68" fmla="*/ 469648 h 1243505"/>
                <a:gd name="connsiteX69" fmla="*/ 1135573 w 1243505"/>
                <a:gd name="connsiteY69" fmla="*/ 522277 h 1243505"/>
                <a:gd name="connsiteX70" fmla="*/ 1059209 w 1243505"/>
                <a:gd name="connsiteY70" fmla="*/ 539821 h 1243505"/>
                <a:gd name="connsiteX71" fmla="*/ 1040117 w 1243505"/>
                <a:gd name="connsiteY71" fmla="*/ 543433 h 1243505"/>
                <a:gd name="connsiteX72" fmla="*/ 1017930 w 1243505"/>
                <a:gd name="connsiteY72" fmla="*/ 572843 h 1243505"/>
                <a:gd name="connsiteX73" fmla="*/ 1016383 w 1243505"/>
                <a:gd name="connsiteY73" fmla="*/ 688422 h 1243505"/>
                <a:gd name="connsiteX74" fmla="*/ 1028250 w 1243505"/>
                <a:gd name="connsiteY74" fmla="*/ 703386 h 1243505"/>
                <a:gd name="connsiteX75" fmla="*/ 1118030 w 1243505"/>
                <a:gd name="connsiteY75" fmla="*/ 720929 h 1243505"/>
                <a:gd name="connsiteX76" fmla="*/ 1142281 w 1243505"/>
                <a:gd name="connsiteY76" fmla="*/ 729184 h 1243505"/>
                <a:gd name="connsiteX77" fmla="*/ 1237737 w 1243505"/>
                <a:gd name="connsiteY77" fmla="*/ 777686 h 1243505"/>
                <a:gd name="connsiteX78" fmla="*/ 1246508 w 1243505"/>
                <a:gd name="connsiteY78" fmla="*/ 797809 h 1243505"/>
                <a:gd name="connsiteX79" fmla="*/ 1186655 w 1243505"/>
                <a:gd name="connsiteY79" fmla="*/ 941767 h 1243505"/>
                <a:gd name="connsiteX80" fmla="*/ 1167564 w 1243505"/>
                <a:gd name="connsiteY80" fmla="*/ 950023 h 1243505"/>
                <a:gd name="connsiteX81" fmla="*/ 1062304 w 1243505"/>
                <a:gd name="connsiteY81" fmla="*/ 915452 h 1243505"/>
                <a:gd name="connsiteX82" fmla="*/ 1042697 w 1243505"/>
                <a:gd name="connsiteY82" fmla="*/ 905649 h 1243505"/>
                <a:gd name="connsiteX83" fmla="*/ 963237 w 1243505"/>
                <a:gd name="connsiteY83" fmla="*/ 852503 h 1243505"/>
                <a:gd name="connsiteX84" fmla="*/ 947241 w 1243505"/>
                <a:gd name="connsiteY84" fmla="*/ 855083 h 1243505"/>
                <a:gd name="connsiteX85" fmla="*/ 855914 w 1243505"/>
                <a:gd name="connsiteY85" fmla="*/ 946927 h 1243505"/>
                <a:gd name="connsiteX86" fmla="*/ 853850 w 1243505"/>
                <a:gd name="connsiteY86" fmla="*/ 966018 h 1243505"/>
                <a:gd name="connsiteX87" fmla="*/ 890484 w 1243505"/>
                <a:gd name="connsiteY87" fmla="*/ 1020711 h 1243505"/>
                <a:gd name="connsiteX88" fmla="*/ 925054 w 1243505"/>
                <a:gd name="connsiteY88" fmla="*/ 1093464 h 1243505"/>
                <a:gd name="connsiteX89" fmla="*/ 949821 w 1243505"/>
                <a:gd name="connsiteY89" fmla="*/ 1169313 h 1243505"/>
                <a:gd name="connsiteX90" fmla="*/ 943114 w 1243505"/>
                <a:gd name="connsiteY90" fmla="*/ 1185824 h 1243505"/>
                <a:gd name="connsiteX91" fmla="*/ 794512 w 1243505"/>
                <a:gd name="connsiteY91" fmla="*/ 1247226 h 1243505"/>
                <a:gd name="connsiteX92" fmla="*/ 779033 w 1243505"/>
                <a:gd name="connsiteY92" fmla="*/ 1241034 h 1243505"/>
                <a:gd name="connsiteX93" fmla="*/ 724855 w 1243505"/>
                <a:gd name="connsiteY93" fmla="*/ 1134226 h 1243505"/>
                <a:gd name="connsiteX94" fmla="*/ 718148 w 1243505"/>
                <a:gd name="connsiteY94" fmla="*/ 1105332 h 1243505"/>
                <a:gd name="connsiteX95" fmla="*/ 703184 w 1243505"/>
                <a:gd name="connsiteY95" fmla="*/ 1031031 h 1243505"/>
                <a:gd name="connsiteX96" fmla="*/ 686157 w 1243505"/>
                <a:gd name="connsiteY96" fmla="*/ 1016068 h 1243505"/>
                <a:gd name="connsiteX97" fmla="*/ 624240 w 1243505"/>
                <a:gd name="connsiteY97" fmla="*/ 791102 h 1243505"/>
                <a:gd name="connsiteX98" fmla="*/ 790900 w 1243505"/>
                <a:gd name="connsiteY98" fmla="*/ 623925 h 1243505"/>
                <a:gd name="connsiteX99" fmla="*/ 624240 w 1243505"/>
                <a:gd name="connsiteY99" fmla="*/ 458296 h 1243505"/>
                <a:gd name="connsiteX100" fmla="*/ 458095 w 1243505"/>
                <a:gd name="connsiteY100" fmla="*/ 624441 h 1243505"/>
                <a:gd name="connsiteX101" fmla="*/ 624240 w 1243505"/>
                <a:gd name="connsiteY101" fmla="*/ 791102 h 1243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</a:cxnLst>
              <a:rect l="l" t="t" r="r" b="b"/>
              <a:pathLst>
                <a:path w="1243505" h="1243505">
                  <a:moveTo>
                    <a:pt x="686157" y="1016068"/>
                  </a:moveTo>
                  <a:cubicBezTo>
                    <a:pt x="644363" y="1024840"/>
                    <a:pt x="602053" y="1021743"/>
                    <a:pt x="560258" y="1016068"/>
                  </a:cubicBezTo>
                  <a:cubicBezTo>
                    <a:pt x="550455" y="1015036"/>
                    <a:pt x="547359" y="1018132"/>
                    <a:pt x="545811" y="1026903"/>
                  </a:cubicBezTo>
                  <a:cubicBezTo>
                    <a:pt x="542199" y="1047542"/>
                    <a:pt x="537039" y="1068181"/>
                    <a:pt x="533944" y="1088821"/>
                  </a:cubicBezTo>
                  <a:cubicBezTo>
                    <a:pt x="529816" y="1117715"/>
                    <a:pt x="519496" y="1144030"/>
                    <a:pt x="505565" y="1169829"/>
                  </a:cubicBezTo>
                  <a:cubicBezTo>
                    <a:pt x="492666" y="1192532"/>
                    <a:pt x="481314" y="1216267"/>
                    <a:pt x="469447" y="1240002"/>
                  </a:cubicBezTo>
                  <a:cubicBezTo>
                    <a:pt x="465835" y="1247741"/>
                    <a:pt x="461191" y="1249290"/>
                    <a:pt x="452935" y="1246710"/>
                  </a:cubicBezTo>
                  <a:cubicBezTo>
                    <a:pt x="401853" y="1231230"/>
                    <a:pt x="352836" y="1211107"/>
                    <a:pt x="305366" y="1185824"/>
                  </a:cubicBezTo>
                  <a:cubicBezTo>
                    <a:pt x="297110" y="1181696"/>
                    <a:pt x="295562" y="1177053"/>
                    <a:pt x="298142" y="1168281"/>
                  </a:cubicBezTo>
                  <a:cubicBezTo>
                    <a:pt x="310525" y="1132163"/>
                    <a:pt x="321877" y="1095528"/>
                    <a:pt x="333744" y="1059410"/>
                  </a:cubicBezTo>
                  <a:cubicBezTo>
                    <a:pt x="335808" y="1053734"/>
                    <a:pt x="338904" y="1048574"/>
                    <a:pt x="342000" y="1043415"/>
                  </a:cubicBezTo>
                  <a:cubicBezTo>
                    <a:pt x="360059" y="1016584"/>
                    <a:pt x="377602" y="989753"/>
                    <a:pt x="395662" y="962922"/>
                  </a:cubicBezTo>
                  <a:cubicBezTo>
                    <a:pt x="399790" y="956730"/>
                    <a:pt x="399790" y="952603"/>
                    <a:pt x="393598" y="947959"/>
                  </a:cubicBezTo>
                  <a:cubicBezTo>
                    <a:pt x="356963" y="921644"/>
                    <a:pt x="326005" y="889653"/>
                    <a:pt x="299174" y="853535"/>
                  </a:cubicBezTo>
                  <a:cubicBezTo>
                    <a:pt x="295046" y="847859"/>
                    <a:pt x="290918" y="847859"/>
                    <a:pt x="285243" y="851471"/>
                  </a:cubicBezTo>
                  <a:cubicBezTo>
                    <a:pt x="267183" y="863855"/>
                    <a:pt x="248092" y="875206"/>
                    <a:pt x="230549" y="888106"/>
                  </a:cubicBezTo>
                  <a:cubicBezTo>
                    <a:pt x="205782" y="906681"/>
                    <a:pt x="178435" y="918548"/>
                    <a:pt x="148509" y="926804"/>
                  </a:cubicBezTo>
                  <a:cubicBezTo>
                    <a:pt x="124774" y="933511"/>
                    <a:pt x="101555" y="941767"/>
                    <a:pt x="78852" y="949507"/>
                  </a:cubicBezTo>
                  <a:cubicBezTo>
                    <a:pt x="71112" y="952087"/>
                    <a:pt x="66468" y="950539"/>
                    <a:pt x="62340" y="942799"/>
                  </a:cubicBezTo>
                  <a:cubicBezTo>
                    <a:pt x="36541" y="895329"/>
                    <a:pt x="15902" y="845795"/>
                    <a:pt x="939" y="794198"/>
                  </a:cubicBezTo>
                  <a:cubicBezTo>
                    <a:pt x="-1125" y="786458"/>
                    <a:pt x="-93" y="782330"/>
                    <a:pt x="7131" y="778718"/>
                  </a:cubicBezTo>
                  <a:cubicBezTo>
                    <a:pt x="42733" y="760659"/>
                    <a:pt x="77820" y="741052"/>
                    <a:pt x="114454" y="725056"/>
                  </a:cubicBezTo>
                  <a:cubicBezTo>
                    <a:pt x="137673" y="714737"/>
                    <a:pt x="164504" y="714221"/>
                    <a:pt x="189787" y="708545"/>
                  </a:cubicBezTo>
                  <a:cubicBezTo>
                    <a:pt x="200106" y="705965"/>
                    <a:pt x="210942" y="704417"/>
                    <a:pt x="221261" y="702354"/>
                  </a:cubicBezTo>
                  <a:cubicBezTo>
                    <a:pt x="229001" y="700806"/>
                    <a:pt x="233129" y="698226"/>
                    <a:pt x="231581" y="688938"/>
                  </a:cubicBezTo>
                  <a:cubicBezTo>
                    <a:pt x="229001" y="669847"/>
                    <a:pt x="226937" y="650756"/>
                    <a:pt x="225905" y="631149"/>
                  </a:cubicBezTo>
                  <a:cubicBezTo>
                    <a:pt x="224873" y="606898"/>
                    <a:pt x="229517" y="583163"/>
                    <a:pt x="231581" y="559428"/>
                  </a:cubicBezTo>
                  <a:cubicBezTo>
                    <a:pt x="232613" y="549624"/>
                    <a:pt x="229001" y="546528"/>
                    <a:pt x="220745" y="544980"/>
                  </a:cubicBezTo>
                  <a:cubicBezTo>
                    <a:pt x="204750" y="542401"/>
                    <a:pt x="188755" y="537757"/>
                    <a:pt x="172760" y="535693"/>
                  </a:cubicBezTo>
                  <a:cubicBezTo>
                    <a:pt x="118582" y="530533"/>
                    <a:pt x="74208" y="502154"/>
                    <a:pt x="27770" y="478419"/>
                  </a:cubicBezTo>
                  <a:cubicBezTo>
                    <a:pt x="-2157" y="463456"/>
                    <a:pt x="-1125" y="463456"/>
                    <a:pt x="8163" y="431465"/>
                  </a:cubicBezTo>
                  <a:cubicBezTo>
                    <a:pt x="21062" y="387091"/>
                    <a:pt x="41701" y="345813"/>
                    <a:pt x="62340" y="305051"/>
                  </a:cubicBezTo>
                  <a:cubicBezTo>
                    <a:pt x="66468" y="296795"/>
                    <a:pt x="71112" y="295247"/>
                    <a:pt x="79884" y="297827"/>
                  </a:cubicBezTo>
                  <a:cubicBezTo>
                    <a:pt x="116002" y="310211"/>
                    <a:pt x="152636" y="321562"/>
                    <a:pt x="188755" y="333430"/>
                  </a:cubicBezTo>
                  <a:cubicBezTo>
                    <a:pt x="194430" y="335494"/>
                    <a:pt x="199590" y="338589"/>
                    <a:pt x="204750" y="341685"/>
                  </a:cubicBezTo>
                  <a:cubicBezTo>
                    <a:pt x="231581" y="359745"/>
                    <a:pt x="258412" y="377288"/>
                    <a:pt x="285243" y="395347"/>
                  </a:cubicBezTo>
                  <a:cubicBezTo>
                    <a:pt x="291434" y="399475"/>
                    <a:pt x="295562" y="399475"/>
                    <a:pt x="300206" y="393283"/>
                  </a:cubicBezTo>
                  <a:cubicBezTo>
                    <a:pt x="326521" y="357165"/>
                    <a:pt x="357479" y="326206"/>
                    <a:pt x="393598" y="299891"/>
                  </a:cubicBezTo>
                  <a:cubicBezTo>
                    <a:pt x="400305" y="294731"/>
                    <a:pt x="399790" y="290604"/>
                    <a:pt x="395662" y="283896"/>
                  </a:cubicBezTo>
                  <a:cubicBezTo>
                    <a:pt x="381214" y="263257"/>
                    <a:pt x="367799" y="241586"/>
                    <a:pt x="353352" y="220947"/>
                  </a:cubicBezTo>
                  <a:cubicBezTo>
                    <a:pt x="340452" y="202887"/>
                    <a:pt x="331681" y="183280"/>
                    <a:pt x="325489" y="162125"/>
                  </a:cubicBezTo>
                  <a:cubicBezTo>
                    <a:pt x="317749" y="135294"/>
                    <a:pt x="308978" y="108980"/>
                    <a:pt x="299690" y="82665"/>
                  </a:cubicBezTo>
                  <a:cubicBezTo>
                    <a:pt x="296078" y="72345"/>
                    <a:pt x="297626" y="66669"/>
                    <a:pt x="307946" y="61510"/>
                  </a:cubicBezTo>
                  <a:cubicBezTo>
                    <a:pt x="353867" y="37259"/>
                    <a:pt x="401853" y="17136"/>
                    <a:pt x="451903" y="2172"/>
                  </a:cubicBezTo>
                  <a:cubicBezTo>
                    <a:pt x="461191" y="-408"/>
                    <a:pt x="465835" y="624"/>
                    <a:pt x="470478" y="9396"/>
                  </a:cubicBezTo>
                  <a:cubicBezTo>
                    <a:pt x="487506" y="43451"/>
                    <a:pt x="505565" y="77505"/>
                    <a:pt x="522076" y="111559"/>
                  </a:cubicBezTo>
                  <a:cubicBezTo>
                    <a:pt x="531880" y="132199"/>
                    <a:pt x="532396" y="155934"/>
                    <a:pt x="537555" y="177605"/>
                  </a:cubicBezTo>
                  <a:cubicBezTo>
                    <a:pt x="541167" y="192568"/>
                    <a:pt x="543747" y="208047"/>
                    <a:pt x="546843" y="223011"/>
                  </a:cubicBezTo>
                  <a:cubicBezTo>
                    <a:pt x="548391" y="230234"/>
                    <a:pt x="550971" y="232814"/>
                    <a:pt x="559227" y="231782"/>
                  </a:cubicBezTo>
                  <a:cubicBezTo>
                    <a:pt x="602569" y="225590"/>
                    <a:pt x="645395" y="225074"/>
                    <a:pt x="688737" y="231782"/>
                  </a:cubicBezTo>
                  <a:cubicBezTo>
                    <a:pt x="699056" y="233330"/>
                    <a:pt x="702152" y="229718"/>
                    <a:pt x="704216" y="220431"/>
                  </a:cubicBezTo>
                  <a:cubicBezTo>
                    <a:pt x="707828" y="199276"/>
                    <a:pt x="713504" y="178636"/>
                    <a:pt x="716600" y="156966"/>
                  </a:cubicBezTo>
                  <a:cubicBezTo>
                    <a:pt x="720727" y="129103"/>
                    <a:pt x="730531" y="103820"/>
                    <a:pt x="743430" y="79569"/>
                  </a:cubicBezTo>
                  <a:cubicBezTo>
                    <a:pt x="756330" y="56350"/>
                    <a:pt x="768197" y="32099"/>
                    <a:pt x="780065" y="8364"/>
                  </a:cubicBezTo>
                  <a:cubicBezTo>
                    <a:pt x="784193" y="108"/>
                    <a:pt x="788320" y="-1440"/>
                    <a:pt x="797092" y="1140"/>
                  </a:cubicBezTo>
                  <a:cubicBezTo>
                    <a:pt x="848174" y="16620"/>
                    <a:pt x="897192" y="36743"/>
                    <a:pt x="944146" y="62542"/>
                  </a:cubicBezTo>
                  <a:cubicBezTo>
                    <a:pt x="951885" y="66669"/>
                    <a:pt x="953949" y="70797"/>
                    <a:pt x="950853" y="79053"/>
                  </a:cubicBezTo>
                  <a:cubicBezTo>
                    <a:pt x="938470" y="115687"/>
                    <a:pt x="927118" y="152838"/>
                    <a:pt x="914735" y="189472"/>
                  </a:cubicBezTo>
                  <a:cubicBezTo>
                    <a:pt x="912671" y="195148"/>
                    <a:pt x="909575" y="200308"/>
                    <a:pt x="906479" y="205467"/>
                  </a:cubicBezTo>
                  <a:cubicBezTo>
                    <a:pt x="888936" y="231782"/>
                    <a:pt x="871393" y="258613"/>
                    <a:pt x="853334" y="284928"/>
                  </a:cubicBezTo>
                  <a:cubicBezTo>
                    <a:pt x="848690" y="291635"/>
                    <a:pt x="849206" y="296279"/>
                    <a:pt x="855398" y="300923"/>
                  </a:cubicBezTo>
                  <a:cubicBezTo>
                    <a:pt x="891516" y="327238"/>
                    <a:pt x="922475" y="358713"/>
                    <a:pt x="948789" y="394315"/>
                  </a:cubicBezTo>
                  <a:cubicBezTo>
                    <a:pt x="953433" y="401023"/>
                    <a:pt x="957561" y="400507"/>
                    <a:pt x="963753" y="396379"/>
                  </a:cubicBezTo>
                  <a:cubicBezTo>
                    <a:pt x="981296" y="384511"/>
                    <a:pt x="999355" y="373676"/>
                    <a:pt x="1015866" y="360777"/>
                  </a:cubicBezTo>
                  <a:cubicBezTo>
                    <a:pt x="1041149" y="341685"/>
                    <a:pt x="1069528" y="329302"/>
                    <a:pt x="1099971" y="320530"/>
                  </a:cubicBezTo>
                  <a:cubicBezTo>
                    <a:pt x="1123190" y="314339"/>
                    <a:pt x="1145893" y="306083"/>
                    <a:pt x="1168596" y="298343"/>
                  </a:cubicBezTo>
                  <a:cubicBezTo>
                    <a:pt x="1177368" y="295247"/>
                    <a:pt x="1181495" y="297311"/>
                    <a:pt x="1186139" y="305567"/>
                  </a:cubicBezTo>
                  <a:cubicBezTo>
                    <a:pt x="1211422" y="352521"/>
                    <a:pt x="1232061" y="401539"/>
                    <a:pt x="1247024" y="453136"/>
                  </a:cubicBezTo>
                  <a:cubicBezTo>
                    <a:pt x="1249604" y="461392"/>
                    <a:pt x="1247540" y="465520"/>
                    <a:pt x="1240317" y="469648"/>
                  </a:cubicBezTo>
                  <a:cubicBezTo>
                    <a:pt x="1205230" y="487191"/>
                    <a:pt x="1171176" y="506282"/>
                    <a:pt x="1135573" y="522277"/>
                  </a:cubicBezTo>
                  <a:cubicBezTo>
                    <a:pt x="1111838" y="533113"/>
                    <a:pt x="1084492" y="533629"/>
                    <a:pt x="1059209" y="539821"/>
                  </a:cubicBezTo>
                  <a:cubicBezTo>
                    <a:pt x="1053017" y="541369"/>
                    <a:pt x="1046309" y="542401"/>
                    <a:pt x="1040117" y="543433"/>
                  </a:cubicBezTo>
                  <a:cubicBezTo>
                    <a:pt x="1015866" y="548592"/>
                    <a:pt x="1014318" y="548592"/>
                    <a:pt x="1017930" y="572843"/>
                  </a:cubicBezTo>
                  <a:cubicBezTo>
                    <a:pt x="1024122" y="611541"/>
                    <a:pt x="1021542" y="649724"/>
                    <a:pt x="1016383" y="688422"/>
                  </a:cubicBezTo>
                  <a:cubicBezTo>
                    <a:pt x="1014835" y="699258"/>
                    <a:pt x="1019478" y="701837"/>
                    <a:pt x="1028250" y="703386"/>
                  </a:cubicBezTo>
                  <a:cubicBezTo>
                    <a:pt x="1058177" y="709061"/>
                    <a:pt x="1088103" y="715253"/>
                    <a:pt x="1118030" y="720929"/>
                  </a:cubicBezTo>
                  <a:cubicBezTo>
                    <a:pt x="1126802" y="722477"/>
                    <a:pt x="1134541" y="725572"/>
                    <a:pt x="1142281" y="729184"/>
                  </a:cubicBezTo>
                  <a:cubicBezTo>
                    <a:pt x="1173756" y="745696"/>
                    <a:pt x="1205746" y="762207"/>
                    <a:pt x="1237737" y="777686"/>
                  </a:cubicBezTo>
                  <a:cubicBezTo>
                    <a:pt x="1247024" y="782330"/>
                    <a:pt x="1249604" y="786974"/>
                    <a:pt x="1246508" y="797809"/>
                  </a:cubicBezTo>
                  <a:cubicBezTo>
                    <a:pt x="1231545" y="847859"/>
                    <a:pt x="1211422" y="895329"/>
                    <a:pt x="1186655" y="941767"/>
                  </a:cubicBezTo>
                  <a:cubicBezTo>
                    <a:pt x="1182011" y="950539"/>
                    <a:pt x="1177368" y="953634"/>
                    <a:pt x="1167564" y="950023"/>
                  </a:cubicBezTo>
                  <a:cubicBezTo>
                    <a:pt x="1132477" y="938155"/>
                    <a:pt x="1097391" y="926804"/>
                    <a:pt x="1062304" y="915452"/>
                  </a:cubicBezTo>
                  <a:cubicBezTo>
                    <a:pt x="1055081" y="913388"/>
                    <a:pt x="1048889" y="909776"/>
                    <a:pt x="1042697" y="905649"/>
                  </a:cubicBezTo>
                  <a:cubicBezTo>
                    <a:pt x="1016383" y="888106"/>
                    <a:pt x="989552" y="870562"/>
                    <a:pt x="963237" y="852503"/>
                  </a:cubicBezTo>
                  <a:cubicBezTo>
                    <a:pt x="956529" y="847859"/>
                    <a:pt x="952401" y="848375"/>
                    <a:pt x="947241" y="855083"/>
                  </a:cubicBezTo>
                  <a:cubicBezTo>
                    <a:pt x="921443" y="890169"/>
                    <a:pt x="891000" y="921128"/>
                    <a:pt x="855914" y="946927"/>
                  </a:cubicBezTo>
                  <a:cubicBezTo>
                    <a:pt x="847658" y="953119"/>
                    <a:pt x="848174" y="958278"/>
                    <a:pt x="853850" y="966018"/>
                  </a:cubicBezTo>
                  <a:cubicBezTo>
                    <a:pt x="866749" y="984077"/>
                    <a:pt x="877584" y="1002652"/>
                    <a:pt x="890484" y="1020711"/>
                  </a:cubicBezTo>
                  <a:cubicBezTo>
                    <a:pt x="906479" y="1042899"/>
                    <a:pt x="917831" y="1067149"/>
                    <a:pt x="925054" y="1093464"/>
                  </a:cubicBezTo>
                  <a:cubicBezTo>
                    <a:pt x="932278" y="1119263"/>
                    <a:pt x="941050" y="1144030"/>
                    <a:pt x="949821" y="1169313"/>
                  </a:cubicBezTo>
                  <a:cubicBezTo>
                    <a:pt x="952401" y="1177053"/>
                    <a:pt x="950853" y="1181696"/>
                    <a:pt x="943114" y="1185824"/>
                  </a:cubicBezTo>
                  <a:cubicBezTo>
                    <a:pt x="895644" y="1211623"/>
                    <a:pt x="846110" y="1232262"/>
                    <a:pt x="794512" y="1247226"/>
                  </a:cubicBezTo>
                  <a:cubicBezTo>
                    <a:pt x="786773" y="1249290"/>
                    <a:pt x="782645" y="1248258"/>
                    <a:pt x="779033" y="1241034"/>
                  </a:cubicBezTo>
                  <a:cubicBezTo>
                    <a:pt x="760974" y="1205432"/>
                    <a:pt x="742399" y="1169829"/>
                    <a:pt x="724855" y="1134226"/>
                  </a:cubicBezTo>
                  <a:cubicBezTo>
                    <a:pt x="720211" y="1125455"/>
                    <a:pt x="720211" y="1115136"/>
                    <a:pt x="718148" y="1105332"/>
                  </a:cubicBezTo>
                  <a:cubicBezTo>
                    <a:pt x="712988" y="1080565"/>
                    <a:pt x="708344" y="1055798"/>
                    <a:pt x="703184" y="1031031"/>
                  </a:cubicBezTo>
                  <a:cubicBezTo>
                    <a:pt x="700604" y="1015552"/>
                    <a:pt x="701120" y="1015552"/>
                    <a:pt x="686157" y="1016068"/>
                  </a:cubicBezTo>
                  <a:close/>
                  <a:moveTo>
                    <a:pt x="624240" y="791102"/>
                  </a:moveTo>
                  <a:cubicBezTo>
                    <a:pt x="720211" y="788522"/>
                    <a:pt x="791416" y="716801"/>
                    <a:pt x="790900" y="623925"/>
                  </a:cubicBezTo>
                  <a:cubicBezTo>
                    <a:pt x="790384" y="528985"/>
                    <a:pt x="717632" y="457780"/>
                    <a:pt x="624240" y="458296"/>
                  </a:cubicBezTo>
                  <a:cubicBezTo>
                    <a:pt x="530332" y="458296"/>
                    <a:pt x="458095" y="530533"/>
                    <a:pt x="458095" y="624441"/>
                  </a:cubicBezTo>
                  <a:cubicBezTo>
                    <a:pt x="458095" y="718349"/>
                    <a:pt x="530848" y="788522"/>
                    <a:pt x="624240" y="791102"/>
                  </a:cubicBezTo>
                  <a:close/>
                </a:path>
              </a:pathLst>
            </a:custGeom>
            <a:grpFill/>
            <a:ln w="51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FCD81010-EBF6-414C-927A-9FFCBAFAE158}"/>
                </a:ext>
              </a:extLst>
            </p:cNvPr>
            <p:cNvGrpSpPr/>
            <p:nvPr/>
          </p:nvGrpSpPr>
          <p:grpSpPr>
            <a:xfrm rot="2159485">
              <a:off x="10055501" y="2964359"/>
              <a:ext cx="1639387" cy="985059"/>
              <a:chOff x="2753518" y="3556278"/>
              <a:chExt cx="2028524" cy="1218879"/>
            </a:xfrm>
            <a:grpFill/>
          </p:grpSpPr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C935FFD8-C758-4E69-865F-0D3F0FF08A12}"/>
                  </a:ext>
                </a:extLst>
              </p:cNvPr>
              <p:cNvSpPr/>
              <p:nvPr/>
            </p:nvSpPr>
            <p:spPr>
              <a:xfrm>
                <a:off x="2753518" y="3683131"/>
                <a:ext cx="796648" cy="799367"/>
              </a:xfrm>
              <a:custGeom>
                <a:avLst/>
                <a:gdLst>
                  <a:gd name="connsiteX0" fmla="*/ 817500 w 1511813"/>
                  <a:gd name="connsiteY0" fmla="*/ 1518710 h 1516973"/>
                  <a:gd name="connsiteX1" fmla="*/ 802537 w 1511813"/>
                  <a:gd name="connsiteY1" fmla="*/ 1507875 h 1516973"/>
                  <a:gd name="connsiteX2" fmla="*/ 780866 w 1511813"/>
                  <a:gd name="connsiteY2" fmla="*/ 1442862 h 1516973"/>
                  <a:gd name="connsiteX3" fmla="*/ 776738 w 1511813"/>
                  <a:gd name="connsiteY3" fmla="*/ 1385072 h 1516973"/>
                  <a:gd name="connsiteX4" fmla="*/ 760227 w 1511813"/>
                  <a:gd name="connsiteY4" fmla="*/ 1369593 h 1516973"/>
                  <a:gd name="connsiteX5" fmla="*/ 694698 w 1511813"/>
                  <a:gd name="connsiteY5" fmla="*/ 1366497 h 1516973"/>
                  <a:gd name="connsiteX6" fmla="*/ 676638 w 1511813"/>
                  <a:gd name="connsiteY6" fmla="*/ 1379912 h 1516973"/>
                  <a:gd name="connsiteX7" fmla="*/ 637940 w 1511813"/>
                  <a:gd name="connsiteY7" fmla="*/ 1501683 h 1516973"/>
                  <a:gd name="connsiteX8" fmla="*/ 622977 w 1511813"/>
                  <a:gd name="connsiteY8" fmla="*/ 1508907 h 1516973"/>
                  <a:gd name="connsiteX9" fmla="*/ 430517 w 1511813"/>
                  <a:gd name="connsiteY9" fmla="*/ 1447505 h 1516973"/>
                  <a:gd name="connsiteX10" fmla="*/ 422262 w 1511813"/>
                  <a:gd name="connsiteY10" fmla="*/ 1431510 h 1516973"/>
                  <a:gd name="connsiteX11" fmla="*/ 435677 w 1511813"/>
                  <a:gd name="connsiteY11" fmla="*/ 1364433 h 1516973"/>
                  <a:gd name="connsiteX12" fmla="*/ 461992 w 1511813"/>
                  <a:gd name="connsiteY12" fmla="*/ 1310255 h 1516973"/>
                  <a:gd name="connsiteX13" fmla="*/ 456316 w 1511813"/>
                  <a:gd name="connsiteY13" fmla="*/ 1290132 h 1516973"/>
                  <a:gd name="connsiteX14" fmla="*/ 395431 w 1511813"/>
                  <a:gd name="connsiteY14" fmla="*/ 1251434 h 1516973"/>
                  <a:gd name="connsiteX15" fmla="*/ 378919 w 1511813"/>
                  <a:gd name="connsiteY15" fmla="*/ 1254014 h 1516973"/>
                  <a:gd name="connsiteX16" fmla="*/ 283464 w 1511813"/>
                  <a:gd name="connsiteY16" fmla="*/ 1342246 h 1516973"/>
                  <a:gd name="connsiteX17" fmla="*/ 265920 w 1511813"/>
                  <a:gd name="connsiteY17" fmla="*/ 1341214 h 1516973"/>
                  <a:gd name="connsiteX18" fmla="*/ 130218 w 1511813"/>
                  <a:gd name="connsiteY18" fmla="*/ 1191580 h 1516973"/>
                  <a:gd name="connsiteX19" fmla="*/ 130734 w 1511813"/>
                  <a:gd name="connsiteY19" fmla="*/ 1174553 h 1516973"/>
                  <a:gd name="connsiteX20" fmla="*/ 177688 w 1511813"/>
                  <a:gd name="connsiteY20" fmla="*/ 1121408 h 1516973"/>
                  <a:gd name="connsiteX21" fmla="*/ 225674 w 1511813"/>
                  <a:gd name="connsiteY21" fmla="*/ 1089417 h 1516973"/>
                  <a:gd name="connsiteX22" fmla="*/ 230834 w 1511813"/>
                  <a:gd name="connsiteY22" fmla="*/ 1067230 h 1516973"/>
                  <a:gd name="connsiteX23" fmla="*/ 198327 w 1511813"/>
                  <a:gd name="connsiteY23" fmla="*/ 1004281 h 1516973"/>
                  <a:gd name="connsiteX24" fmla="*/ 183880 w 1511813"/>
                  <a:gd name="connsiteY24" fmla="*/ 998089 h 1516973"/>
                  <a:gd name="connsiteX25" fmla="*/ 67269 w 1511813"/>
                  <a:gd name="connsiteY25" fmla="*/ 1025952 h 1516973"/>
                  <a:gd name="connsiteX26" fmla="*/ 55918 w 1511813"/>
                  <a:gd name="connsiteY26" fmla="*/ 1027500 h 1516973"/>
                  <a:gd name="connsiteX27" fmla="*/ 41470 w 1511813"/>
                  <a:gd name="connsiteY27" fmla="*/ 1018212 h 1516973"/>
                  <a:gd name="connsiteX28" fmla="*/ 1224 w 1511813"/>
                  <a:gd name="connsiteY28" fmla="*/ 841748 h 1516973"/>
                  <a:gd name="connsiteX29" fmla="*/ 30635 w 1511813"/>
                  <a:gd name="connsiteY29" fmla="*/ 797374 h 1516973"/>
                  <a:gd name="connsiteX30" fmla="*/ 134862 w 1511813"/>
                  <a:gd name="connsiteY30" fmla="*/ 778799 h 1516973"/>
                  <a:gd name="connsiteX31" fmla="*/ 147246 w 1511813"/>
                  <a:gd name="connsiteY31" fmla="*/ 765899 h 1516973"/>
                  <a:gd name="connsiteX32" fmla="*/ 150342 w 1511813"/>
                  <a:gd name="connsiteY32" fmla="*/ 696242 h 1516973"/>
                  <a:gd name="connsiteX33" fmla="*/ 137442 w 1511813"/>
                  <a:gd name="connsiteY33" fmla="*/ 678699 h 1516973"/>
                  <a:gd name="connsiteX34" fmla="*/ 14639 w 1511813"/>
                  <a:gd name="connsiteY34" fmla="*/ 639485 h 1516973"/>
                  <a:gd name="connsiteX35" fmla="*/ 7932 w 1511813"/>
                  <a:gd name="connsiteY35" fmla="*/ 625037 h 1516973"/>
                  <a:gd name="connsiteX36" fmla="*/ 69333 w 1511813"/>
                  <a:gd name="connsiteY36" fmla="*/ 432578 h 1516973"/>
                  <a:gd name="connsiteX37" fmla="*/ 86360 w 1511813"/>
                  <a:gd name="connsiteY37" fmla="*/ 423806 h 1516973"/>
                  <a:gd name="connsiteX38" fmla="*/ 150858 w 1511813"/>
                  <a:gd name="connsiteY38" fmla="*/ 436706 h 1516973"/>
                  <a:gd name="connsiteX39" fmla="*/ 206583 w 1511813"/>
                  <a:gd name="connsiteY39" fmla="*/ 463536 h 1516973"/>
                  <a:gd name="connsiteX40" fmla="*/ 227738 w 1511813"/>
                  <a:gd name="connsiteY40" fmla="*/ 457345 h 1516973"/>
                  <a:gd name="connsiteX41" fmla="*/ 266952 w 1511813"/>
                  <a:gd name="connsiteY41" fmla="*/ 396459 h 1516973"/>
                  <a:gd name="connsiteX42" fmla="*/ 264373 w 1511813"/>
                  <a:gd name="connsiteY42" fmla="*/ 380980 h 1516973"/>
                  <a:gd name="connsiteX43" fmla="*/ 175108 w 1511813"/>
                  <a:gd name="connsiteY43" fmla="*/ 284492 h 1516973"/>
                  <a:gd name="connsiteX44" fmla="*/ 176140 w 1511813"/>
                  <a:gd name="connsiteY44" fmla="*/ 267981 h 1516973"/>
                  <a:gd name="connsiteX45" fmla="*/ 325258 w 1511813"/>
                  <a:gd name="connsiteY45" fmla="*/ 132279 h 1516973"/>
                  <a:gd name="connsiteX46" fmla="*/ 343317 w 1511813"/>
                  <a:gd name="connsiteY46" fmla="*/ 132795 h 1516973"/>
                  <a:gd name="connsiteX47" fmla="*/ 395431 w 1511813"/>
                  <a:gd name="connsiteY47" fmla="*/ 178717 h 1516973"/>
                  <a:gd name="connsiteX48" fmla="*/ 426389 w 1511813"/>
                  <a:gd name="connsiteY48" fmla="*/ 224639 h 1516973"/>
                  <a:gd name="connsiteX49" fmla="*/ 451156 w 1511813"/>
                  <a:gd name="connsiteY49" fmla="*/ 231347 h 1516973"/>
                  <a:gd name="connsiteX50" fmla="*/ 512042 w 1511813"/>
                  <a:gd name="connsiteY50" fmla="*/ 200388 h 1516973"/>
                  <a:gd name="connsiteX51" fmla="*/ 518233 w 1511813"/>
                  <a:gd name="connsiteY51" fmla="*/ 183877 h 1516973"/>
                  <a:gd name="connsiteX52" fmla="*/ 491403 w 1511813"/>
                  <a:gd name="connsiteY52" fmla="*/ 69846 h 1516973"/>
                  <a:gd name="connsiteX53" fmla="*/ 489855 w 1511813"/>
                  <a:gd name="connsiteY53" fmla="*/ 58494 h 1516973"/>
                  <a:gd name="connsiteX54" fmla="*/ 499658 w 1511813"/>
                  <a:gd name="connsiteY54" fmla="*/ 43015 h 1516973"/>
                  <a:gd name="connsiteX55" fmla="*/ 695730 w 1511813"/>
                  <a:gd name="connsiteY55" fmla="*/ 189 h 1516973"/>
                  <a:gd name="connsiteX56" fmla="*/ 713273 w 1511813"/>
                  <a:gd name="connsiteY56" fmla="*/ 12056 h 1516973"/>
                  <a:gd name="connsiteX57" fmla="*/ 721012 w 1511813"/>
                  <a:gd name="connsiteY57" fmla="*/ 35275 h 1516973"/>
                  <a:gd name="connsiteX58" fmla="*/ 738556 w 1511813"/>
                  <a:gd name="connsiteY58" fmla="*/ 134343 h 1516973"/>
                  <a:gd name="connsiteX59" fmla="*/ 753519 w 1511813"/>
                  <a:gd name="connsiteY59" fmla="*/ 148790 h 1516973"/>
                  <a:gd name="connsiteX60" fmla="*/ 820596 w 1511813"/>
                  <a:gd name="connsiteY60" fmla="*/ 151886 h 1516973"/>
                  <a:gd name="connsiteX61" fmla="*/ 838655 w 1511813"/>
                  <a:gd name="connsiteY61" fmla="*/ 138471 h 1516973"/>
                  <a:gd name="connsiteX62" fmla="*/ 877354 w 1511813"/>
                  <a:gd name="connsiteY62" fmla="*/ 16700 h 1516973"/>
                  <a:gd name="connsiteX63" fmla="*/ 892317 w 1511813"/>
                  <a:gd name="connsiteY63" fmla="*/ 9476 h 1516973"/>
                  <a:gd name="connsiteX64" fmla="*/ 1084777 w 1511813"/>
                  <a:gd name="connsiteY64" fmla="*/ 70878 h 1516973"/>
                  <a:gd name="connsiteX65" fmla="*/ 1093032 w 1511813"/>
                  <a:gd name="connsiteY65" fmla="*/ 86873 h 1516973"/>
                  <a:gd name="connsiteX66" fmla="*/ 1079617 w 1511813"/>
                  <a:gd name="connsiteY66" fmla="*/ 152402 h 1516973"/>
                  <a:gd name="connsiteX67" fmla="*/ 1053302 w 1511813"/>
                  <a:gd name="connsiteY67" fmla="*/ 206580 h 1516973"/>
                  <a:gd name="connsiteX68" fmla="*/ 1060010 w 1511813"/>
                  <a:gd name="connsiteY68" fmla="*/ 228251 h 1516973"/>
                  <a:gd name="connsiteX69" fmla="*/ 1118315 w 1511813"/>
                  <a:gd name="connsiteY69" fmla="*/ 265917 h 1516973"/>
                  <a:gd name="connsiteX70" fmla="*/ 1136374 w 1511813"/>
                  <a:gd name="connsiteY70" fmla="*/ 262821 h 1516973"/>
                  <a:gd name="connsiteX71" fmla="*/ 1232346 w 1511813"/>
                  <a:gd name="connsiteY71" fmla="*/ 174589 h 1516973"/>
                  <a:gd name="connsiteX72" fmla="*/ 1247825 w 1511813"/>
                  <a:gd name="connsiteY72" fmla="*/ 175621 h 1516973"/>
                  <a:gd name="connsiteX73" fmla="*/ 1384559 w 1511813"/>
                  <a:gd name="connsiteY73" fmla="*/ 325770 h 1516973"/>
                  <a:gd name="connsiteX74" fmla="*/ 1384043 w 1511813"/>
                  <a:gd name="connsiteY74" fmla="*/ 342798 h 1516973"/>
                  <a:gd name="connsiteX75" fmla="*/ 1336057 w 1511813"/>
                  <a:gd name="connsiteY75" fmla="*/ 396975 h 1516973"/>
                  <a:gd name="connsiteX76" fmla="*/ 1291167 w 1511813"/>
                  <a:gd name="connsiteY76" fmla="*/ 426902 h 1516973"/>
                  <a:gd name="connsiteX77" fmla="*/ 1284976 w 1511813"/>
                  <a:gd name="connsiteY77" fmla="*/ 451153 h 1516973"/>
                  <a:gd name="connsiteX78" fmla="*/ 1316450 w 1511813"/>
                  <a:gd name="connsiteY78" fmla="*/ 513070 h 1516973"/>
                  <a:gd name="connsiteX79" fmla="*/ 1330898 w 1511813"/>
                  <a:gd name="connsiteY79" fmla="*/ 519262 h 1516973"/>
                  <a:gd name="connsiteX80" fmla="*/ 1447509 w 1511813"/>
                  <a:gd name="connsiteY80" fmla="*/ 491399 h 1516973"/>
                  <a:gd name="connsiteX81" fmla="*/ 1458860 w 1511813"/>
                  <a:gd name="connsiteY81" fmla="*/ 489851 h 1516973"/>
                  <a:gd name="connsiteX82" fmla="*/ 1473307 w 1511813"/>
                  <a:gd name="connsiteY82" fmla="*/ 499139 h 1516973"/>
                  <a:gd name="connsiteX83" fmla="*/ 1513554 w 1511813"/>
                  <a:gd name="connsiteY83" fmla="*/ 675603 h 1516973"/>
                  <a:gd name="connsiteX84" fmla="*/ 1514070 w 1511813"/>
                  <a:gd name="connsiteY84" fmla="*/ 679215 h 1516973"/>
                  <a:gd name="connsiteX85" fmla="*/ 1490335 w 1511813"/>
                  <a:gd name="connsiteY85" fmla="*/ 717397 h 1516973"/>
                  <a:gd name="connsiteX86" fmla="*/ 1379916 w 1511813"/>
                  <a:gd name="connsiteY86" fmla="*/ 738036 h 1516973"/>
                  <a:gd name="connsiteX87" fmla="*/ 1367532 w 1511813"/>
                  <a:gd name="connsiteY87" fmla="*/ 749904 h 1516973"/>
                  <a:gd name="connsiteX88" fmla="*/ 1363920 w 1511813"/>
                  <a:gd name="connsiteY88" fmla="*/ 822141 h 1516973"/>
                  <a:gd name="connsiteX89" fmla="*/ 1375788 w 1511813"/>
                  <a:gd name="connsiteY89" fmla="*/ 838136 h 1516973"/>
                  <a:gd name="connsiteX90" fmla="*/ 1498590 w 1511813"/>
                  <a:gd name="connsiteY90" fmla="*/ 876834 h 1516973"/>
                  <a:gd name="connsiteX91" fmla="*/ 1506330 w 1511813"/>
                  <a:gd name="connsiteY91" fmla="*/ 891798 h 1516973"/>
                  <a:gd name="connsiteX92" fmla="*/ 1444413 w 1511813"/>
                  <a:gd name="connsiteY92" fmla="*/ 1085289 h 1516973"/>
                  <a:gd name="connsiteX93" fmla="*/ 1429449 w 1511813"/>
                  <a:gd name="connsiteY93" fmla="*/ 1093029 h 1516973"/>
                  <a:gd name="connsiteX94" fmla="*/ 1306647 w 1511813"/>
                  <a:gd name="connsiteY94" fmla="*/ 1052783 h 1516973"/>
                  <a:gd name="connsiteX95" fmla="*/ 1287556 w 1511813"/>
                  <a:gd name="connsiteY95" fmla="*/ 1057942 h 1516973"/>
                  <a:gd name="connsiteX96" fmla="*/ 1248857 w 1511813"/>
                  <a:gd name="connsiteY96" fmla="*/ 1118828 h 1516973"/>
                  <a:gd name="connsiteX97" fmla="*/ 1250405 w 1511813"/>
                  <a:gd name="connsiteY97" fmla="*/ 1135339 h 1516973"/>
                  <a:gd name="connsiteX98" fmla="*/ 1339153 w 1511813"/>
                  <a:gd name="connsiteY98" fmla="*/ 1230795 h 1516973"/>
                  <a:gd name="connsiteX99" fmla="*/ 1337605 w 1511813"/>
                  <a:gd name="connsiteY99" fmla="*/ 1249370 h 1516973"/>
                  <a:gd name="connsiteX100" fmla="*/ 1189004 w 1511813"/>
                  <a:gd name="connsiteY100" fmla="*/ 1384040 h 1516973"/>
                  <a:gd name="connsiteX101" fmla="*/ 1170945 w 1511813"/>
                  <a:gd name="connsiteY101" fmla="*/ 1383524 h 1516973"/>
                  <a:gd name="connsiteX102" fmla="*/ 1118831 w 1511813"/>
                  <a:gd name="connsiteY102" fmla="*/ 1337602 h 1516973"/>
                  <a:gd name="connsiteX103" fmla="*/ 1086840 w 1511813"/>
                  <a:gd name="connsiteY103" fmla="*/ 1289616 h 1516973"/>
                  <a:gd name="connsiteX104" fmla="*/ 1064137 w 1511813"/>
                  <a:gd name="connsiteY104" fmla="*/ 1284456 h 1516973"/>
                  <a:gd name="connsiteX105" fmla="*/ 1002220 w 1511813"/>
                  <a:gd name="connsiteY105" fmla="*/ 1316447 h 1516973"/>
                  <a:gd name="connsiteX106" fmla="*/ 996028 w 1511813"/>
                  <a:gd name="connsiteY106" fmla="*/ 1332958 h 1516973"/>
                  <a:gd name="connsiteX107" fmla="*/ 1022859 w 1511813"/>
                  <a:gd name="connsiteY107" fmla="*/ 1446989 h 1516973"/>
                  <a:gd name="connsiteX108" fmla="*/ 1024407 w 1511813"/>
                  <a:gd name="connsiteY108" fmla="*/ 1459889 h 1516973"/>
                  <a:gd name="connsiteX109" fmla="*/ 1015636 w 1511813"/>
                  <a:gd name="connsiteY109" fmla="*/ 1473304 h 1516973"/>
                  <a:gd name="connsiteX110" fmla="*/ 817500 w 1511813"/>
                  <a:gd name="connsiteY110" fmla="*/ 1518710 h 1516973"/>
                  <a:gd name="connsiteX111" fmla="*/ 758163 w 1511813"/>
                  <a:gd name="connsiteY111" fmla="*/ 1148238 h 1516973"/>
                  <a:gd name="connsiteX112" fmla="*/ 1145146 w 1511813"/>
                  <a:gd name="connsiteY112" fmla="*/ 758675 h 1516973"/>
                  <a:gd name="connsiteX113" fmla="*/ 757131 w 1511813"/>
                  <a:gd name="connsiteY113" fmla="*/ 371176 h 1516973"/>
                  <a:gd name="connsiteX114" fmla="*/ 368600 w 1511813"/>
                  <a:gd name="connsiteY114" fmla="*/ 759707 h 1516973"/>
                  <a:gd name="connsiteX115" fmla="*/ 758163 w 1511813"/>
                  <a:gd name="connsiteY115" fmla="*/ 1148238 h 1516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</a:cxnLst>
                <a:rect l="l" t="t" r="r" b="b"/>
                <a:pathLst>
                  <a:path w="1511813" h="1516973">
                    <a:moveTo>
                      <a:pt x="817500" y="1518710"/>
                    </a:moveTo>
                    <a:cubicBezTo>
                      <a:pt x="809245" y="1520774"/>
                      <a:pt x="805633" y="1516130"/>
                      <a:pt x="802537" y="1507875"/>
                    </a:cubicBezTo>
                    <a:cubicBezTo>
                      <a:pt x="795829" y="1486204"/>
                      <a:pt x="788090" y="1464532"/>
                      <a:pt x="780866" y="1442862"/>
                    </a:cubicBezTo>
                    <a:cubicBezTo>
                      <a:pt x="774674" y="1424286"/>
                      <a:pt x="777770" y="1404679"/>
                      <a:pt x="776738" y="1385072"/>
                    </a:cubicBezTo>
                    <a:cubicBezTo>
                      <a:pt x="776222" y="1369593"/>
                      <a:pt x="775706" y="1370109"/>
                      <a:pt x="760227" y="1369593"/>
                    </a:cubicBezTo>
                    <a:cubicBezTo>
                      <a:pt x="738556" y="1369593"/>
                      <a:pt x="716369" y="1368045"/>
                      <a:pt x="694698" y="1366497"/>
                    </a:cubicBezTo>
                    <a:cubicBezTo>
                      <a:pt x="683346" y="1365465"/>
                      <a:pt x="676638" y="1365981"/>
                      <a:pt x="676638" y="1379912"/>
                    </a:cubicBezTo>
                    <a:cubicBezTo>
                      <a:pt x="676638" y="1424286"/>
                      <a:pt x="655483" y="1462469"/>
                      <a:pt x="637940" y="1501683"/>
                    </a:cubicBezTo>
                    <a:cubicBezTo>
                      <a:pt x="634844" y="1508907"/>
                      <a:pt x="630716" y="1510454"/>
                      <a:pt x="622977" y="1508907"/>
                    </a:cubicBezTo>
                    <a:cubicBezTo>
                      <a:pt x="556416" y="1496523"/>
                      <a:pt x="492434" y="1475368"/>
                      <a:pt x="430517" y="1447505"/>
                    </a:cubicBezTo>
                    <a:cubicBezTo>
                      <a:pt x="423294" y="1443893"/>
                      <a:pt x="420198" y="1440282"/>
                      <a:pt x="422262" y="1431510"/>
                    </a:cubicBezTo>
                    <a:cubicBezTo>
                      <a:pt x="427421" y="1409323"/>
                      <a:pt x="431033" y="1386620"/>
                      <a:pt x="435677" y="1364433"/>
                    </a:cubicBezTo>
                    <a:cubicBezTo>
                      <a:pt x="439805" y="1344310"/>
                      <a:pt x="452704" y="1327798"/>
                      <a:pt x="461992" y="1310255"/>
                    </a:cubicBezTo>
                    <a:cubicBezTo>
                      <a:pt x="467152" y="1300452"/>
                      <a:pt x="466120" y="1295808"/>
                      <a:pt x="456316" y="1290132"/>
                    </a:cubicBezTo>
                    <a:cubicBezTo>
                      <a:pt x="435677" y="1278265"/>
                      <a:pt x="415554" y="1264849"/>
                      <a:pt x="395431" y="1251434"/>
                    </a:cubicBezTo>
                    <a:cubicBezTo>
                      <a:pt x="388207" y="1246274"/>
                      <a:pt x="383563" y="1246274"/>
                      <a:pt x="378919" y="1254014"/>
                    </a:cubicBezTo>
                    <a:cubicBezTo>
                      <a:pt x="356216" y="1293228"/>
                      <a:pt x="319066" y="1317479"/>
                      <a:pt x="283464" y="1342246"/>
                    </a:cubicBezTo>
                    <a:cubicBezTo>
                      <a:pt x="276240" y="1346890"/>
                      <a:pt x="272112" y="1346374"/>
                      <a:pt x="265920" y="1341214"/>
                    </a:cubicBezTo>
                    <a:cubicBezTo>
                      <a:pt x="214323" y="1297356"/>
                      <a:pt x="169433" y="1246790"/>
                      <a:pt x="130218" y="1191580"/>
                    </a:cubicBezTo>
                    <a:cubicBezTo>
                      <a:pt x="125575" y="1185389"/>
                      <a:pt x="125059" y="1180745"/>
                      <a:pt x="130734" y="1174553"/>
                    </a:cubicBezTo>
                    <a:cubicBezTo>
                      <a:pt x="146730" y="1157010"/>
                      <a:pt x="161177" y="1138435"/>
                      <a:pt x="177688" y="1121408"/>
                    </a:cubicBezTo>
                    <a:cubicBezTo>
                      <a:pt x="191104" y="1107476"/>
                      <a:pt x="209163" y="1099221"/>
                      <a:pt x="225674" y="1089417"/>
                    </a:cubicBezTo>
                    <a:cubicBezTo>
                      <a:pt x="236510" y="1083225"/>
                      <a:pt x="237026" y="1078065"/>
                      <a:pt x="230834" y="1067230"/>
                    </a:cubicBezTo>
                    <a:cubicBezTo>
                      <a:pt x="218967" y="1047107"/>
                      <a:pt x="208647" y="1025436"/>
                      <a:pt x="198327" y="1004281"/>
                    </a:cubicBezTo>
                    <a:cubicBezTo>
                      <a:pt x="194716" y="997057"/>
                      <a:pt x="192136" y="993445"/>
                      <a:pt x="183880" y="998089"/>
                    </a:cubicBezTo>
                    <a:cubicBezTo>
                      <a:pt x="147246" y="1017180"/>
                      <a:pt x="108031" y="1024920"/>
                      <a:pt x="67269" y="1025952"/>
                    </a:cubicBezTo>
                    <a:cubicBezTo>
                      <a:pt x="63657" y="1025952"/>
                      <a:pt x="59529" y="1026984"/>
                      <a:pt x="55918" y="1027500"/>
                    </a:cubicBezTo>
                    <a:cubicBezTo>
                      <a:pt x="48694" y="1028532"/>
                      <a:pt x="44050" y="1025952"/>
                      <a:pt x="41470" y="1018212"/>
                    </a:cubicBezTo>
                    <a:cubicBezTo>
                      <a:pt x="21347" y="960939"/>
                      <a:pt x="6384" y="902117"/>
                      <a:pt x="1224" y="841748"/>
                    </a:cubicBezTo>
                    <a:cubicBezTo>
                      <a:pt x="-1872" y="808725"/>
                      <a:pt x="-1356" y="809241"/>
                      <a:pt x="30635" y="797374"/>
                    </a:cubicBezTo>
                    <a:cubicBezTo>
                      <a:pt x="64173" y="784474"/>
                      <a:pt x="98744" y="775703"/>
                      <a:pt x="134862" y="778799"/>
                    </a:cubicBezTo>
                    <a:cubicBezTo>
                      <a:pt x="144150" y="779315"/>
                      <a:pt x="147246" y="775187"/>
                      <a:pt x="147246" y="765899"/>
                    </a:cubicBezTo>
                    <a:cubicBezTo>
                      <a:pt x="147246" y="742680"/>
                      <a:pt x="148278" y="719461"/>
                      <a:pt x="150342" y="696242"/>
                    </a:cubicBezTo>
                    <a:cubicBezTo>
                      <a:pt x="151373" y="685923"/>
                      <a:pt x="150858" y="678699"/>
                      <a:pt x="137442" y="678699"/>
                    </a:cubicBezTo>
                    <a:cubicBezTo>
                      <a:pt x="92552" y="678699"/>
                      <a:pt x="53854" y="657544"/>
                      <a:pt x="14639" y="639485"/>
                    </a:cubicBezTo>
                    <a:cubicBezTo>
                      <a:pt x="7932" y="636389"/>
                      <a:pt x="6384" y="632261"/>
                      <a:pt x="7932" y="625037"/>
                    </a:cubicBezTo>
                    <a:cubicBezTo>
                      <a:pt x="20315" y="558476"/>
                      <a:pt x="40954" y="494495"/>
                      <a:pt x="69333" y="432578"/>
                    </a:cubicBezTo>
                    <a:cubicBezTo>
                      <a:pt x="72945" y="424838"/>
                      <a:pt x="77073" y="421742"/>
                      <a:pt x="86360" y="423806"/>
                    </a:cubicBezTo>
                    <a:cubicBezTo>
                      <a:pt x="107515" y="428450"/>
                      <a:pt x="129186" y="432578"/>
                      <a:pt x="150858" y="436706"/>
                    </a:cubicBezTo>
                    <a:cubicBezTo>
                      <a:pt x="171497" y="440833"/>
                      <a:pt x="188008" y="453733"/>
                      <a:pt x="206583" y="463536"/>
                    </a:cubicBezTo>
                    <a:cubicBezTo>
                      <a:pt x="216903" y="468696"/>
                      <a:pt x="221546" y="467664"/>
                      <a:pt x="227738" y="457345"/>
                    </a:cubicBezTo>
                    <a:cubicBezTo>
                      <a:pt x="239606" y="436706"/>
                      <a:pt x="253021" y="416582"/>
                      <a:pt x="266952" y="396459"/>
                    </a:cubicBezTo>
                    <a:cubicBezTo>
                      <a:pt x="271596" y="389752"/>
                      <a:pt x="271596" y="385108"/>
                      <a:pt x="264373" y="380980"/>
                    </a:cubicBezTo>
                    <a:cubicBezTo>
                      <a:pt x="225158" y="357761"/>
                      <a:pt x="200391" y="320611"/>
                      <a:pt x="175108" y="284492"/>
                    </a:cubicBezTo>
                    <a:cubicBezTo>
                      <a:pt x="170465" y="277785"/>
                      <a:pt x="170981" y="273657"/>
                      <a:pt x="176140" y="267981"/>
                    </a:cubicBezTo>
                    <a:cubicBezTo>
                      <a:pt x="219998" y="216383"/>
                      <a:pt x="270048" y="171493"/>
                      <a:pt x="325258" y="132279"/>
                    </a:cubicBezTo>
                    <a:cubicBezTo>
                      <a:pt x="331966" y="127635"/>
                      <a:pt x="336609" y="126603"/>
                      <a:pt x="343317" y="132795"/>
                    </a:cubicBezTo>
                    <a:cubicBezTo>
                      <a:pt x="360344" y="148274"/>
                      <a:pt x="378404" y="162722"/>
                      <a:pt x="395431" y="178717"/>
                    </a:cubicBezTo>
                    <a:cubicBezTo>
                      <a:pt x="409362" y="191616"/>
                      <a:pt x="416070" y="209160"/>
                      <a:pt x="426389" y="224639"/>
                    </a:cubicBezTo>
                    <a:cubicBezTo>
                      <a:pt x="437741" y="241666"/>
                      <a:pt x="435161" y="240634"/>
                      <a:pt x="451156" y="231347"/>
                    </a:cubicBezTo>
                    <a:cubicBezTo>
                      <a:pt x="470763" y="219995"/>
                      <a:pt x="491403" y="209676"/>
                      <a:pt x="512042" y="200388"/>
                    </a:cubicBezTo>
                    <a:cubicBezTo>
                      <a:pt x="521329" y="196260"/>
                      <a:pt x="522361" y="192132"/>
                      <a:pt x="518233" y="183877"/>
                    </a:cubicBezTo>
                    <a:cubicBezTo>
                      <a:pt x="499142" y="148274"/>
                      <a:pt x="492434" y="109576"/>
                      <a:pt x="491403" y="69846"/>
                    </a:cubicBezTo>
                    <a:cubicBezTo>
                      <a:pt x="491403" y="66234"/>
                      <a:pt x="490371" y="62106"/>
                      <a:pt x="489855" y="58494"/>
                    </a:cubicBezTo>
                    <a:cubicBezTo>
                      <a:pt x="488307" y="50239"/>
                      <a:pt x="491403" y="46111"/>
                      <a:pt x="499658" y="43015"/>
                    </a:cubicBezTo>
                    <a:cubicBezTo>
                      <a:pt x="563123" y="20312"/>
                      <a:pt x="628653" y="6380"/>
                      <a:pt x="695730" y="189"/>
                    </a:cubicBezTo>
                    <a:cubicBezTo>
                      <a:pt x="706049" y="-843"/>
                      <a:pt x="710693" y="2253"/>
                      <a:pt x="713273" y="12056"/>
                    </a:cubicBezTo>
                    <a:cubicBezTo>
                      <a:pt x="715337" y="19796"/>
                      <a:pt x="717917" y="27536"/>
                      <a:pt x="721012" y="35275"/>
                    </a:cubicBezTo>
                    <a:cubicBezTo>
                      <a:pt x="734428" y="67266"/>
                      <a:pt x="741136" y="99772"/>
                      <a:pt x="738556" y="134343"/>
                    </a:cubicBezTo>
                    <a:cubicBezTo>
                      <a:pt x="737524" y="145694"/>
                      <a:pt x="742168" y="148790"/>
                      <a:pt x="753519" y="148790"/>
                    </a:cubicBezTo>
                    <a:cubicBezTo>
                      <a:pt x="775706" y="148274"/>
                      <a:pt x="797893" y="149822"/>
                      <a:pt x="820596" y="151886"/>
                    </a:cubicBezTo>
                    <a:cubicBezTo>
                      <a:pt x="831948" y="152918"/>
                      <a:pt x="838655" y="152402"/>
                      <a:pt x="838655" y="138471"/>
                    </a:cubicBezTo>
                    <a:cubicBezTo>
                      <a:pt x="838655" y="94097"/>
                      <a:pt x="859810" y="55914"/>
                      <a:pt x="877354" y="16700"/>
                    </a:cubicBezTo>
                    <a:cubicBezTo>
                      <a:pt x="880449" y="9476"/>
                      <a:pt x="885093" y="7928"/>
                      <a:pt x="892317" y="9476"/>
                    </a:cubicBezTo>
                    <a:cubicBezTo>
                      <a:pt x="958878" y="21860"/>
                      <a:pt x="1022859" y="42499"/>
                      <a:pt x="1084777" y="70878"/>
                    </a:cubicBezTo>
                    <a:cubicBezTo>
                      <a:pt x="1092000" y="74489"/>
                      <a:pt x="1095096" y="78617"/>
                      <a:pt x="1093032" y="86873"/>
                    </a:cubicBezTo>
                    <a:cubicBezTo>
                      <a:pt x="1088388" y="108544"/>
                      <a:pt x="1084261" y="130731"/>
                      <a:pt x="1079617" y="152402"/>
                    </a:cubicBezTo>
                    <a:cubicBezTo>
                      <a:pt x="1075489" y="172525"/>
                      <a:pt x="1062590" y="189036"/>
                      <a:pt x="1053302" y="206580"/>
                    </a:cubicBezTo>
                    <a:cubicBezTo>
                      <a:pt x="1047626" y="217415"/>
                      <a:pt x="1048658" y="222575"/>
                      <a:pt x="1060010" y="228251"/>
                    </a:cubicBezTo>
                    <a:cubicBezTo>
                      <a:pt x="1080133" y="239602"/>
                      <a:pt x="1099740" y="252502"/>
                      <a:pt x="1118315" y="265917"/>
                    </a:cubicBezTo>
                    <a:cubicBezTo>
                      <a:pt x="1126571" y="272109"/>
                      <a:pt x="1131214" y="271593"/>
                      <a:pt x="1136374" y="262821"/>
                    </a:cubicBezTo>
                    <a:cubicBezTo>
                      <a:pt x="1159077" y="223607"/>
                      <a:pt x="1196744" y="199872"/>
                      <a:pt x="1232346" y="174589"/>
                    </a:cubicBezTo>
                    <a:cubicBezTo>
                      <a:pt x="1238538" y="170461"/>
                      <a:pt x="1242666" y="170977"/>
                      <a:pt x="1247825" y="175621"/>
                    </a:cubicBezTo>
                    <a:cubicBezTo>
                      <a:pt x="1299939" y="219995"/>
                      <a:pt x="1345345" y="270045"/>
                      <a:pt x="1384559" y="325770"/>
                    </a:cubicBezTo>
                    <a:cubicBezTo>
                      <a:pt x="1389203" y="331962"/>
                      <a:pt x="1389719" y="336606"/>
                      <a:pt x="1384043" y="342798"/>
                    </a:cubicBezTo>
                    <a:cubicBezTo>
                      <a:pt x="1368048" y="360857"/>
                      <a:pt x="1352569" y="379432"/>
                      <a:pt x="1336057" y="396975"/>
                    </a:cubicBezTo>
                    <a:cubicBezTo>
                      <a:pt x="1323674" y="409875"/>
                      <a:pt x="1306131" y="417098"/>
                      <a:pt x="1291167" y="426902"/>
                    </a:cubicBezTo>
                    <a:cubicBezTo>
                      <a:pt x="1276720" y="436706"/>
                      <a:pt x="1276720" y="436190"/>
                      <a:pt x="1284976" y="451153"/>
                    </a:cubicBezTo>
                    <a:cubicBezTo>
                      <a:pt x="1295811" y="471792"/>
                      <a:pt x="1306647" y="492431"/>
                      <a:pt x="1316450" y="513070"/>
                    </a:cubicBezTo>
                    <a:cubicBezTo>
                      <a:pt x="1320062" y="520294"/>
                      <a:pt x="1323158" y="523390"/>
                      <a:pt x="1330898" y="519262"/>
                    </a:cubicBezTo>
                    <a:cubicBezTo>
                      <a:pt x="1367532" y="500171"/>
                      <a:pt x="1406746" y="492431"/>
                      <a:pt x="1447509" y="491399"/>
                    </a:cubicBezTo>
                    <a:cubicBezTo>
                      <a:pt x="1451120" y="491399"/>
                      <a:pt x="1455248" y="490367"/>
                      <a:pt x="1458860" y="489851"/>
                    </a:cubicBezTo>
                    <a:cubicBezTo>
                      <a:pt x="1466600" y="488819"/>
                      <a:pt x="1470728" y="491399"/>
                      <a:pt x="1473307" y="499139"/>
                    </a:cubicBezTo>
                    <a:cubicBezTo>
                      <a:pt x="1493431" y="556412"/>
                      <a:pt x="1508394" y="615234"/>
                      <a:pt x="1513554" y="675603"/>
                    </a:cubicBezTo>
                    <a:cubicBezTo>
                      <a:pt x="1513554" y="676635"/>
                      <a:pt x="1513554" y="678183"/>
                      <a:pt x="1514070" y="679215"/>
                    </a:cubicBezTo>
                    <a:cubicBezTo>
                      <a:pt x="1518713" y="714301"/>
                      <a:pt x="1519745" y="706046"/>
                      <a:pt x="1490335" y="717397"/>
                    </a:cubicBezTo>
                    <a:cubicBezTo>
                      <a:pt x="1454732" y="730813"/>
                      <a:pt x="1418614" y="741648"/>
                      <a:pt x="1379916" y="738036"/>
                    </a:cubicBezTo>
                    <a:cubicBezTo>
                      <a:pt x="1371144" y="737004"/>
                      <a:pt x="1368048" y="740616"/>
                      <a:pt x="1367532" y="749904"/>
                    </a:cubicBezTo>
                    <a:cubicBezTo>
                      <a:pt x="1367016" y="774155"/>
                      <a:pt x="1365984" y="797890"/>
                      <a:pt x="1363920" y="822141"/>
                    </a:cubicBezTo>
                    <a:cubicBezTo>
                      <a:pt x="1363404" y="831944"/>
                      <a:pt x="1363920" y="838136"/>
                      <a:pt x="1375788" y="838136"/>
                    </a:cubicBezTo>
                    <a:cubicBezTo>
                      <a:pt x="1420678" y="838136"/>
                      <a:pt x="1459376" y="858775"/>
                      <a:pt x="1498590" y="876834"/>
                    </a:cubicBezTo>
                    <a:cubicBezTo>
                      <a:pt x="1505298" y="879930"/>
                      <a:pt x="1507878" y="883542"/>
                      <a:pt x="1506330" y="891798"/>
                    </a:cubicBezTo>
                    <a:cubicBezTo>
                      <a:pt x="1493947" y="958875"/>
                      <a:pt x="1472791" y="1023372"/>
                      <a:pt x="1444413" y="1085289"/>
                    </a:cubicBezTo>
                    <a:cubicBezTo>
                      <a:pt x="1441317" y="1092513"/>
                      <a:pt x="1437189" y="1094577"/>
                      <a:pt x="1429449" y="1093029"/>
                    </a:cubicBezTo>
                    <a:cubicBezTo>
                      <a:pt x="1386623" y="1085289"/>
                      <a:pt x="1343797" y="1078581"/>
                      <a:pt x="1306647" y="1052783"/>
                    </a:cubicBezTo>
                    <a:cubicBezTo>
                      <a:pt x="1297875" y="1046591"/>
                      <a:pt x="1293231" y="1048655"/>
                      <a:pt x="1287556" y="1057942"/>
                    </a:cubicBezTo>
                    <a:cubicBezTo>
                      <a:pt x="1275688" y="1078581"/>
                      <a:pt x="1262273" y="1098705"/>
                      <a:pt x="1248857" y="1118828"/>
                    </a:cubicBezTo>
                    <a:cubicBezTo>
                      <a:pt x="1244214" y="1125535"/>
                      <a:pt x="1242150" y="1130179"/>
                      <a:pt x="1250405" y="1135339"/>
                    </a:cubicBezTo>
                    <a:cubicBezTo>
                      <a:pt x="1289620" y="1158558"/>
                      <a:pt x="1313871" y="1194676"/>
                      <a:pt x="1339153" y="1230795"/>
                    </a:cubicBezTo>
                    <a:cubicBezTo>
                      <a:pt x="1344313" y="1238018"/>
                      <a:pt x="1343797" y="1242662"/>
                      <a:pt x="1337605" y="1249370"/>
                    </a:cubicBezTo>
                    <a:cubicBezTo>
                      <a:pt x="1293747" y="1300968"/>
                      <a:pt x="1244214" y="1345342"/>
                      <a:pt x="1189004" y="1384040"/>
                    </a:cubicBezTo>
                    <a:cubicBezTo>
                      <a:pt x="1182296" y="1388684"/>
                      <a:pt x="1177652" y="1389716"/>
                      <a:pt x="1170945" y="1383524"/>
                    </a:cubicBezTo>
                    <a:cubicBezTo>
                      <a:pt x="1153918" y="1368045"/>
                      <a:pt x="1135858" y="1353597"/>
                      <a:pt x="1118831" y="1337602"/>
                    </a:cubicBezTo>
                    <a:cubicBezTo>
                      <a:pt x="1104384" y="1324187"/>
                      <a:pt x="1096644" y="1306128"/>
                      <a:pt x="1086840" y="1289616"/>
                    </a:cubicBezTo>
                    <a:cubicBezTo>
                      <a:pt x="1080133" y="1278265"/>
                      <a:pt x="1074973" y="1277749"/>
                      <a:pt x="1064137" y="1284456"/>
                    </a:cubicBezTo>
                    <a:cubicBezTo>
                      <a:pt x="1044530" y="1296324"/>
                      <a:pt x="1023375" y="1306643"/>
                      <a:pt x="1002220" y="1316447"/>
                    </a:cubicBezTo>
                    <a:cubicBezTo>
                      <a:pt x="993449" y="1320575"/>
                      <a:pt x="991385" y="1324703"/>
                      <a:pt x="996028" y="1332958"/>
                    </a:cubicBezTo>
                    <a:cubicBezTo>
                      <a:pt x="1015120" y="1368561"/>
                      <a:pt x="1021827" y="1407259"/>
                      <a:pt x="1022859" y="1446989"/>
                    </a:cubicBezTo>
                    <a:cubicBezTo>
                      <a:pt x="1022859" y="1451117"/>
                      <a:pt x="1023891" y="1455245"/>
                      <a:pt x="1024407" y="1459889"/>
                    </a:cubicBezTo>
                    <a:cubicBezTo>
                      <a:pt x="1025439" y="1466596"/>
                      <a:pt x="1022859" y="1470724"/>
                      <a:pt x="1015636" y="1473304"/>
                    </a:cubicBezTo>
                    <a:cubicBezTo>
                      <a:pt x="970745" y="1493943"/>
                      <a:pt x="870646" y="1516130"/>
                      <a:pt x="817500" y="1518710"/>
                    </a:cubicBezTo>
                    <a:close/>
                    <a:moveTo>
                      <a:pt x="758163" y="1148238"/>
                    </a:moveTo>
                    <a:cubicBezTo>
                      <a:pt x="974357" y="1144627"/>
                      <a:pt x="1145146" y="976418"/>
                      <a:pt x="1145146" y="758675"/>
                    </a:cubicBezTo>
                    <a:cubicBezTo>
                      <a:pt x="1145146" y="542481"/>
                      <a:pt x="974357" y="371176"/>
                      <a:pt x="757131" y="371176"/>
                    </a:cubicBezTo>
                    <a:cubicBezTo>
                      <a:pt x="539904" y="371176"/>
                      <a:pt x="368600" y="542481"/>
                      <a:pt x="368600" y="759707"/>
                    </a:cubicBezTo>
                    <a:cubicBezTo>
                      <a:pt x="369116" y="977966"/>
                      <a:pt x="541452" y="1145659"/>
                      <a:pt x="758163" y="1148238"/>
                    </a:cubicBezTo>
                    <a:close/>
                  </a:path>
                </a:pathLst>
              </a:custGeom>
              <a:grpFill/>
              <a:ln w="51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5B2E929D-2A5A-4E4D-8AFF-089163D7F028}"/>
                  </a:ext>
                </a:extLst>
              </p:cNvPr>
              <p:cNvGrpSpPr/>
              <p:nvPr/>
            </p:nvGrpSpPr>
            <p:grpSpPr>
              <a:xfrm>
                <a:off x="3563163" y="3556278"/>
                <a:ext cx="1218879" cy="1218879"/>
                <a:chOff x="3264582" y="1870309"/>
                <a:chExt cx="1774962" cy="1774962"/>
              </a:xfrm>
              <a:grpFill/>
            </p:grpSpPr>
            <p:sp>
              <p:nvSpPr>
                <p:cNvPr id="37" name="Freeform: Shape 36">
                  <a:extLst>
                    <a:ext uri="{FF2B5EF4-FFF2-40B4-BE49-F238E27FC236}">
                      <a16:creationId xmlns:a16="http://schemas.microsoft.com/office/drawing/2014/main" id="{8A8A0495-30E8-45A0-B48A-6EFDF9C8B696}"/>
                    </a:ext>
                  </a:extLst>
                </p:cNvPr>
                <p:cNvSpPr/>
                <p:nvPr/>
              </p:nvSpPr>
              <p:spPr>
                <a:xfrm>
                  <a:off x="3264582" y="1870309"/>
                  <a:ext cx="1774962" cy="1774962"/>
                </a:xfrm>
                <a:custGeom>
                  <a:avLst/>
                  <a:gdLst>
                    <a:gd name="connsiteX0" fmla="*/ 894776 w 1774962"/>
                    <a:gd name="connsiteY0" fmla="*/ 1775736 h 1774962"/>
                    <a:gd name="connsiteX1" fmla="*/ 852466 w 1774962"/>
                    <a:gd name="connsiteY1" fmla="*/ 1775736 h 1774962"/>
                    <a:gd name="connsiteX2" fmla="*/ 839567 w 1774962"/>
                    <a:gd name="connsiteY2" fmla="*/ 1764901 h 1774962"/>
                    <a:gd name="connsiteX3" fmla="*/ 819960 w 1774962"/>
                    <a:gd name="connsiteY3" fmla="*/ 1666349 h 1774962"/>
                    <a:gd name="connsiteX4" fmla="*/ 822024 w 1774962"/>
                    <a:gd name="connsiteY4" fmla="*/ 1636938 h 1774962"/>
                    <a:gd name="connsiteX5" fmla="*/ 811704 w 1774962"/>
                    <a:gd name="connsiteY5" fmla="*/ 1623523 h 1774962"/>
                    <a:gd name="connsiteX6" fmla="*/ 695093 w 1774962"/>
                    <a:gd name="connsiteY6" fmla="*/ 1601852 h 1774962"/>
                    <a:gd name="connsiteX7" fmla="*/ 680130 w 1774962"/>
                    <a:gd name="connsiteY7" fmla="*/ 1610623 h 1774962"/>
                    <a:gd name="connsiteX8" fmla="*/ 615116 w 1774962"/>
                    <a:gd name="connsiteY8" fmla="*/ 1727234 h 1774962"/>
                    <a:gd name="connsiteX9" fmla="*/ 603765 w 1774962"/>
                    <a:gd name="connsiteY9" fmla="*/ 1730330 h 1774962"/>
                    <a:gd name="connsiteX10" fmla="*/ 512953 w 1774962"/>
                    <a:gd name="connsiteY10" fmla="*/ 1694212 h 1774962"/>
                    <a:gd name="connsiteX11" fmla="*/ 507277 w 1774962"/>
                    <a:gd name="connsiteY11" fmla="*/ 1681828 h 1774962"/>
                    <a:gd name="connsiteX12" fmla="*/ 527400 w 1774962"/>
                    <a:gd name="connsiteY12" fmla="*/ 1583277 h 1774962"/>
                    <a:gd name="connsiteX13" fmla="*/ 541848 w 1774962"/>
                    <a:gd name="connsiteY13" fmla="*/ 1552834 h 1774962"/>
                    <a:gd name="connsiteX14" fmla="*/ 537720 w 1774962"/>
                    <a:gd name="connsiteY14" fmla="*/ 1539418 h 1774962"/>
                    <a:gd name="connsiteX15" fmla="*/ 435041 w 1774962"/>
                    <a:gd name="connsiteY15" fmla="*/ 1472857 h 1774962"/>
                    <a:gd name="connsiteX16" fmla="*/ 420593 w 1774962"/>
                    <a:gd name="connsiteY16" fmla="*/ 1474921 h 1774962"/>
                    <a:gd name="connsiteX17" fmla="*/ 315334 w 1774962"/>
                    <a:gd name="connsiteY17" fmla="*/ 1559026 h 1774962"/>
                    <a:gd name="connsiteX18" fmla="*/ 302950 w 1774962"/>
                    <a:gd name="connsiteY18" fmla="*/ 1557478 h 1774962"/>
                    <a:gd name="connsiteX19" fmla="*/ 233809 w 1774962"/>
                    <a:gd name="connsiteY19" fmla="*/ 1490401 h 1774962"/>
                    <a:gd name="connsiteX20" fmla="*/ 232777 w 1774962"/>
                    <a:gd name="connsiteY20" fmla="*/ 1476985 h 1774962"/>
                    <a:gd name="connsiteX21" fmla="*/ 289019 w 1774962"/>
                    <a:gd name="connsiteY21" fmla="*/ 1393397 h 1774962"/>
                    <a:gd name="connsiteX22" fmla="*/ 312754 w 1774962"/>
                    <a:gd name="connsiteY22" fmla="*/ 1371726 h 1774962"/>
                    <a:gd name="connsiteX23" fmla="*/ 314818 w 1774962"/>
                    <a:gd name="connsiteY23" fmla="*/ 1355731 h 1774962"/>
                    <a:gd name="connsiteX24" fmla="*/ 246193 w 1774962"/>
                    <a:gd name="connsiteY24" fmla="*/ 1255631 h 1774962"/>
                    <a:gd name="connsiteX25" fmla="*/ 230713 w 1774962"/>
                    <a:gd name="connsiteY25" fmla="*/ 1253051 h 1774962"/>
                    <a:gd name="connsiteX26" fmla="*/ 102751 w 1774962"/>
                    <a:gd name="connsiteY26" fmla="*/ 1289685 h 1774962"/>
                    <a:gd name="connsiteX27" fmla="*/ 91916 w 1774962"/>
                    <a:gd name="connsiteY27" fmla="*/ 1282978 h 1774962"/>
                    <a:gd name="connsiteX28" fmla="*/ 53733 w 1774962"/>
                    <a:gd name="connsiteY28" fmla="*/ 1194230 h 1774962"/>
                    <a:gd name="connsiteX29" fmla="*/ 58377 w 1774962"/>
                    <a:gd name="connsiteY29" fmla="*/ 1181330 h 1774962"/>
                    <a:gd name="connsiteX30" fmla="*/ 142481 w 1774962"/>
                    <a:gd name="connsiteY30" fmla="*/ 1125605 h 1774962"/>
                    <a:gd name="connsiteX31" fmla="*/ 173956 w 1774962"/>
                    <a:gd name="connsiteY31" fmla="*/ 1114253 h 1774962"/>
                    <a:gd name="connsiteX32" fmla="*/ 180664 w 1774962"/>
                    <a:gd name="connsiteY32" fmla="*/ 1101870 h 1774962"/>
                    <a:gd name="connsiteX33" fmla="*/ 154865 w 1774962"/>
                    <a:gd name="connsiteY33" fmla="*/ 981131 h 1774962"/>
                    <a:gd name="connsiteX34" fmla="*/ 144029 w 1774962"/>
                    <a:gd name="connsiteY34" fmla="*/ 973391 h 1774962"/>
                    <a:gd name="connsiteX35" fmla="*/ 10391 w 1774962"/>
                    <a:gd name="connsiteY35" fmla="*/ 958428 h 1774962"/>
                    <a:gd name="connsiteX36" fmla="*/ 2135 w 1774962"/>
                    <a:gd name="connsiteY36" fmla="*/ 948624 h 1774962"/>
                    <a:gd name="connsiteX37" fmla="*/ 588 w 1774962"/>
                    <a:gd name="connsiteY37" fmla="*/ 850589 h 1774962"/>
                    <a:gd name="connsiteX38" fmla="*/ 10391 w 1774962"/>
                    <a:gd name="connsiteY38" fmla="*/ 840785 h 1774962"/>
                    <a:gd name="connsiteX39" fmla="*/ 110491 w 1774962"/>
                    <a:gd name="connsiteY39" fmla="*/ 820662 h 1774962"/>
                    <a:gd name="connsiteX40" fmla="*/ 139901 w 1774962"/>
                    <a:gd name="connsiteY40" fmla="*/ 822726 h 1774962"/>
                    <a:gd name="connsiteX41" fmla="*/ 153317 w 1774962"/>
                    <a:gd name="connsiteY41" fmla="*/ 811890 h 1774962"/>
                    <a:gd name="connsiteX42" fmla="*/ 174472 w 1774962"/>
                    <a:gd name="connsiteY42" fmla="*/ 696827 h 1774962"/>
                    <a:gd name="connsiteX43" fmla="*/ 164152 w 1774962"/>
                    <a:gd name="connsiteY43" fmla="*/ 680316 h 1774962"/>
                    <a:gd name="connsiteX44" fmla="*/ 49090 w 1774962"/>
                    <a:gd name="connsiteY44" fmla="*/ 615819 h 1774962"/>
                    <a:gd name="connsiteX45" fmla="*/ 45993 w 1774962"/>
                    <a:gd name="connsiteY45" fmla="*/ 606015 h 1774962"/>
                    <a:gd name="connsiteX46" fmla="*/ 82628 w 1774962"/>
                    <a:gd name="connsiteY46" fmla="*/ 513655 h 1774962"/>
                    <a:gd name="connsiteX47" fmla="*/ 93979 w 1774962"/>
                    <a:gd name="connsiteY47" fmla="*/ 508496 h 1774962"/>
                    <a:gd name="connsiteX48" fmla="*/ 224006 w 1774962"/>
                    <a:gd name="connsiteY48" fmla="*/ 543066 h 1774962"/>
                    <a:gd name="connsiteX49" fmla="*/ 236905 w 1774962"/>
                    <a:gd name="connsiteY49" fmla="*/ 538938 h 1774962"/>
                    <a:gd name="connsiteX50" fmla="*/ 302434 w 1774962"/>
                    <a:gd name="connsiteY50" fmla="*/ 437291 h 1774962"/>
                    <a:gd name="connsiteX51" fmla="*/ 302950 w 1774962"/>
                    <a:gd name="connsiteY51" fmla="*/ 423359 h 1774962"/>
                    <a:gd name="connsiteX52" fmla="*/ 238453 w 1774962"/>
                    <a:gd name="connsiteY52" fmla="*/ 346995 h 1774962"/>
                    <a:gd name="connsiteX53" fmla="*/ 228650 w 1774962"/>
                    <a:gd name="connsiteY53" fmla="*/ 333063 h 1774962"/>
                    <a:gd name="connsiteX54" fmla="*/ 230713 w 1774962"/>
                    <a:gd name="connsiteY54" fmla="*/ 290237 h 1774962"/>
                    <a:gd name="connsiteX55" fmla="*/ 283859 w 1774962"/>
                    <a:gd name="connsiteY55" fmla="*/ 236060 h 1774962"/>
                    <a:gd name="connsiteX56" fmla="*/ 300370 w 1774962"/>
                    <a:gd name="connsiteY56" fmla="*/ 234512 h 1774962"/>
                    <a:gd name="connsiteX57" fmla="*/ 380863 w 1774962"/>
                    <a:gd name="connsiteY57" fmla="*/ 288173 h 1774962"/>
                    <a:gd name="connsiteX58" fmla="*/ 403050 w 1774962"/>
                    <a:gd name="connsiteY58" fmla="*/ 311392 h 1774962"/>
                    <a:gd name="connsiteX59" fmla="*/ 422141 w 1774962"/>
                    <a:gd name="connsiteY59" fmla="*/ 313972 h 1774962"/>
                    <a:gd name="connsiteX60" fmla="*/ 519661 w 1774962"/>
                    <a:gd name="connsiteY60" fmla="*/ 246895 h 1774962"/>
                    <a:gd name="connsiteX61" fmla="*/ 524820 w 1774962"/>
                    <a:gd name="connsiteY61" fmla="*/ 233996 h 1774962"/>
                    <a:gd name="connsiteX62" fmla="*/ 492314 w 1774962"/>
                    <a:gd name="connsiteY62" fmla="*/ 127704 h 1774962"/>
                    <a:gd name="connsiteX63" fmla="*/ 514501 w 1774962"/>
                    <a:gd name="connsiteY63" fmla="*/ 82298 h 1774962"/>
                    <a:gd name="connsiteX64" fmla="*/ 578482 w 1774962"/>
                    <a:gd name="connsiteY64" fmla="*/ 55468 h 1774962"/>
                    <a:gd name="connsiteX65" fmla="*/ 595509 w 1774962"/>
                    <a:gd name="connsiteY65" fmla="*/ 60111 h 1774962"/>
                    <a:gd name="connsiteX66" fmla="*/ 648655 w 1774962"/>
                    <a:gd name="connsiteY66" fmla="*/ 139572 h 1774962"/>
                    <a:gd name="connsiteX67" fmla="*/ 661039 w 1774962"/>
                    <a:gd name="connsiteY67" fmla="*/ 172078 h 1774962"/>
                    <a:gd name="connsiteX68" fmla="*/ 675486 w 1774962"/>
                    <a:gd name="connsiteY68" fmla="*/ 180334 h 1774962"/>
                    <a:gd name="connsiteX69" fmla="*/ 792613 w 1774962"/>
                    <a:gd name="connsiteY69" fmla="*/ 155567 h 1774962"/>
                    <a:gd name="connsiteX70" fmla="*/ 801900 w 1774962"/>
                    <a:gd name="connsiteY70" fmla="*/ 143700 h 1774962"/>
                    <a:gd name="connsiteX71" fmla="*/ 816864 w 1774962"/>
                    <a:gd name="connsiteY71" fmla="*/ 11094 h 1774962"/>
                    <a:gd name="connsiteX72" fmla="*/ 826151 w 1774962"/>
                    <a:gd name="connsiteY72" fmla="*/ 2322 h 1774962"/>
                    <a:gd name="connsiteX73" fmla="*/ 925219 w 1774962"/>
                    <a:gd name="connsiteY73" fmla="*/ 774 h 1774962"/>
                    <a:gd name="connsiteX74" fmla="*/ 934507 w 1774962"/>
                    <a:gd name="connsiteY74" fmla="*/ 10062 h 1774962"/>
                    <a:gd name="connsiteX75" fmla="*/ 954114 w 1774962"/>
                    <a:gd name="connsiteY75" fmla="*/ 111193 h 1774962"/>
                    <a:gd name="connsiteX76" fmla="*/ 952050 w 1774962"/>
                    <a:gd name="connsiteY76" fmla="*/ 140604 h 1774962"/>
                    <a:gd name="connsiteX77" fmla="*/ 962369 w 1774962"/>
                    <a:gd name="connsiteY77" fmla="*/ 152987 h 1774962"/>
                    <a:gd name="connsiteX78" fmla="*/ 1078980 w 1774962"/>
                    <a:gd name="connsiteY78" fmla="*/ 174658 h 1774962"/>
                    <a:gd name="connsiteX79" fmla="*/ 1093428 w 1774962"/>
                    <a:gd name="connsiteY79" fmla="*/ 168467 h 1774962"/>
                    <a:gd name="connsiteX80" fmla="*/ 1147089 w 1774962"/>
                    <a:gd name="connsiteY80" fmla="*/ 69399 h 1774962"/>
                    <a:gd name="connsiteX81" fmla="*/ 1192495 w 1774962"/>
                    <a:gd name="connsiteY81" fmla="*/ 54436 h 1774962"/>
                    <a:gd name="connsiteX82" fmla="*/ 1258024 w 1774962"/>
                    <a:gd name="connsiteY82" fmla="*/ 81266 h 1774962"/>
                    <a:gd name="connsiteX83" fmla="*/ 1267312 w 1774962"/>
                    <a:gd name="connsiteY83" fmla="*/ 96746 h 1774962"/>
                    <a:gd name="connsiteX84" fmla="*/ 1247705 w 1774962"/>
                    <a:gd name="connsiteY84" fmla="*/ 192718 h 1774962"/>
                    <a:gd name="connsiteX85" fmla="*/ 1233258 w 1774962"/>
                    <a:gd name="connsiteY85" fmla="*/ 224192 h 1774962"/>
                    <a:gd name="connsiteX86" fmla="*/ 1237385 w 1774962"/>
                    <a:gd name="connsiteY86" fmla="*/ 237608 h 1774962"/>
                    <a:gd name="connsiteX87" fmla="*/ 1340065 w 1774962"/>
                    <a:gd name="connsiteY87" fmla="*/ 304169 h 1774962"/>
                    <a:gd name="connsiteX88" fmla="*/ 1354512 w 1774962"/>
                    <a:gd name="connsiteY88" fmla="*/ 302621 h 1774962"/>
                    <a:gd name="connsiteX89" fmla="*/ 1459771 w 1774962"/>
                    <a:gd name="connsiteY89" fmla="*/ 218516 h 1774962"/>
                    <a:gd name="connsiteX90" fmla="*/ 1472155 w 1774962"/>
                    <a:gd name="connsiteY90" fmla="*/ 220064 h 1774962"/>
                    <a:gd name="connsiteX91" fmla="*/ 1541296 w 1774962"/>
                    <a:gd name="connsiteY91" fmla="*/ 287657 h 1774962"/>
                    <a:gd name="connsiteX92" fmla="*/ 1542328 w 1774962"/>
                    <a:gd name="connsiteY92" fmla="*/ 301073 h 1774962"/>
                    <a:gd name="connsiteX93" fmla="*/ 1485570 w 1774962"/>
                    <a:gd name="connsiteY93" fmla="*/ 385693 h 1774962"/>
                    <a:gd name="connsiteX94" fmla="*/ 1462868 w 1774962"/>
                    <a:gd name="connsiteY94" fmla="*/ 406332 h 1774962"/>
                    <a:gd name="connsiteX95" fmla="*/ 1460803 w 1774962"/>
                    <a:gd name="connsiteY95" fmla="*/ 422327 h 1774962"/>
                    <a:gd name="connsiteX96" fmla="*/ 1529428 w 1774962"/>
                    <a:gd name="connsiteY96" fmla="*/ 522427 h 1774962"/>
                    <a:gd name="connsiteX97" fmla="*/ 1544908 w 1774962"/>
                    <a:gd name="connsiteY97" fmla="*/ 525007 h 1774962"/>
                    <a:gd name="connsiteX98" fmla="*/ 1672870 w 1774962"/>
                    <a:gd name="connsiteY98" fmla="*/ 488373 h 1774962"/>
                    <a:gd name="connsiteX99" fmla="*/ 1683706 w 1774962"/>
                    <a:gd name="connsiteY99" fmla="*/ 495080 h 1774962"/>
                    <a:gd name="connsiteX100" fmla="*/ 1721888 w 1774962"/>
                    <a:gd name="connsiteY100" fmla="*/ 583828 h 1774962"/>
                    <a:gd name="connsiteX101" fmla="*/ 1717244 w 1774962"/>
                    <a:gd name="connsiteY101" fmla="*/ 596728 h 1774962"/>
                    <a:gd name="connsiteX102" fmla="*/ 1633140 w 1774962"/>
                    <a:gd name="connsiteY102" fmla="*/ 652453 h 1774962"/>
                    <a:gd name="connsiteX103" fmla="*/ 1601665 w 1774962"/>
                    <a:gd name="connsiteY103" fmla="*/ 663805 h 1774962"/>
                    <a:gd name="connsiteX104" fmla="*/ 1594958 w 1774962"/>
                    <a:gd name="connsiteY104" fmla="*/ 676188 h 1774962"/>
                    <a:gd name="connsiteX105" fmla="*/ 1620241 w 1774962"/>
                    <a:gd name="connsiteY105" fmla="*/ 795895 h 1774962"/>
                    <a:gd name="connsiteX106" fmla="*/ 1631076 w 1774962"/>
                    <a:gd name="connsiteY106" fmla="*/ 804667 h 1774962"/>
                    <a:gd name="connsiteX107" fmla="*/ 1763682 w 1774962"/>
                    <a:gd name="connsiteY107" fmla="*/ 819630 h 1774962"/>
                    <a:gd name="connsiteX108" fmla="*/ 1773486 w 1774962"/>
                    <a:gd name="connsiteY108" fmla="*/ 829950 h 1774962"/>
                    <a:gd name="connsiteX109" fmla="*/ 1775034 w 1774962"/>
                    <a:gd name="connsiteY109" fmla="*/ 927985 h 1774962"/>
                    <a:gd name="connsiteX110" fmla="*/ 1766262 w 1774962"/>
                    <a:gd name="connsiteY110" fmla="*/ 937273 h 1774962"/>
                    <a:gd name="connsiteX111" fmla="*/ 1663583 w 1774962"/>
                    <a:gd name="connsiteY111" fmla="*/ 957396 h 1774962"/>
                    <a:gd name="connsiteX112" fmla="*/ 1636752 w 1774962"/>
                    <a:gd name="connsiteY112" fmla="*/ 955332 h 1774962"/>
                    <a:gd name="connsiteX113" fmla="*/ 1622304 w 1774962"/>
                    <a:gd name="connsiteY113" fmla="*/ 966684 h 1774962"/>
                    <a:gd name="connsiteX114" fmla="*/ 1601149 w 1774962"/>
                    <a:gd name="connsiteY114" fmla="*/ 1081746 h 1774962"/>
                    <a:gd name="connsiteX115" fmla="*/ 1610437 w 1774962"/>
                    <a:gd name="connsiteY115" fmla="*/ 1097742 h 1774962"/>
                    <a:gd name="connsiteX116" fmla="*/ 1726016 w 1774962"/>
                    <a:gd name="connsiteY116" fmla="*/ 1161723 h 1774962"/>
                    <a:gd name="connsiteX117" fmla="*/ 1729112 w 1774962"/>
                    <a:gd name="connsiteY117" fmla="*/ 1174107 h 1774962"/>
                    <a:gd name="connsiteX118" fmla="*/ 1693509 w 1774962"/>
                    <a:gd name="connsiteY118" fmla="*/ 1263887 h 1774962"/>
                    <a:gd name="connsiteX119" fmla="*/ 1681126 w 1774962"/>
                    <a:gd name="connsiteY119" fmla="*/ 1270078 h 1774962"/>
                    <a:gd name="connsiteX120" fmla="*/ 1581542 w 1774962"/>
                    <a:gd name="connsiteY120" fmla="*/ 1249955 h 1774962"/>
                    <a:gd name="connsiteX121" fmla="*/ 1552647 w 1774962"/>
                    <a:gd name="connsiteY121" fmla="*/ 1236024 h 1774962"/>
                    <a:gd name="connsiteX122" fmla="*/ 1538200 w 1774962"/>
                    <a:gd name="connsiteY122" fmla="*/ 1240152 h 1774962"/>
                    <a:gd name="connsiteX123" fmla="*/ 1473187 w 1774962"/>
                    <a:gd name="connsiteY123" fmla="*/ 1340767 h 1774962"/>
                    <a:gd name="connsiteX124" fmla="*/ 1475251 w 1774962"/>
                    <a:gd name="connsiteY124" fmla="*/ 1358310 h 1774962"/>
                    <a:gd name="connsiteX125" fmla="*/ 1535104 w 1774962"/>
                    <a:gd name="connsiteY125" fmla="*/ 1430031 h 1774962"/>
                    <a:gd name="connsiteX126" fmla="*/ 1545424 w 1774962"/>
                    <a:gd name="connsiteY126" fmla="*/ 1444995 h 1774962"/>
                    <a:gd name="connsiteX127" fmla="*/ 1542844 w 1774962"/>
                    <a:gd name="connsiteY127" fmla="*/ 1489885 h 1774962"/>
                    <a:gd name="connsiteX128" fmla="*/ 1491246 w 1774962"/>
                    <a:gd name="connsiteY128" fmla="*/ 1542514 h 1774962"/>
                    <a:gd name="connsiteX129" fmla="*/ 1472155 w 1774962"/>
                    <a:gd name="connsiteY129" fmla="*/ 1544062 h 1774962"/>
                    <a:gd name="connsiteX130" fmla="*/ 1393726 w 1774962"/>
                    <a:gd name="connsiteY130" fmla="*/ 1491948 h 1774962"/>
                    <a:gd name="connsiteX131" fmla="*/ 1369992 w 1774962"/>
                    <a:gd name="connsiteY131" fmla="*/ 1466666 h 1774962"/>
                    <a:gd name="connsiteX132" fmla="*/ 1352964 w 1774962"/>
                    <a:gd name="connsiteY132" fmla="*/ 1464602 h 1774962"/>
                    <a:gd name="connsiteX133" fmla="*/ 1254413 w 1774962"/>
                    <a:gd name="connsiteY133" fmla="*/ 1532711 h 1774962"/>
                    <a:gd name="connsiteX134" fmla="*/ 1248737 w 1774962"/>
                    <a:gd name="connsiteY134" fmla="*/ 1544578 h 1774962"/>
                    <a:gd name="connsiteX135" fmla="*/ 1284339 w 1774962"/>
                    <a:gd name="connsiteY135" fmla="*/ 1662221 h 1774962"/>
                    <a:gd name="connsiteX136" fmla="*/ 1268860 w 1774962"/>
                    <a:gd name="connsiteY136" fmla="*/ 1693180 h 1774962"/>
                    <a:gd name="connsiteX137" fmla="*/ 1195591 w 1774962"/>
                    <a:gd name="connsiteY137" fmla="*/ 1724654 h 1774962"/>
                    <a:gd name="connsiteX138" fmla="*/ 1178564 w 1774962"/>
                    <a:gd name="connsiteY138" fmla="*/ 1719495 h 1774962"/>
                    <a:gd name="connsiteX139" fmla="*/ 1125418 w 1774962"/>
                    <a:gd name="connsiteY139" fmla="*/ 1640034 h 1774962"/>
                    <a:gd name="connsiteX140" fmla="*/ 1113035 w 1774962"/>
                    <a:gd name="connsiteY140" fmla="*/ 1606496 h 1774962"/>
                    <a:gd name="connsiteX141" fmla="*/ 1099619 w 1774962"/>
                    <a:gd name="connsiteY141" fmla="*/ 1599272 h 1774962"/>
                    <a:gd name="connsiteX142" fmla="*/ 979913 w 1774962"/>
                    <a:gd name="connsiteY142" fmla="*/ 1624555 h 1774962"/>
                    <a:gd name="connsiteX143" fmla="*/ 972173 w 1774962"/>
                    <a:gd name="connsiteY143" fmla="*/ 1634874 h 1774962"/>
                    <a:gd name="connsiteX144" fmla="*/ 957726 w 1774962"/>
                    <a:gd name="connsiteY144" fmla="*/ 1767481 h 1774962"/>
                    <a:gd name="connsiteX145" fmla="*/ 945858 w 1774962"/>
                    <a:gd name="connsiteY145" fmla="*/ 1777800 h 1774962"/>
                    <a:gd name="connsiteX146" fmla="*/ 895808 w 1774962"/>
                    <a:gd name="connsiteY146" fmla="*/ 1779864 h 1774962"/>
                    <a:gd name="connsiteX147" fmla="*/ 894776 w 1774962"/>
                    <a:gd name="connsiteY147" fmla="*/ 1775736 h 1774962"/>
                    <a:gd name="connsiteX148" fmla="*/ 890648 w 1774962"/>
                    <a:gd name="connsiteY148" fmla="*/ 1454798 h 1774962"/>
                    <a:gd name="connsiteX149" fmla="*/ 1452548 w 1774962"/>
                    <a:gd name="connsiteY149" fmla="*/ 884127 h 1774962"/>
                    <a:gd name="connsiteX150" fmla="*/ 881361 w 1774962"/>
                    <a:gd name="connsiteY150" fmla="*/ 322228 h 1774962"/>
                    <a:gd name="connsiteX151" fmla="*/ 320494 w 1774962"/>
                    <a:gd name="connsiteY151" fmla="*/ 893415 h 1774962"/>
                    <a:gd name="connsiteX152" fmla="*/ 890648 w 1774962"/>
                    <a:gd name="connsiteY152" fmla="*/ 1454798 h 17749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</a:cxnLst>
                  <a:rect l="l" t="t" r="r" b="b"/>
                  <a:pathLst>
                    <a:path w="1774962" h="1774962">
                      <a:moveTo>
                        <a:pt x="894776" y="1775736"/>
                      </a:moveTo>
                      <a:cubicBezTo>
                        <a:pt x="880845" y="1775736"/>
                        <a:pt x="866397" y="1775736"/>
                        <a:pt x="852466" y="1775736"/>
                      </a:cubicBezTo>
                      <a:cubicBezTo>
                        <a:pt x="844726" y="1775736"/>
                        <a:pt x="840599" y="1772640"/>
                        <a:pt x="839567" y="1764901"/>
                      </a:cubicBezTo>
                      <a:cubicBezTo>
                        <a:pt x="833375" y="1731878"/>
                        <a:pt x="826151" y="1699371"/>
                        <a:pt x="819960" y="1666349"/>
                      </a:cubicBezTo>
                      <a:cubicBezTo>
                        <a:pt x="817896" y="1656545"/>
                        <a:pt x="820992" y="1646742"/>
                        <a:pt x="822024" y="1636938"/>
                      </a:cubicBezTo>
                      <a:cubicBezTo>
                        <a:pt x="823056" y="1628682"/>
                        <a:pt x="820992" y="1624555"/>
                        <a:pt x="811704" y="1623523"/>
                      </a:cubicBezTo>
                      <a:cubicBezTo>
                        <a:pt x="772490" y="1619395"/>
                        <a:pt x="733275" y="1612171"/>
                        <a:pt x="695093" y="1601852"/>
                      </a:cubicBezTo>
                      <a:cubicBezTo>
                        <a:pt x="686837" y="1599788"/>
                        <a:pt x="682194" y="1602368"/>
                        <a:pt x="680130" y="1610623"/>
                      </a:cubicBezTo>
                      <a:cubicBezTo>
                        <a:pt x="669294" y="1655513"/>
                        <a:pt x="636788" y="1688020"/>
                        <a:pt x="615116" y="1727234"/>
                      </a:cubicBezTo>
                      <a:cubicBezTo>
                        <a:pt x="612537" y="1731878"/>
                        <a:pt x="608409" y="1731878"/>
                        <a:pt x="603765" y="1730330"/>
                      </a:cubicBezTo>
                      <a:cubicBezTo>
                        <a:pt x="572807" y="1720011"/>
                        <a:pt x="542364" y="1707627"/>
                        <a:pt x="512953" y="1694212"/>
                      </a:cubicBezTo>
                      <a:cubicBezTo>
                        <a:pt x="506761" y="1691632"/>
                        <a:pt x="506245" y="1686988"/>
                        <a:pt x="507277" y="1681828"/>
                      </a:cubicBezTo>
                      <a:cubicBezTo>
                        <a:pt x="513985" y="1648806"/>
                        <a:pt x="519661" y="1615783"/>
                        <a:pt x="527400" y="1583277"/>
                      </a:cubicBezTo>
                      <a:cubicBezTo>
                        <a:pt x="529980" y="1572441"/>
                        <a:pt x="536172" y="1562637"/>
                        <a:pt x="541848" y="1552834"/>
                      </a:cubicBezTo>
                      <a:cubicBezTo>
                        <a:pt x="545460" y="1546642"/>
                        <a:pt x="544428" y="1543030"/>
                        <a:pt x="537720" y="1539418"/>
                      </a:cubicBezTo>
                      <a:cubicBezTo>
                        <a:pt x="501601" y="1520327"/>
                        <a:pt x="467547" y="1497624"/>
                        <a:pt x="435041" y="1472857"/>
                      </a:cubicBezTo>
                      <a:cubicBezTo>
                        <a:pt x="429365" y="1468214"/>
                        <a:pt x="425237" y="1468214"/>
                        <a:pt x="420593" y="1474921"/>
                      </a:cubicBezTo>
                      <a:cubicBezTo>
                        <a:pt x="393762" y="1512588"/>
                        <a:pt x="350936" y="1531163"/>
                        <a:pt x="315334" y="1559026"/>
                      </a:cubicBezTo>
                      <a:cubicBezTo>
                        <a:pt x="310690" y="1562637"/>
                        <a:pt x="307078" y="1561090"/>
                        <a:pt x="302950" y="1557478"/>
                      </a:cubicBezTo>
                      <a:cubicBezTo>
                        <a:pt x="278699" y="1536323"/>
                        <a:pt x="255996" y="1513104"/>
                        <a:pt x="233809" y="1490401"/>
                      </a:cubicBezTo>
                      <a:cubicBezTo>
                        <a:pt x="229682" y="1485757"/>
                        <a:pt x="229165" y="1482145"/>
                        <a:pt x="232777" y="1476985"/>
                      </a:cubicBezTo>
                      <a:cubicBezTo>
                        <a:pt x="251352" y="1449122"/>
                        <a:pt x="269928" y="1421260"/>
                        <a:pt x="289019" y="1393397"/>
                      </a:cubicBezTo>
                      <a:cubicBezTo>
                        <a:pt x="295210" y="1384625"/>
                        <a:pt x="304498" y="1378949"/>
                        <a:pt x="312754" y="1371726"/>
                      </a:cubicBezTo>
                      <a:cubicBezTo>
                        <a:pt x="318946" y="1366566"/>
                        <a:pt x="319978" y="1361922"/>
                        <a:pt x="314818" y="1355731"/>
                      </a:cubicBezTo>
                      <a:cubicBezTo>
                        <a:pt x="289535" y="1324256"/>
                        <a:pt x="266316" y="1291233"/>
                        <a:pt x="246193" y="1255631"/>
                      </a:cubicBezTo>
                      <a:cubicBezTo>
                        <a:pt x="241549" y="1247375"/>
                        <a:pt x="236905" y="1248923"/>
                        <a:pt x="230713" y="1253051"/>
                      </a:cubicBezTo>
                      <a:cubicBezTo>
                        <a:pt x="191499" y="1277302"/>
                        <a:pt x="145577" y="1277818"/>
                        <a:pt x="102751" y="1289685"/>
                      </a:cubicBezTo>
                      <a:cubicBezTo>
                        <a:pt x="97075" y="1291233"/>
                        <a:pt x="93979" y="1288137"/>
                        <a:pt x="91916" y="1282978"/>
                      </a:cubicBezTo>
                      <a:cubicBezTo>
                        <a:pt x="77984" y="1254083"/>
                        <a:pt x="65085" y="1224156"/>
                        <a:pt x="53733" y="1194230"/>
                      </a:cubicBezTo>
                      <a:cubicBezTo>
                        <a:pt x="51669" y="1188038"/>
                        <a:pt x="53217" y="1184426"/>
                        <a:pt x="58377" y="1181330"/>
                      </a:cubicBezTo>
                      <a:cubicBezTo>
                        <a:pt x="86240" y="1162755"/>
                        <a:pt x="113587" y="1143664"/>
                        <a:pt x="142481" y="1125605"/>
                      </a:cubicBezTo>
                      <a:cubicBezTo>
                        <a:pt x="151769" y="1119929"/>
                        <a:pt x="163120" y="1117349"/>
                        <a:pt x="173956" y="1114253"/>
                      </a:cubicBezTo>
                      <a:cubicBezTo>
                        <a:pt x="180664" y="1112189"/>
                        <a:pt x="182727" y="1109093"/>
                        <a:pt x="180664" y="1101870"/>
                      </a:cubicBezTo>
                      <a:cubicBezTo>
                        <a:pt x="168796" y="1062139"/>
                        <a:pt x="160541" y="1021893"/>
                        <a:pt x="154865" y="981131"/>
                      </a:cubicBezTo>
                      <a:cubicBezTo>
                        <a:pt x="153833" y="974423"/>
                        <a:pt x="150737" y="972359"/>
                        <a:pt x="144029" y="973391"/>
                      </a:cubicBezTo>
                      <a:cubicBezTo>
                        <a:pt x="98107" y="981131"/>
                        <a:pt x="54765" y="963588"/>
                        <a:pt x="10391" y="958428"/>
                      </a:cubicBezTo>
                      <a:cubicBezTo>
                        <a:pt x="4715" y="957912"/>
                        <a:pt x="2652" y="954300"/>
                        <a:pt x="2135" y="948624"/>
                      </a:cubicBezTo>
                      <a:cubicBezTo>
                        <a:pt x="-960" y="916118"/>
                        <a:pt x="72" y="883611"/>
                        <a:pt x="588" y="850589"/>
                      </a:cubicBezTo>
                      <a:cubicBezTo>
                        <a:pt x="588" y="844397"/>
                        <a:pt x="4715" y="841817"/>
                        <a:pt x="10391" y="840785"/>
                      </a:cubicBezTo>
                      <a:cubicBezTo>
                        <a:pt x="43930" y="834077"/>
                        <a:pt x="76952" y="827370"/>
                        <a:pt x="110491" y="820662"/>
                      </a:cubicBezTo>
                      <a:cubicBezTo>
                        <a:pt x="120294" y="818598"/>
                        <a:pt x="130098" y="821694"/>
                        <a:pt x="139901" y="822726"/>
                      </a:cubicBezTo>
                      <a:cubicBezTo>
                        <a:pt x="148157" y="823758"/>
                        <a:pt x="152285" y="820662"/>
                        <a:pt x="153317" y="811890"/>
                      </a:cubicBezTo>
                      <a:cubicBezTo>
                        <a:pt x="157445" y="773192"/>
                        <a:pt x="164668" y="734494"/>
                        <a:pt x="174472" y="696827"/>
                      </a:cubicBezTo>
                      <a:cubicBezTo>
                        <a:pt x="177052" y="687024"/>
                        <a:pt x="173440" y="682380"/>
                        <a:pt x="164152" y="680316"/>
                      </a:cubicBezTo>
                      <a:cubicBezTo>
                        <a:pt x="120294" y="668965"/>
                        <a:pt x="87272" y="636974"/>
                        <a:pt x="49090" y="615819"/>
                      </a:cubicBezTo>
                      <a:cubicBezTo>
                        <a:pt x="44961" y="613755"/>
                        <a:pt x="44961" y="610143"/>
                        <a:pt x="45993" y="606015"/>
                      </a:cubicBezTo>
                      <a:cubicBezTo>
                        <a:pt x="56313" y="574541"/>
                        <a:pt x="69212" y="544098"/>
                        <a:pt x="82628" y="513655"/>
                      </a:cubicBezTo>
                      <a:cubicBezTo>
                        <a:pt x="85208" y="507980"/>
                        <a:pt x="89336" y="506948"/>
                        <a:pt x="93979" y="508496"/>
                      </a:cubicBezTo>
                      <a:cubicBezTo>
                        <a:pt x="137322" y="519847"/>
                        <a:pt x="183760" y="518815"/>
                        <a:pt x="224006" y="543066"/>
                      </a:cubicBezTo>
                      <a:cubicBezTo>
                        <a:pt x="230713" y="547194"/>
                        <a:pt x="233809" y="544614"/>
                        <a:pt x="236905" y="538938"/>
                      </a:cubicBezTo>
                      <a:cubicBezTo>
                        <a:pt x="255996" y="503336"/>
                        <a:pt x="278183" y="469281"/>
                        <a:pt x="302434" y="437291"/>
                      </a:cubicBezTo>
                      <a:cubicBezTo>
                        <a:pt x="305530" y="433163"/>
                        <a:pt x="310690" y="428519"/>
                        <a:pt x="302950" y="423359"/>
                      </a:cubicBezTo>
                      <a:cubicBezTo>
                        <a:pt x="273540" y="404268"/>
                        <a:pt x="258576" y="373826"/>
                        <a:pt x="238453" y="346995"/>
                      </a:cubicBezTo>
                      <a:cubicBezTo>
                        <a:pt x="234841" y="342351"/>
                        <a:pt x="232262" y="337707"/>
                        <a:pt x="228650" y="333063"/>
                      </a:cubicBezTo>
                      <a:cubicBezTo>
                        <a:pt x="212654" y="310360"/>
                        <a:pt x="212138" y="309844"/>
                        <a:pt x="230713" y="290237"/>
                      </a:cubicBezTo>
                      <a:cubicBezTo>
                        <a:pt x="248257" y="271662"/>
                        <a:pt x="266316" y="254119"/>
                        <a:pt x="283859" y="236060"/>
                      </a:cubicBezTo>
                      <a:cubicBezTo>
                        <a:pt x="289535" y="230384"/>
                        <a:pt x="294179" y="229868"/>
                        <a:pt x="300370" y="234512"/>
                      </a:cubicBezTo>
                      <a:cubicBezTo>
                        <a:pt x="327201" y="252571"/>
                        <a:pt x="354032" y="270114"/>
                        <a:pt x="380863" y="288173"/>
                      </a:cubicBezTo>
                      <a:cubicBezTo>
                        <a:pt x="390150" y="294365"/>
                        <a:pt x="396342" y="303137"/>
                        <a:pt x="403050" y="311392"/>
                      </a:cubicBezTo>
                      <a:cubicBezTo>
                        <a:pt x="408726" y="319132"/>
                        <a:pt x="413885" y="320680"/>
                        <a:pt x="422141" y="313972"/>
                      </a:cubicBezTo>
                      <a:cubicBezTo>
                        <a:pt x="452584" y="288689"/>
                        <a:pt x="485606" y="266502"/>
                        <a:pt x="519661" y="246895"/>
                      </a:cubicBezTo>
                      <a:cubicBezTo>
                        <a:pt x="524820" y="243799"/>
                        <a:pt x="529464" y="240703"/>
                        <a:pt x="524820" y="233996"/>
                      </a:cubicBezTo>
                      <a:cubicBezTo>
                        <a:pt x="502633" y="202005"/>
                        <a:pt x="501086" y="163823"/>
                        <a:pt x="492314" y="127704"/>
                      </a:cubicBezTo>
                      <a:cubicBezTo>
                        <a:pt x="484574" y="96230"/>
                        <a:pt x="485606" y="96746"/>
                        <a:pt x="514501" y="82298"/>
                      </a:cubicBezTo>
                      <a:cubicBezTo>
                        <a:pt x="535140" y="71979"/>
                        <a:pt x="557327" y="64239"/>
                        <a:pt x="578482" y="55468"/>
                      </a:cubicBezTo>
                      <a:cubicBezTo>
                        <a:pt x="586222" y="52372"/>
                        <a:pt x="590866" y="52888"/>
                        <a:pt x="595509" y="60111"/>
                      </a:cubicBezTo>
                      <a:cubicBezTo>
                        <a:pt x="613053" y="86942"/>
                        <a:pt x="630596" y="113257"/>
                        <a:pt x="648655" y="139572"/>
                      </a:cubicBezTo>
                      <a:cubicBezTo>
                        <a:pt x="655363" y="149375"/>
                        <a:pt x="657427" y="160727"/>
                        <a:pt x="661039" y="172078"/>
                      </a:cubicBezTo>
                      <a:cubicBezTo>
                        <a:pt x="663618" y="180334"/>
                        <a:pt x="667230" y="182914"/>
                        <a:pt x="675486" y="180334"/>
                      </a:cubicBezTo>
                      <a:cubicBezTo>
                        <a:pt x="713668" y="168983"/>
                        <a:pt x="752882" y="160727"/>
                        <a:pt x="792613" y="155567"/>
                      </a:cubicBezTo>
                      <a:cubicBezTo>
                        <a:pt x="800352" y="154535"/>
                        <a:pt x="802932" y="151439"/>
                        <a:pt x="801900" y="143700"/>
                      </a:cubicBezTo>
                      <a:cubicBezTo>
                        <a:pt x="795193" y="98294"/>
                        <a:pt x="811704" y="55468"/>
                        <a:pt x="816864" y="11094"/>
                      </a:cubicBezTo>
                      <a:cubicBezTo>
                        <a:pt x="817380" y="5934"/>
                        <a:pt x="820476" y="2838"/>
                        <a:pt x="826151" y="2322"/>
                      </a:cubicBezTo>
                      <a:cubicBezTo>
                        <a:pt x="859174" y="-1290"/>
                        <a:pt x="892196" y="258"/>
                        <a:pt x="925219" y="774"/>
                      </a:cubicBezTo>
                      <a:cubicBezTo>
                        <a:pt x="930895" y="774"/>
                        <a:pt x="933475" y="4902"/>
                        <a:pt x="934507" y="10062"/>
                      </a:cubicBezTo>
                      <a:cubicBezTo>
                        <a:pt x="941214" y="43600"/>
                        <a:pt x="948438" y="77139"/>
                        <a:pt x="954114" y="111193"/>
                      </a:cubicBezTo>
                      <a:cubicBezTo>
                        <a:pt x="955662" y="120481"/>
                        <a:pt x="953082" y="130800"/>
                        <a:pt x="952050" y="140604"/>
                      </a:cubicBezTo>
                      <a:cubicBezTo>
                        <a:pt x="951018" y="148343"/>
                        <a:pt x="954114" y="151955"/>
                        <a:pt x="962369" y="152987"/>
                      </a:cubicBezTo>
                      <a:cubicBezTo>
                        <a:pt x="1001584" y="157115"/>
                        <a:pt x="1040798" y="164339"/>
                        <a:pt x="1078980" y="174658"/>
                      </a:cubicBezTo>
                      <a:cubicBezTo>
                        <a:pt x="1085172" y="176206"/>
                        <a:pt x="1091364" y="176722"/>
                        <a:pt x="1093428" y="168467"/>
                      </a:cubicBezTo>
                      <a:cubicBezTo>
                        <a:pt x="1101683" y="130284"/>
                        <a:pt x="1127482" y="101390"/>
                        <a:pt x="1147089" y="69399"/>
                      </a:cubicBezTo>
                      <a:cubicBezTo>
                        <a:pt x="1162569" y="43084"/>
                        <a:pt x="1163601" y="43600"/>
                        <a:pt x="1192495" y="54436"/>
                      </a:cubicBezTo>
                      <a:cubicBezTo>
                        <a:pt x="1214682" y="62691"/>
                        <a:pt x="1236353" y="71979"/>
                        <a:pt x="1258024" y="81266"/>
                      </a:cubicBezTo>
                      <a:cubicBezTo>
                        <a:pt x="1265764" y="84362"/>
                        <a:pt x="1268860" y="88490"/>
                        <a:pt x="1267312" y="96746"/>
                      </a:cubicBezTo>
                      <a:cubicBezTo>
                        <a:pt x="1260604" y="128736"/>
                        <a:pt x="1254928" y="160727"/>
                        <a:pt x="1247705" y="192718"/>
                      </a:cubicBezTo>
                      <a:cubicBezTo>
                        <a:pt x="1245125" y="203553"/>
                        <a:pt x="1238417" y="213873"/>
                        <a:pt x="1233258" y="224192"/>
                      </a:cubicBezTo>
                      <a:cubicBezTo>
                        <a:pt x="1229646" y="230384"/>
                        <a:pt x="1230678" y="233996"/>
                        <a:pt x="1237385" y="237608"/>
                      </a:cubicBezTo>
                      <a:cubicBezTo>
                        <a:pt x="1273504" y="256699"/>
                        <a:pt x="1307558" y="279402"/>
                        <a:pt x="1340065" y="304169"/>
                      </a:cubicBezTo>
                      <a:cubicBezTo>
                        <a:pt x="1345741" y="308812"/>
                        <a:pt x="1349868" y="309328"/>
                        <a:pt x="1354512" y="302621"/>
                      </a:cubicBezTo>
                      <a:cubicBezTo>
                        <a:pt x="1381343" y="264954"/>
                        <a:pt x="1424169" y="246379"/>
                        <a:pt x="1459771" y="218516"/>
                      </a:cubicBezTo>
                      <a:cubicBezTo>
                        <a:pt x="1464415" y="214905"/>
                        <a:pt x="1468027" y="216452"/>
                        <a:pt x="1472155" y="220064"/>
                      </a:cubicBezTo>
                      <a:cubicBezTo>
                        <a:pt x="1496406" y="241219"/>
                        <a:pt x="1519109" y="264438"/>
                        <a:pt x="1541296" y="287657"/>
                      </a:cubicBezTo>
                      <a:cubicBezTo>
                        <a:pt x="1545424" y="292301"/>
                        <a:pt x="1545940" y="296429"/>
                        <a:pt x="1542328" y="301073"/>
                      </a:cubicBezTo>
                      <a:cubicBezTo>
                        <a:pt x="1523237" y="329452"/>
                        <a:pt x="1505177" y="357830"/>
                        <a:pt x="1485570" y="385693"/>
                      </a:cubicBezTo>
                      <a:cubicBezTo>
                        <a:pt x="1479895" y="393949"/>
                        <a:pt x="1470607" y="400140"/>
                        <a:pt x="1462868" y="406332"/>
                      </a:cubicBezTo>
                      <a:cubicBezTo>
                        <a:pt x="1456676" y="411492"/>
                        <a:pt x="1455644" y="416136"/>
                        <a:pt x="1460803" y="422327"/>
                      </a:cubicBezTo>
                      <a:cubicBezTo>
                        <a:pt x="1486086" y="453802"/>
                        <a:pt x="1509305" y="487341"/>
                        <a:pt x="1529428" y="522427"/>
                      </a:cubicBezTo>
                      <a:cubicBezTo>
                        <a:pt x="1534072" y="530167"/>
                        <a:pt x="1538716" y="529135"/>
                        <a:pt x="1544908" y="525007"/>
                      </a:cubicBezTo>
                      <a:cubicBezTo>
                        <a:pt x="1584122" y="500756"/>
                        <a:pt x="1630044" y="500240"/>
                        <a:pt x="1672870" y="488373"/>
                      </a:cubicBezTo>
                      <a:cubicBezTo>
                        <a:pt x="1678546" y="486825"/>
                        <a:pt x="1681642" y="489921"/>
                        <a:pt x="1683706" y="495080"/>
                      </a:cubicBezTo>
                      <a:cubicBezTo>
                        <a:pt x="1697637" y="523975"/>
                        <a:pt x="1710537" y="553902"/>
                        <a:pt x="1721888" y="583828"/>
                      </a:cubicBezTo>
                      <a:cubicBezTo>
                        <a:pt x="1723952" y="590020"/>
                        <a:pt x="1722404" y="593632"/>
                        <a:pt x="1717244" y="596728"/>
                      </a:cubicBezTo>
                      <a:cubicBezTo>
                        <a:pt x="1689381" y="615303"/>
                        <a:pt x="1662035" y="634394"/>
                        <a:pt x="1633140" y="652453"/>
                      </a:cubicBezTo>
                      <a:cubicBezTo>
                        <a:pt x="1623852" y="658129"/>
                        <a:pt x="1612501" y="660709"/>
                        <a:pt x="1601665" y="663805"/>
                      </a:cubicBezTo>
                      <a:cubicBezTo>
                        <a:pt x="1594958" y="665869"/>
                        <a:pt x="1592894" y="668965"/>
                        <a:pt x="1594958" y="676188"/>
                      </a:cubicBezTo>
                      <a:cubicBezTo>
                        <a:pt x="1606309" y="715403"/>
                        <a:pt x="1615081" y="755133"/>
                        <a:pt x="1620241" y="795895"/>
                      </a:cubicBezTo>
                      <a:cubicBezTo>
                        <a:pt x="1621272" y="803119"/>
                        <a:pt x="1624368" y="805699"/>
                        <a:pt x="1631076" y="804667"/>
                      </a:cubicBezTo>
                      <a:cubicBezTo>
                        <a:pt x="1676482" y="797959"/>
                        <a:pt x="1719308" y="814470"/>
                        <a:pt x="1763682" y="819630"/>
                      </a:cubicBezTo>
                      <a:cubicBezTo>
                        <a:pt x="1769874" y="820146"/>
                        <a:pt x="1772454" y="823758"/>
                        <a:pt x="1773486" y="829950"/>
                      </a:cubicBezTo>
                      <a:cubicBezTo>
                        <a:pt x="1776582" y="862456"/>
                        <a:pt x="1775034" y="895479"/>
                        <a:pt x="1775034" y="927985"/>
                      </a:cubicBezTo>
                      <a:cubicBezTo>
                        <a:pt x="1775034" y="933661"/>
                        <a:pt x="1771422" y="936241"/>
                        <a:pt x="1766262" y="937273"/>
                      </a:cubicBezTo>
                      <a:cubicBezTo>
                        <a:pt x="1732207" y="943981"/>
                        <a:pt x="1698153" y="951204"/>
                        <a:pt x="1663583" y="957396"/>
                      </a:cubicBezTo>
                      <a:cubicBezTo>
                        <a:pt x="1654811" y="958944"/>
                        <a:pt x="1645523" y="956364"/>
                        <a:pt x="1636752" y="955332"/>
                      </a:cubicBezTo>
                      <a:cubicBezTo>
                        <a:pt x="1627980" y="954300"/>
                        <a:pt x="1623336" y="956364"/>
                        <a:pt x="1622304" y="966684"/>
                      </a:cubicBezTo>
                      <a:cubicBezTo>
                        <a:pt x="1618177" y="1005382"/>
                        <a:pt x="1610953" y="1044080"/>
                        <a:pt x="1601149" y="1081746"/>
                      </a:cubicBezTo>
                      <a:cubicBezTo>
                        <a:pt x="1598569" y="1091034"/>
                        <a:pt x="1601665" y="1095678"/>
                        <a:pt x="1610437" y="1097742"/>
                      </a:cubicBezTo>
                      <a:cubicBezTo>
                        <a:pt x="1654811" y="1108577"/>
                        <a:pt x="1687318" y="1140568"/>
                        <a:pt x="1726016" y="1161723"/>
                      </a:cubicBezTo>
                      <a:cubicBezTo>
                        <a:pt x="1731176" y="1164819"/>
                        <a:pt x="1731176" y="1168947"/>
                        <a:pt x="1729112" y="1174107"/>
                      </a:cubicBezTo>
                      <a:cubicBezTo>
                        <a:pt x="1718792" y="1204549"/>
                        <a:pt x="1706409" y="1234476"/>
                        <a:pt x="1693509" y="1263887"/>
                      </a:cubicBezTo>
                      <a:cubicBezTo>
                        <a:pt x="1690929" y="1269562"/>
                        <a:pt x="1687318" y="1271626"/>
                        <a:pt x="1681126" y="1270078"/>
                      </a:cubicBezTo>
                      <a:cubicBezTo>
                        <a:pt x="1648103" y="1263371"/>
                        <a:pt x="1614565" y="1257179"/>
                        <a:pt x="1581542" y="1249955"/>
                      </a:cubicBezTo>
                      <a:cubicBezTo>
                        <a:pt x="1571223" y="1247375"/>
                        <a:pt x="1561935" y="1241184"/>
                        <a:pt x="1552647" y="1236024"/>
                      </a:cubicBezTo>
                      <a:cubicBezTo>
                        <a:pt x="1545940" y="1232412"/>
                        <a:pt x="1542328" y="1232928"/>
                        <a:pt x="1538200" y="1240152"/>
                      </a:cubicBezTo>
                      <a:cubicBezTo>
                        <a:pt x="1519109" y="1275238"/>
                        <a:pt x="1497954" y="1309293"/>
                        <a:pt x="1473187" y="1340767"/>
                      </a:cubicBezTo>
                      <a:cubicBezTo>
                        <a:pt x="1467511" y="1347991"/>
                        <a:pt x="1466479" y="1352635"/>
                        <a:pt x="1475251" y="1358310"/>
                      </a:cubicBezTo>
                      <a:cubicBezTo>
                        <a:pt x="1502598" y="1375854"/>
                        <a:pt x="1516013" y="1405264"/>
                        <a:pt x="1535104" y="1430031"/>
                      </a:cubicBezTo>
                      <a:cubicBezTo>
                        <a:pt x="1538716" y="1434675"/>
                        <a:pt x="1541812" y="1439835"/>
                        <a:pt x="1545424" y="1444995"/>
                      </a:cubicBezTo>
                      <a:cubicBezTo>
                        <a:pt x="1566063" y="1474921"/>
                        <a:pt x="1565031" y="1464602"/>
                        <a:pt x="1542844" y="1489885"/>
                      </a:cubicBezTo>
                      <a:cubicBezTo>
                        <a:pt x="1526849" y="1508460"/>
                        <a:pt x="1508273" y="1524971"/>
                        <a:pt x="1491246" y="1542514"/>
                      </a:cubicBezTo>
                      <a:cubicBezTo>
                        <a:pt x="1485054" y="1549222"/>
                        <a:pt x="1479895" y="1549222"/>
                        <a:pt x="1472155" y="1544062"/>
                      </a:cubicBezTo>
                      <a:cubicBezTo>
                        <a:pt x="1446356" y="1526519"/>
                        <a:pt x="1420041" y="1508976"/>
                        <a:pt x="1393726" y="1491948"/>
                      </a:cubicBezTo>
                      <a:cubicBezTo>
                        <a:pt x="1383923" y="1485241"/>
                        <a:pt x="1377215" y="1475437"/>
                        <a:pt x="1369992" y="1466666"/>
                      </a:cubicBezTo>
                      <a:cubicBezTo>
                        <a:pt x="1364316" y="1459958"/>
                        <a:pt x="1359672" y="1458926"/>
                        <a:pt x="1352964" y="1464602"/>
                      </a:cubicBezTo>
                      <a:cubicBezTo>
                        <a:pt x="1322005" y="1489885"/>
                        <a:pt x="1288983" y="1512588"/>
                        <a:pt x="1254413" y="1532711"/>
                      </a:cubicBezTo>
                      <a:cubicBezTo>
                        <a:pt x="1249769" y="1535291"/>
                        <a:pt x="1244609" y="1537871"/>
                        <a:pt x="1248737" y="1544578"/>
                      </a:cubicBezTo>
                      <a:cubicBezTo>
                        <a:pt x="1272472" y="1580181"/>
                        <a:pt x="1274020" y="1622491"/>
                        <a:pt x="1284339" y="1662221"/>
                      </a:cubicBezTo>
                      <a:cubicBezTo>
                        <a:pt x="1290531" y="1685440"/>
                        <a:pt x="1292079" y="1682344"/>
                        <a:pt x="1268860" y="1693180"/>
                      </a:cubicBezTo>
                      <a:cubicBezTo>
                        <a:pt x="1244609" y="1704531"/>
                        <a:pt x="1219842" y="1714335"/>
                        <a:pt x="1195591" y="1724654"/>
                      </a:cubicBezTo>
                      <a:cubicBezTo>
                        <a:pt x="1187851" y="1727750"/>
                        <a:pt x="1183208" y="1726718"/>
                        <a:pt x="1178564" y="1719495"/>
                      </a:cubicBezTo>
                      <a:cubicBezTo>
                        <a:pt x="1161021" y="1692664"/>
                        <a:pt x="1142962" y="1666865"/>
                        <a:pt x="1125418" y="1640034"/>
                      </a:cubicBezTo>
                      <a:cubicBezTo>
                        <a:pt x="1118711" y="1629715"/>
                        <a:pt x="1116131" y="1617847"/>
                        <a:pt x="1113035" y="1606496"/>
                      </a:cubicBezTo>
                      <a:cubicBezTo>
                        <a:pt x="1110971" y="1599272"/>
                        <a:pt x="1107359" y="1597208"/>
                        <a:pt x="1099619" y="1599272"/>
                      </a:cubicBezTo>
                      <a:cubicBezTo>
                        <a:pt x="1060405" y="1611139"/>
                        <a:pt x="1020675" y="1619395"/>
                        <a:pt x="979913" y="1624555"/>
                      </a:cubicBezTo>
                      <a:cubicBezTo>
                        <a:pt x="973205" y="1625587"/>
                        <a:pt x="971141" y="1628682"/>
                        <a:pt x="972173" y="1634874"/>
                      </a:cubicBezTo>
                      <a:cubicBezTo>
                        <a:pt x="979397" y="1680280"/>
                        <a:pt x="962885" y="1723106"/>
                        <a:pt x="957726" y="1767481"/>
                      </a:cubicBezTo>
                      <a:cubicBezTo>
                        <a:pt x="956694" y="1775220"/>
                        <a:pt x="952566" y="1777800"/>
                        <a:pt x="945858" y="1777800"/>
                      </a:cubicBezTo>
                      <a:cubicBezTo>
                        <a:pt x="929347" y="1778316"/>
                        <a:pt x="912320" y="1779348"/>
                        <a:pt x="895808" y="1779864"/>
                      </a:cubicBezTo>
                      <a:cubicBezTo>
                        <a:pt x="894776" y="1776252"/>
                        <a:pt x="894776" y="1776252"/>
                        <a:pt x="894776" y="1775736"/>
                      </a:cubicBezTo>
                      <a:close/>
                      <a:moveTo>
                        <a:pt x="890648" y="1454798"/>
                      </a:moveTo>
                      <a:cubicBezTo>
                        <a:pt x="1199203" y="1449638"/>
                        <a:pt x="1454096" y="1207645"/>
                        <a:pt x="1452548" y="884127"/>
                      </a:cubicBezTo>
                      <a:cubicBezTo>
                        <a:pt x="1451516" y="575057"/>
                        <a:pt x="1205395" y="320164"/>
                        <a:pt x="881361" y="322228"/>
                      </a:cubicBezTo>
                      <a:cubicBezTo>
                        <a:pt x="571775" y="324292"/>
                        <a:pt x="318429" y="570929"/>
                        <a:pt x="320494" y="893415"/>
                      </a:cubicBezTo>
                      <a:cubicBezTo>
                        <a:pt x="323073" y="1202485"/>
                        <a:pt x="569195" y="1452218"/>
                        <a:pt x="890648" y="1454798"/>
                      </a:cubicBezTo>
                      <a:close/>
                    </a:path>
                  </a:pathLst>
                </a:custGeom>
                <a:grpFill/>
                <a:ln w="515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8" name="Freeform: Shape 37">
                  <a:extLst>
                    <a:ext uri="{FF2B5EF4-FFF2-40B4-BE49-F238E27FC236}">
                      <a16:creationId xmlns:a16="http://schemas.microsoft.com/office/drawing/2014/main" id="{86DEB52C-C941-4797-8322-11F1C0AD0C40}"/>
                    </a:ext>
                  </a:extLst>
                </p:cNvPr>
                <p:cNvSpPr/>
                <p:nvPr/>
              </p:nvSpPr>
              <p:spPr>
                <a:xfrm>
                  <a:off x="3733675" y="2339591"/>
                  <a:ext cx="835883" cy="835883"/>
                </a:xfrm>
                <a:custGeom>
                  <a:avLst/>
                  <a:gdLst>
                    <a:gd name="connsiteX0" fmla="*/ 836916 w 835883"/>
                    <a:gd name="connsiteY0" fmla="*/ 418458 h 835883"/>
                    <a:gd name="connsiteX1" fmla="*/ 418459 w 835883"/>
                    <a:gd name="connsiteY1" fmla="*/ 836399 h 835883"/>
                    <a:gd name="connsiteX2" fmla="*/ 1 w 835883"/>
                    <a:gd name="connsiteY2" fmla="*/ 417426 h 835883"/>
                    <a:gd name="connsiteX3" fmla="*/ 418975 w 835883"/>
                    <a:gd name="connsiteY3" fmla="*/ 0 h 835883"/>
                    <a:gd name="connsiteX4" fmla="*/ 836916 w 835883"/>
                    <a:gd name="connsiteY4" fmla="*/ 418458 h 8358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35883" h="835883">
                      <a:moveTo>
                        <a:pt x="836916" y="418458"/>
                      </a:moveTo>
                      <a:cubicBezTo>
                        <a:pt x="833821" y="651679"/>
                        <a:pt x="651165" y="836915"/>
                        <a:pt x="418459" y="836399"/>
                      </a:cubicBezTo>
                      <a:cubicBezTo>
                        <a:pt x="182657" y="836399"/>
                        <a:pt x="-515" y="649615"/>
                        <a:pt x="1" y="417426"/>
                      </a:cubicBezTo>
                      <a:cubicBezTo>
                        <a:pt x="517" y="181624"/>
                        <a:pt x="187301" y="0"/>
                        <a:pt x="418975" y="0"/>
                      </a:cubicBezTo>
                      <a:cubicBezTo>
                        <a:pt x="651680" y="516"/>
                        <a:pt x="833821" y="186268"/>
                        <a:pt x="836916" y="418458"/>
                      </a:cubicBezTo>
                      <a:close/>
                    </a:path>
                  </a:pathLst>
                </a:custGeom>
                <a:grpFill/>
                <a:ln w="515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B25B6E65-0935-40EC-806D-53C1E043E564}"/>
                </a:ext>
              </a:extLst>
            </p:cNvPr>
            <p:cNvSpPr/>
            <p:nvPr/>
          </p:nvSpPr>
          <p:spPr>
            <a:xfrm>
              <a:off x="5436819" y="3673417"/>
              <a:ext cx="936646" cy="931442"/>
            </a:xfrm>
            <a:custGeom>
              <a:avLst/>
              <a:gdLst>
                <a:gd name="connsiteX0" fmla="*/ 959201 w 1857518"/>
                <a:gd name="connsiteY0" fmla="*/ 1852264 h 1847198"/>
                <a:gd name="connsiteX1" fmla="*/ 910700 w 1857518"/>
                <a:gd name="connsiteY1" fmla="*/ 1852264 h 1847198"/>
                <a:gd name="connsiteX2" fmla="*/ 891608 w 1857518"/>
                <a:gd name="connsiteY2" fmla="*/ 1830593 h 1847198"/>
                <a:gd name="connsiteX3" fmla="*/ 838463 w 1857518"/>
                <a:gd name="connsiteY3" fmla="*/ 1669608 h 1847198"/>
                <a:gd name="connsiteX4" fmla="*/ 813180 w 1857518"/>
                <a:gd name="connsiteY4" fmla="*/ 1646905 h 1847198"/>
                <a:gd name="connsiteX5" fmla="*/ 730624 w 1857518"/>
                <a:gd name="connsiteY5" fmla="*/ 1628330 h 1847198"/>
                <a:gd name="connsiteX6" fmla="*/ 693990 w 1857518"/>
                <a:gd name="connsiteY6" fmla="*/ 1639165 h 1847198"/>
                <a:gd name="connsiteX7" fmla="*/ 573251 w 1857518"/>
                <a:gd name="connsiteY7" fmla="*/ 1761452 h 1847198"/>
                <a:gd name="connsiteX8" fmla="*/ 542292 w 1857518"/>
                <a:gd name="connsiteY8" fmla="*/ 1766612 h 1847198"/>
                <a:gd name="connsiteX9" fmla="*/ 412782 w 1857518"/>
                <a:gd name="connsiteY9" fmla="*/ 1693859 h 1847198"/>
                <a:gd name="connsiteX10" fmla="*/ 398334 w 1857518"/>
                <a:gd name="connsiteY10" fmla="*/ 1660836 h 1847198"/>
                <a:gd name="connsiteX11" fmla="*/ 440644 w 1857518"/>
                <a:gd name="connsiteY11" fmla="*/ 1494176 h 1847198"/>
                <a:gd name="connsiteX12" fmla="*/ 432904 w 1857518"/>
                <a:gd name="connsiteY12" fmla="*/ 1462185 h 1847198"/>
                <a:gd name="connsiteX13" fmla="*/ 370471 w 1857518"/>
                <a:gd name="connsiteY13" fmla="*/ 1397172 h 1847198"/>
                <a:gd name="connsiteX14" fmla="*/ 340545 w 1857518"/>
                <a:gd name="connsiteY14" fmla="*/ 1388400 h 1847198"/>
                <a:gd name="connsiteX15" fmla="*/ 310618 w 1857518"/>
                <a:gd name="connsiteY15" fmla="*/ 1395108 h 1847198"/>
                <a:gd name="connsiteX16" fmla="*/ 170273 w 1857518"/>
                <a:gd name="connsiteY16" fmla="*/ 1426583 h 1847198"/>
                <a:gd name="connsiteX17" fmla="*/ 141377 w 1857518"/>
                <a:gd name="connsiteY17" fmla="*/ 1413683 h 1847198"/>
                <a:gd name="connsiteX18" fmla="*/ 70689 w 1857518"/>
                <a:gd name="connsiteY18" fmla="*/ 1276949 h 1847198"/>
                <a:gd name="connsiteX19" fmla="*/ 75848 w 1857518"/>
                <a:gd name="connsiteY19" fmla="*/ 1247539 h 1847198"/>
                <a:gd name="connsiteX20" fmla="*/ 206391 w 1857518"/>
                <a:gd name="connsiteY20" fmla="*/ 1126284 h 1847198"/>
                <a:gd name="connsiteX21" fmla="*/ 216710 w 1857518"/>
                <a:gd name="connsiteY21" fmla="*/ 1096873 h 1847198"/>
                <a:gd name="connsiteX22" fmla="*/ 201231 w 1857518"/>
                <a:gd name="connsiteY22" fmla="*/ 1012769 h 1847198"/>
                <a:gd name="connsiteX23" fmla="*/ 181108 w 1857518"/>
                <a:gd name="connsiteY23" fmla="*/ 989034 h 1847198"/>
                <a:gd name="connsiteX24" fmla="*/ 67077 w 1857518"/>
                <a:gd name="connsiteY24" fmla="*/ 947240 h 1847198"/>
                <a:gd name="connsiteX25" fmla="*/ 0 w 1857518"/>
                <a:gd name="connsiteY25" fmla="*/ 921957 h 1847198"/>
                <a:gd name="connsiteX26" fmla="*/ 0 w 1857518"/>
                <a:gd name="connsiteY26" fmla="*/ 893062 h 1847198"/>
                <a:gd name="connsiteX27" fmla="*/ 4643 w 1857518"/>
                <a:gd name="connsiteY27" fmla="*/ 842496 h 1847198"/>
                <a:gd name="connsiteX28" fmla="*/ 17543 w 1857518"/>
                <a:gd name="connsiteY28" fmla="*/ 743945 h 1847198"/>
                <a:gd name="connsiteX29" fmla="*/ 38182 w 1857518"/>
                <a:gd name="connsiteY29" fmla="*/ 723305 h 1847198"/>
                <a:gd name="connsiteX30" fmla="*/ 214131 w 1857518"/>
                <a:gd name="connsiteY30" fmla="*/ 691315 h 1847198"/>
                <a:gd name="connsiteX31" fmla="*/ 239929 w 1857518"/>
                <a:gd name="connsiteY31" fmla="*/ 671192 h 1847198"/>
                <a:gd name="connsiteX32" fmla="*/ 266760 w 1857518"/>
                <a:gd name="connsiteY32" fmla="*/ 606695 h 1847198"/>
                <a:gd name="connsiteX33" fmla="*/ 262116 w 1857518"/>
                <a:gd name="connsiteY33" fmla="*/ 570060 h 1847198"/>
                <a:gd name="connsiteX34" fmla="*/ 159437 w 1857518"/>
                <a:gd name="connsiteY34" fmla="*/ 434874 h 1847198"/>
                <a:gd name="connsiteX35" fmla="*/ 159953 w 1857518"/>
                <a:gd name="connsiteY35" fmla="*/ 401336 h 1847198"/>
                <a:gd name="connsiteX36" fmla="*/ 259536 w 1857518"/>
                <a:gd name="connsiteY36" fmla="*/ 278017 h 1847198"/>
                <a:gd name="connsiteX37" fmla="*/ 294623 w 1857518"/>
                <a:gd name="connsiteY37" fmla="*/ 268729 h 1847198"/>
                <a:gd name="connsiteX38" fmla="*/ 457672 w 1857518"/>
                <a:gd name="connsiteY38" fmla="*/ 336322 h 1847198"/>
                <a:gd name="connsiteX39" fmla="*/ 489146 w 1857518"/>
                <a:gd name="connsiteY39" fmla="*/ 333743 h 1847198"/>
                <a:gd name="connsiteX40" fmla="*/ 540744 w 1857518"/>
                <a:gd name="connsiteY40" fmla="*/ 298140 h 1847198"/>
                <a:gd name="connsiteX41" fmla="*/ 553127 w 1857518"/>
                <a:gd name="connsiteY41" fmla="*/ 273889 h 1847198"/>
                <a:gd name="connsiteX42" fmla="*/ 552096 w 1857518"/>
                <a:gd name="connsiteY42" fmla="*/ 255830 h 1847198"/>
                <a:gd name="connsiteX43" fmla="*/ 545904 w 1857518"/>
                <a:gd name="connsiteY43" fmla="*/ 175854 h 1847198"/>
                <a:gd name="connsiteX44" fmla="*/ 539712 w 1857518"/>
                <a:gd name="connsiteY44" fmla="*/ 95877 h 1847198"/>
                <a:gd name="connsiteX45" fmla="*/ 556739 w 1857518"/>
                <a:gd name="connsiteY45" fmla="*/ 69562 h 1847198"/>
                <a:gd name="connsiteX46" fmla="*/ 716176 w 1857518"/>
                <a:gd name="connsiteY46" fmla="*/ 15901 h 1847198"/>
                <a:gd name="connsiteX47" fmla="*/ 726496 w 1857518"/>
                <a:gd name="connsiteY47" fmla="*/ 14353 h 1847198"/>
                <a:gd name="connsiteX48" fmla="*/ 748167 w 1857518"/>
                <a:gd name="connsiteY48" fmla="*/ 28800 h 1847198"/>
                <a:gd name="connsiteX49" fmla="*/ 847750 w 1857518"/>
                <a:gd name="connsiteY49" fmla="*/ 172758 h 1847198"/>
                <a:gd name="connsiteX50" fmla="*/ 878709 w 1857518"/>
                <a:gd name="connsiteY50" fmla="*/ 187721 h 1847198"/>
                <a:gd name="connsiteX51" fmla="*/ 931855 w 1857518"/>
                <a:gd name="connsiteY51" fmla="*/ 185657 h 1847198"/>
                <a:gd name="connsiteX52" fmla="*/ 948366 w 1857518"/>
                <a:gd name="connsiteY52" fmla="*/ 177401 h 1847198"/>
                <a:gd name="connsiteX53" fmla="*/ 954042 w 1857518"/>
                <a:gd name="connsiteY53" fmla="*/ 169146 h 1847198"/>
                <a:gd name="connsiteX54" fmla="*/ 979840 w 1857518"/>
                <a:gd name="connsiteY54" fmla="*/ 121676 h 1847198"/>
                <a:gd name="connsiteX55" fmla="*/ 1037630 w 1857518"/>
                <a:gd name="connsiteY55" fmla="*/ 13837 h 1847198"/>
                <a:gd name="connsiteX56" fmla="*/ 1066525 w 1857518"/>
                <a:gd name="connsiteY56" fmla="*/ 937 h 1847198"/>
                <a:gd name="connsiteX57" fmla="*/ 1233702 w 1857518"/>
                <a:gd name="connsiteY57" fmla="*/ 40667 h 1847198"/>
                <a:gd name="connsiteX58" fmla="*/ 1253309 w 1857518"/>
                <a:gd name="connsiteY58" fmla="*/ 64918 h 1847198"/>
                <a:gd name="connsiteX59" fmla="*/ 1254341 w 1857518"/>
                <a:gd name="connsiteY59" fmla="*/ 85042 h 1847198"/>
                <a:gd name="connsiteX60" fmla="*/ 1258468 w 1857518"/>
                <a:gd name="connsiteY60" fmla="*/ 209908 h 1847198"/>
                <a:gd name="connsiteX61" fmla="*/ 1260016 w 1857518"/>
                <a:gd name="connsiteY61" fmla="*/ 244478 h 1847198"/>
                <a:gd name="connsiteX62" fmla="*/ 1276012 w 1857518"/>
                <a:gd name="connsiteY62" fmla="*/ 270277 h 1847198"/>
                <a:gd name="connsiteX63" fmla="*/ 1313678 w 1857518"/>
                <a:gd name="connsiteY63" fmla="*/ 291948 h 1847198"/>
                <a:gd name="connsiteX64" fmla="*/ 1349797 w 1857518"/>
                <a:gd name="connsiteY64" fmla="*/ 291948 h 1847198"/>
                <a:gd name="connsiteX65" fmla="*/ 1502526 w 1857518"/>
                <a:gd name="connsiteY65" fmla="*/ 206812 h 1847198"/>
                <a:gd name="connsiteX66" fmla="*/ 1535033 w 1857518"/>
                <a:gd name="connsiteY66" fmla="*/ 211456 h 1847198"/>
                <a:gd name="connsiteX67" fmla="*/ 1653707 w 1857518"/>
                <a:gd name="connsiteY67" fmla="*/ 332711 h 1847198"/>
                <a:gd name="connsiteX68" fmla="*/ 1657835 w 1857518"/>
                <a:gd name="connsiteY68" fmla="*/ 366249 h 1847198"/>
                <a:gd name="connsiteX69" fmla="*/ 1569087 w 1857518"/>
                <a:gd name="connsiteY69" fmla="*/ 515883 h 1847198"/>
                <a:gd name="connsiteX70" fmla="*/ 1568571 w 1857518"/>
                <a:gd name="connsiteY70" fmla="*/ 550453 h 1847198"/>
                <a:gd name="connsiteX71" fmla="*/ 1591274 w 1857518"/>
                <a:gd name="connsiteY71" fmla="*/ 592247 h 1847198"/>
                <a:gd name="connsiteX72" fmla="*/ 1617589 w 1857518"/>
                <a:gd name="connsiteY72" fmla="*/ 608759 h 1847198"/>
                <a:gd name="connsiteX73" fmla="*/ 1676926 w 1857518"/>
                <a:gd name="connsiteY73" fmla="*/ 612886 h 1847198"/>
                <a:gd name="connsiteX74" fmla="*/ 1797665 w 1857518"/>
                <a:gd name="connsiteY74" fmla="*/ 620626 h 1847198"/>
                <a:gd name="connsiteX75" fmla="*/ 1820884 w 1857518"/>
                <a:gd name="connsiteY75" fmla="*/ 640233 h 1847198"/>
                <a:gd name="connsiteX76" fmla="*/ 1857518 w 1857518"/>
                <a:gd name="connsiteY76" fmla="*/ 808442 h 1847198"/>
                <a:gd name="connsiteX77" fmla="*/ 1851842 w 1857518"/>
                <a:gd name="connsiteY77" fmla="*/ 829081 h 1847198"/>
                <a:gd name="connsiteX78" fmla="*/ 1841523 w 1857518"/>
                <a:gd name="connsiteY78" fmla="*/ 836305 h 1847198"/>
                <a:gd name="connsiteX79" fmla="*/ 1686214 w 1857518"/>
                <a:gd name="connsiteY79" fmla="*/ 913701 h 1847198"/>
                <a:gd name="connsiteX80" fmla="*/ 1668670 w 1857518"/>
                <a:gd name="connsiteY80" fmla="*/ 940016 h 1847198"/>
                <a:gd name="connsiteX81" fmla="*/ 1665059 w 1857518"/>
                <a:gd name="connsiteY81" fmla="*/ 998322 h 1847198"/>
                <a:gd name="connsiteX82" fmla="*/ 1678474 w 1857518"/>
                <a:gd name="connsiteY82" fmla="*/ 1026184 h 1847198"/>
                <a:gd name="connsiteX83" fmla="*/ 1821916 w 1857518"/>
                <a:gd name="connsiteY83" fmla="*/ 1131960 h 1847198"/>
                <a:gd name="connsiteX84" fmla="*/ 1831720 w 1857518"/>
                <a:gd name="connsiteY84" fmla="*/ 1163950 h 1847198"/>
                <a:gd name="connsiteX85" fmla="*/ 1805404 w 1857518"/>
                <a:gd name="connsiteY85" fmla="*/ 1236703 h 1847198"/>
                <a:gd name="connsiteX86" fmla="*/ 1775478 w 1857518"/>
                <a:gd name="connsiteY86" fmla="*/ 1317711 h 1847198"/>
                <a:gd name="connsiteX87" fmla="*/ 1750195 w 1857518"/>
                <a:gd name="connsiteY87" fmla="*/ 1334223 h 1847198"/>
                <a:gd name="connsiteX88" fmla="*/ 1685698 w 1857518"/>
                <a:gd name="connsiteY88" fmla="*/ 1327515 h 1847198"/>
                <a:gd name="connsiteX89" fmla="*/ 1574247 w 1857518"/>
                <a:gd name="connsiteY89" fmla="*/ 1315648 h 1847198"/>
                <a:gd name="connsiteX90" fmla="*/ 1545868 w 1857518"/>
                <a:gd name="connsiteY90" fmla="*/ 1328547 h 1847198"/>
                <a:gd name="connsiteX91" fmla="*/ 1505622 w 1857518"/>
                <a:gd name="connsiteY91" fmla="*/ 1383241 h 1847198"/>
                <a:gd name="connsiteX92" fmla="*/ 1500978 w 1857518"/>
                <a:gd name="connsiteY92" fmla="*/ 1417811 h 1847198"/>
                <a:gd name="connsiteX93" fmla="*/ 1563411 w 1857518"/>
                <a:gd name="connsiteY93" fmla="*/ 1581892 h 1847198"/>
                <a:gd name="connsiteX94" fmla="*/ 1554124 w 1857518"/>
                <a:gd name="connsiteY94" fmla="*/ 1615430 h 1847198"/>
                <a:gd name="connsiteX95" fmla="*/ 1430805 w 1857518"/>
                <a:gd name="connsiteY95" fmla="*/ 1708822 h 1847198"/>
                <a:gd name="connsiteX96" fmla="*/ 1397266 w 1857518"/>
                <a:gd name="connsiteY96" fmla="*/ 1708306 h 1847198"/>
                <a:gd name="connsiteX97" fmla="*/ 1263628 w 1857518"/>
                <a:gd name="connsiteY97" fmla="*/ 1600467 h 1847198"/>
                <a:gd name="connsiteX98" fmla="*/ 1232154 w 1857518"/>
                <a:gd name="connsiteY98" fmla="*/ 1594275 h 1847198"/>
                <a:gd name="connsiteX99" fmla="*/ 1153725 w 1857518"/>
                <a:gd name="connsiteY99" fmla="*/ 1624202 h 1847198"/>
                <a:gd name="connsiteX100" fmla="*/ 1134634 w 1857518"/>
                <a:gd name="connsiteY100" fmla="*/ 1646905 h 1847198"/>
                <a:gd name="connsiteX101" fmla="*/ 1123798 w 1857518"/>
                <a:gd name="connsiteY101" fmla="*/ 1698503 h 1847198"/>
                <a:gd name="connsiteX102" fmla="*/ 1097999 w 1857518"/>
                <a:gd name="connsiteY102" fmla="*/ 1821821 h 1847198"/>
                <a:gd name="connsiteX103" fmla="*/ 1076329 w 1857518"/>
                <a:gd name="connsiteY103" fmla="*/ 1842460 h 1847198"/>
                <a:gd name="connsiteX104" fmla="*/ 994288 w 1857518"/>
                <a:gd name="connsiteY104" fmla="*/ 1851232 h 1847198"/>
                <a:gd name="connsiteX105" fmla="*/ 959201 w 1857518"/>
                <a:gd name="connsiteY105" fmla="*/ 1852264 h 1847198"/>
                <a:gd name="connsiteX106" fmla="*/ 928759 w 1857518"/>
                <a:gd name="connsiteY106" fmla="*/ 382245 h 1847198"/>
                <a:gd name="connsiteX107" fmla="*/ 386983 w 1857518"/>
                <a:gd name="connsiteY107" fmla="*/ 921957 h 1847198"/>
                <a:gd name="connsiteX108" fmla="*/ 926695 w 1857518"/>
                <a:gd name="connsiteY108" fmla="*/ 1465797 h 1847198"/>
                <a:gd name="connsiteX109" fmla="*/ 1470535 w 1857518"/>
                <a:gd name="connsiteY109" fmla="*/ 924537 h 1847198"/>
                <a:gd name="connsiteX110" fmla="*/ 928759 w 1857518"/>
                <a:gd name="connsiteY110" fmla="*/ 382245 h 1847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1857518" h="1847198">
                  <a:moveTo>
                    <a:pt x="959201" y="1852264"/>
                  </a:moveTo>
                  <a:cubicBezTo>
                    <a:pt x="943206" y="1852264"/>
                    <a:pt x="927211" y="1852264"/>
                    <a:pt x="910700" y="1852264"/>
                  </a:cubicBezTo>
                  <a:cubicBezTo>
                    <a:pt x="900380" y="1848652"/>
                    <a:pt x="894704" y="1840913"/>
                    <a:pt x="891608" y="1830593"/>
                  </a:cubicBezTo>
                  <a:cubicBezTo>
                    <a:pt x="874065" y="1776931"/>
                    <a:pt x="856006" y="1723270"/>
                    <a:pt x="838463" y="1669608"/>
                  </a:cubicBezTo>
                  <a:cubicBezTo>
                    <a:pt x="834335" y="1657224"/>
                    <a:pt x="826080" y="1649485"/>
                    <a:pt x="813180" y="1646905"/>
                  </a:cubicBezTo>
                  <a:cubicBezTo>
                    <a:pt x="785833" y="1640713"/>
                    <a:pt x="757970" y="1635037"/>
                    <a:pt x="730624" y="1628330"/>
                  </a:cubicBezTo>
                  <a:cubicBezTo>
                    <a:pt x="716176" y="1624718"/>
                    <a:pt x="704309" y="1628330"/>
                    <a:pt x="693990" y="1639165"/>
                  </a:cubicBezTo>
                  <a:cubicBezTo>
                    <a:pt x="654259" y="1680443"/>
                    <a:pt x="613497" y="1720690"/>
                    <a:pt x="573251" y="1761452"/>
                  </a:cubicBezTo>
                  <a:cubicBezTo>
                    <a:pt x="563963" y="1770739"/>
                    <a:pt x="553127" y="1772804"/>
                    <a:pt x="542292" y="1766612"/>
                  </a:cubicBezTo>
                  <a:cubicBezTo>
                    <a:pt x="498950" y="1742361"/>
                    <a:pt x="456123" y="1718110"/>
                    <a:pt x="412782" y="1693859"/>
                  </a:cubicBezTo>
                  <a:cubicBezTo>
                    <a:pt x="397818" y="1685603"/>
                    <a:pt x="394206" y="1676832"/>
                    <a:pt x="398334" y="1660836"/>
                  </a:cubicBezTo>
                  <a:cubicBezTo>
                    <a:pt x="412265" y="1605111"/>
                    <a:pt x="426713" y="1549901"/>
                    <a:pt x="440644" y="1494176"/>
                  </a:cubicBezTo>
                  <a:cubicBezTo>
                    <a:pt x="443741" y="1482308"/>
                    <a:pt x="441676" y="1471473"/>
                    <a:pt x="432904" y="1462185"/>
                  </a:cubicBezTo>
                  <a:cubicBezTo>
                    <a:pt x="412265" y="1440514"/>
                    <a:pt x="391110" y="1418843"/>
                    <a:pt x="370471" y="1397172"/>
                  </a:cubicBezTo>
                  <a:cubicBezTo>
                    <a:pt x="362216" y="1388400"/>
                    <a:pt x="351896" y="1385820"/>
                    <a:pt x="340545" y="1388400"/>
                  </a:cubicBezTo>
                  <a:cubicBezTo>
                    <a:pt x="330226" y="1390464"/>
                    <a:pt x="320422" y="1393044"/>
                    <a:pt x="310618" y="1395108"/>
                  </a:cubicBezTo>
                  <a:cubicBezTo>
                    <a:pt x="263664" y="1405428"/>
                    <a:pt x="217226" y="1416263"/>
                    <a:pt x="170273" y="1426583"/>
                  </a:cubicBezTo>
                  <a:cubicBezTo>
                    <a:pt x="157373" y="1429679"/>
                    <a:pt x="147054" y="1425035"/>
                    <a:pt x="141377" y="1413683"/>
                  </a:cubicBezTo>
                  <a:cubicBezTo>
                    <a:pt x="117642" y="1368277"/>
                    <a:pt x="94423" y="1322355"/>
                    <a:pt x="70689" y="1276949"/>
                  </a:cubicBezTo>
                  <a:cubicBezTo>
                    <a:pt x="65529" y="1266630"/>
                    <a:pt x="67593" y="1255278"/>
                    <a:pt x="75848" y="1247539"/>
                  </a:cubicBezTo>
                  <a:cubicBezTo>
                    <a:pt x="119191" y="1207292"/>
                    <a:pt x="163049" y="1166530"/>
                    <a:pt x="206391" y="1126284"/>
                  </a:cubicBezTo>
                  <a:cubicBezTo>
                    <a:pt x="215162" y="1118544"/>
                    <a:pt x="218258" y="1108225"/>
                    <a:pt x="216710" y="1096873"/>
                  </a:cubicBezTo>
                  <a:cubicBezTo>
                    <a:pt x="211551" y="1069010"/>
                    <a:pt x="206391" y="1040631"/>
                    <a:pt x="201231" y="1012769"/>
                  </a:cubicBezTo>
                  <a:cubicBezTo>
                    <a:pt x="199167" y="1000901"/>
                    <a:pt x="192459" y="993162"/>
                    <a:pt x="181108" y="989034"/>
                  </a:cubicBezTo>
                  <a:cubicBezTo>
                    <a:pt x="142925" y="975103"/>
                    <a:pt x="104743" y="961171"/>
                    <a:pt x="67077" y="947240"/>
                  </a:cubicBezTo>
                  <a:cubicBezTo>
                    <a:pt x="44890" y="938984"/>
                    <a:pt x="22187" y="931760"/>
                    <a:pt x="0" y="921957"/>
                  </a:cubicBezTo>
                  <a:cubicBezTo>
                    <a:pt x="0" y="912153"/>
                    <a:pt x="0" y="902866"/>
                    <a:pt x="0" y="893062"/>
                  </a:cubicBezTo>
                  <a:cubicBezTo>
                    <a:pt x="1548" y="876035"/>
                    <a:pt x="3096" y="859524"/>
                    <a:pt x="4643" y="842496"/>
                  </a:cubicBezTo>
                  <a:cubicBezTo>
                    <a:pt x="7740" y="809474"/>
                    <a:pt x="12383" y="776451"/>
                    <a:pt x="17543" y="743945"/>
                  </a:cubicBezTo>
                  <a:cubicBezTo>
                    <a:pt x="19091" y="733109"/>
                    <a:pt x="26831" y="725369"/>
                    <a:pt x="38182" y="723305"/>
                  </a:cubicBezTo>
                  <a:cubicBezTo>
                    <a:pt x="97003" y="712470"/>
                    <a:pt x="155309" y="702150"/>
                    <a:pt x="214131" y="691315"/>
                  </a:cubicBezTo>
                  <a:cubicBezTo>
                    <a:pt x="226514" y="689251"/>
                    <a:pt x="234770" y="682543"/>
                    <a:pt x="239929" y="671192"/>
                  </a:cubicBezTo>
                  <a:cubicBezTo>
                    <a:pt x="248701" y="649521"/>
                    <a:pt x="257989" y="627850"/>
                    <a:pt x="266760" y="606695"/>
                  </a:cubicBezTo>
                  <a:cubicBezTo>
                    <a:pt x="272436" y="593279"/>
                    <a:pt x="270888" y="581928"/>
                    <a:pt x="262116" y="570060"/>
                  </a:cubicBezTo>
                  <a:cubicBezTo>
                    <a:pt x="227546" y="525170"/>
                    <a:pt x="193492" y="479764"/>
                    <a:pt x="159437" y="434874"/>
                  </a:cubicBezTo>
                  <a:cubicBezTo>
                    <a:pt x="150665" y="423007"/>
                    <a:pt x="150665" y="412687"/>
                    <a:pt x="159953" y="401336"/>
                  </a:cubicBezTo>
                  <a:cubicBezTo>
                    <a:pt x="192975" y="360058"/>
                    <a:pt x="225998" y="319295"/>
                    <a:pt x="259536" y="278017"/>
                  </a:cubicBezTo>
                  <a:cubicBezTo>
                    <a:pt x="270372" y="265118"/>
                    <a:pt x="279144" y="262538"/>
                    <a:pt x="294623" y="268729"/>
                  </a:cubicBezTo>
                  <a:cubicBezTo>
                    <a:pt x="348801" y="291433"/>
                    <a:pt x="402978" y="313620"/>
                    <a:pt x="457672" y="336322"/>
                  </a:cubicBezTo>
                  <a:cubicBezTo>
                    <a:pt x="468507" y="340966"/>
                    <a:pt x="479342" y="340450"/>
                    <a:pt x="489146" y="333743"/>
                  </a:cubicBezTo>
                  <a:cubicBezTo>
                    <a:pt x="506690" y="321875"/>
                    <a:pt x="523717" y="310008"/>
                    <a:pt x="540744" y="298140"/>
                  </a:cubicBezTo>
                  <a:cubicBezTo>
                    <a:pt x="548999" y="292464"/>
                    <a:pt x="553127" y="284209"/>
                    <a:pt x="553127" y="273889"/>
                  </a:cubicBezTo>
                  <a:cubicBezTo>
                    <a:pt x="553127" y="267697"/>
                    <a:pt x="552612" y="261506"/>
                    <a:pt x="552096" y="255830"/>
                  </a:cubicBezTo>
                  <a:cubicBezTo>
                    <a:pt x="550032" y="228999"/>
                    <a:pt x="547968" y="202684"/>
                    <a:pt x="545904" y="175854"/>
                  </a:cubicBezTo>
                  <a:cubicBezTo>
                    <a:pt x="543840" y="149023"/>
                    <a:pt x="541776" y="122708"/>
                    <a:pt x="539712" y="95877"/>
                  </a:cubicBezTo>
                  <a:cubicBezTo>
                    <a:pt x="538680" y="83493"/>
                    <a:pt x="544872" y="73690"/>
                    <a:pt x="556739" y="69562"/>
                  </a:cubicBezTo>
                  <a:cubicBezTo>
                    <a:pt x="609885" y="51503"/>
                    <a:pt x="663031" y="33444"/>
                    <a:pt x="716176" y="15901"/>
                  </a:cubicBezTo>
                  <a:cubicBezTo>
                    <a:pt x="719788" y="14869"/>
                    <a:pt x="722884" y="14353"/>
                    <a:pt x="726496" y="14353"/>
                  </a:cubicBezTo>
                  <a:cubicBezTo>
                    <a:pt x="736299" y="14869"/>
                    <a:pt x="742491" y="21060"/>
                    <a:pt x="748167" y="28800"/>
                  </a:cubicBezTo>
                  <a:cubicBezTo>
                    <a:pt x="781189" y="76786"/>
                    <a:pt x="814728" y="124772"/>
                    <a:pt x="847750" y="172758"/>
                  </a:cubicBezTo>
                  <a:cubicBezTo>
                    <a:pt x="855490" y="183593"/>
                    <a:pt x="865810" y="188753"/>
                    <a:pt x="878709" y="187721"/>
                  </a:cubicBezTo>
                  <a:cubicBezTo>
                    <a:pt x="896252" y="186173"/>
                    <a:pt x="914312" y="185657"/>
                    <a:pt x="931855" y="185657"/>
                  </a:cubicBezTo>
                  <a:cubicBezTo>
                    <a:pt x="939079" y="185657"/>
                    <a:pt x="944239" y="183077"/>
                    <a:pt x="948366" y="177401"/>
                  </a:cubicBezTo>
                  <a:cubicBezTo>
                    <a:pt x="950430" y="174822"/>
                    <a:pt x="952494" y="171726"/>
                    <a:pt x="954042" y="169146"/>
                  </a:cubicBezTo>
                  <a:cubicBezTo>
                    <a:pt x="962814" y="153150"/>
                    <a:pt x="971069" y="137155"/>
                    <a:pt x="979840" y="121676"/>
                  </a:cubicBezTo>
                  <a:cubicBezTo>
                    <a:pt x="998932" y="85558"/>
                    <a:pt x="1018539" y="49955"/>
                    <a:pt x="1037630" y="13837"/>
                  </a:cubicBezTo>
                  <a:cubicBezTo>
                    <a:pt x="1043822" y="2485"/>
                    <a:pt x="1053626" y="-2159"/>
                    <a:pt x="1066525" y="937"/>
                  </a:cubicBezTo>
                  <a:cubicBezTo>
                    <a:pt x="1122251" y="14353"/>
                    <a:pt x="1177976" y="27252"/>
                    <a:pt x="1233702" y="40667"/>
                  </a:cubicBezTo>
                  <a:cubicBezTo>
                    <a:pt x="1245569" y="43763"/>
                    <a:pt x="1252793" y="52535"/>
                    <a:pt x="1253309" y="64918"/>
                  </a:cubicBezTo>
                  <a:cubicBezTo>
                    <a:pt x="1253825" y="71626"/>
                    <a:pt x="1253825" y="78334"/>
                    <a:pt x="1254341" y="85042"/>
                  </a:cubicBezTo>
                  <a:cubicBezTo>
                    <a:pt x="1255888" y="126836"/>
                    <a:pt x="1256921" y="168630"/>
                    <a:pt x="1258468" y="209908"/>
                  </a:cubicBezTo>
                  <a:cubicBezTo>
                    <a:pt x="1258985" y="221260"/>
                    <a:pt x="1259501" y="233127"/>
                    <a:pt x="1260016" y="244478"/>
                  </a:cubicBezTo>
                  <a:cubicBezTo>
                    <a:pt x="1260532" y="255830"/>
                    <a:pt x="1266208" y="264602"/>
                    <a:pt x="1276012" y="270277"/>
                  </a:cubicBezTo>
                  <a:cubicBezTo>
                    <a:pt x="1288395" y="277501"/>
                    <a:pt x="1301295" y="284209"/>
                    <a:pt x="1313678" y="291948"/>
                  </a:cubicBezTo>
                  <a:cubicBezTo>
                    <a:pt x="1326062" y="299172"/>
                    <a:pt x="1337413" y="298656"/>
                    <a:pt x="1349797" y="291948"/>
                  </a:cubicBezTo>
                  <a:cubicBezTo>
                    <a:pt x="1400879" y="263570"/>
                    <a:pt x="1451444" y="235191"/>
                    <a:pt x="1502526" y="206812"/>
                  </a:cubicBezTo>
                  <a:cubicBezTo>
                    <a:pt x="1514394" y="200105"/>
                    <a:pt x="1525745" y="202168"/>
                    <a:pt x="1535033" y="211456"/>
                  </a:cubicBezTo>
                  <a:cubicBezTo>
                    <a:pt x="1574763" y="251702"/>
                    <a:pt x="1613977" y="292464"/>
                    <a:pt x="1653707" y="332711"/>
                  </a:cubicBezTo>
                  <a:cubicBezTo>
                    <a:pt x="1664027" y="343546"/>
                    <a:pt x="1665575" y="353350"/>
                    <a:pt x="1657835" y="366249"/>
                  </a:cubicBezTo>
                  <a:cubicBezTo>
                    <a:pt x="1628424" y="416299"/>
                    <a:pt x="1598497" y="465833"/>
                    <a:pt x="1569087" y="515883"/>
                  </a:cubicBezTo>
                  <a:cubicBezTo>
                    <a:pt x="1562379" y="527234"/>
                    <a:pt x="1561863" y="539102"/>
                    <a:pt x="1568571" y="550453"/>
                  </a:cubicBezTo>
                  <a:cubicBezTo>
                    <a:pt x="1576311" y="564384"/>
                    <a:pt x="1583534" y="578316"/>
                    <a:pt x="1591274" y="592247"/>
                  </a:cubicBezTo>
                  <a:cubicBezTo>
                    <a:pt x="1596950" y="602567"/>
                    <a:pt x="1605721" y="608243"/>
                    <a:pt x="1617589" y="608759"/>
                  </a:cubicBezTo>
                  <a:cubicBezTo>
                    <a:pt x="1637196" y="610307"/>
                    <a:pt x="1657319" y="611339"/>
                    <a:pt x="1676926" y="612886"/>
                  </a:cubicBezTo>
                  <a:cubicBezTo>
                    <a:pt x="1717172" y="615466"/>
                    <a:pt x="1757419" y="618046"/>
                    <a:pt x="1797665" y="620626"/>
                  </a:cubicBezTo>
                  <a:cubicBezTo>
                    <a:pt x="1809016" y="621142"/>
                    <a:pt x="1818304" y="628882"/>
                    <a:pt x="1820884" y="640233"/>
                  </a:cubicBezTo>
                  <a:cubicBezTo>
                    <a:pt x="1833267" y="695959"/>
                    <a:pt x="1845135" y="752200"/>
                    <a:pt x="1857518" y="808442"/>
                  </a:cubicBezTo>
                  <a:cubicBezTo>
                    <a:pt x="1859066" y="816181"/>
                    <a:pt x="1857002" y="822889"/>
                    <a:pt x="1851842" y="829081"/>
                  </a:cubicBezTo>
                  <a:cubicBezTo>
                    <a:pt x="1849262" y="832177"/>
                    <a:pt x="1845135" y="834241"/>
                    <a:pt x="1841523" y="836305"/>
                  </a:cubicBezTo>
                  <a:cubicBezTo>
                    <a:pt x="1789925" y="862103"/>
                    <a:pt x="1738327" y="887902"/>
                    <a:pt x="1686214" y="913701"/>
                  </a:cubicBezTo>
                  <a:cubicBezTo>
                    <a:pt x="1675378" y="919377"/>
                    <a:pt x="1669187" y="927633"/>
                    <a:pt x="1668670" y="940016"/>
                  </a:cubicBezTo>
                  <a:cubicBezTo>
                    <a:pt x="1667639" y="959623"/>
                    <a:pt x="1666090" y="978714"/>
                    <a:pt x="1665059" y="998322"/>
                  </a:cubicBezTo>
                  <a:cubicBezTo>
                    <a:pt x="1664543" y="1009673"/>
                    <a:pt x="1668670" y="1019477"/>
                    <a:pt x="1678474" y="1026184"/>
                  </a:cubicBezTo>
                  <a:cubicBezTo>
                    <a:pt x="1726460" y="1061271"/>
                    <a:pt x="1773930" y="1096873"/>
                    <a:pt x="1821916" y="1131960"/>
                  </a:cubicBezTo>
                  <a:cubicBezTo>
                    <a:pt x="1833267" y="1140215"/>
                    <a:pt x="1836879" y="1150535"/>
                    <a:pt x="1831720" y="1163950"/>
                  </a:cubicBezTo>
                  <a:cubicBezTo>
                    <a:pt x="1822948" y="1188201"/>
                    <a:pt x="1814176" y="1212452"/>
                    <a:pt x="1805404" y="1236703"/>
                  </a:cubicBezTo>
                  <a:cubicBezTo>
                    <a:pt x="1795601" y="1263534"/>
                    <a:pt x="1785798" y="1290881"/>
                    <a:pt x="1775478" y="1317711"/>
                  </a:cubicBezTo>
                  <a:cubicBezTo>
                    <a:pt x="1771350" y="1329063"/>
                    <a:pt x="1761546" y="1335255"/>
                    <a:pt x="1750195" y="1334223"/>
                  </a:cubicBezTo>
                  <a:cubicBezTo>
                    <a:pt x="1728524" y="1332159"/>
                    <a:pt x="1707369" y="1329579"/>
                    <a:pt x="1685698" y="1327515"/>
                  </a:cubicBezTo>
                  <a:cubicBezTo>
                    <a:pt x="1648548" y="1323387"/>
                    <a:pt x="1611397" y="1319259"/>
                    <a:pt x="1574247" y="1315648"/>
                  </a:cubicBezTo>
                  <a:cubicBezTo>
                    <a:pt x="1562379" y="1314616"/>
                    <a:pt x="1553092" y="1318743"/>
                    <a:pt x="1545868" y="1328547"/>
                  </a:cubicBezTo>
                  <a:cubicBezTo>
                    <a:pt x="1532453" y="1346606"/>
                    <a:pt x="1519553" y="1365181"/>
                    <a:pt x="1505622" y="1383241"/>
                  </a:cubicBezTo>
                  <a:cubicBezTo>
                    <a:pt x="1497366" y="1394076"/>
                    <a:pt x="1496334" y="1405428"/>
                    <a:pt x="1500978" y="1417811"/>
                  </a:cubicBezTo>
                  <a:cubicBezTo>
                    <a:pt x="1521617" y="1472505"/>
                    <a:pt x="1542772" y="1527198"/>
                    <a:pt x="1563411" y="1581892"/>
                  </a:cubicBezTo>
                  <a:cubicBezTo>
                    <a:pt x="1569087" y="1596339"/>
                    <a:pt x="1565991" y="1606143"/>
                    <a:pt x="1554124" y="1615430"/>
                  </a:cubicBezTo>
                  <a:cubicBezTo>
                    <a:pt x="1512845" y="1646389"/>
                    <a:pt x="1472083" y="1677864"/>
                    <a:pt x="1430805" y="1708822"/>
                  </a:cubicBezTo>
                  <a:cubicBezTo>
                    <a:pt x="1418938" y="1717594"/>
                    <a:pt x="1408618" y="1717594"/>
                    <a:pt x="1397266" y="1708306"/>
                  </a:cubicBezTo>
                  <a:cubicBezTo>
                    <a:pt x="1352892" y="1672704"/>
                    <a:pt x="1308003" y="1636585"/>
                    <a:pt x="1263628" y="1600467"/>
                  </a:cubicBezTo>
                  <a:cubicBezTo>
                    <a:pt x="1253825" y="1592727"/>
                    <a:pt x="1243505" y="1590147"/>
                    <a:pt x="1232154" y="1594275"/>
                  </a:cubicBezTo>
                  <a:cubicBezTo>
                    <a:pt x="1205839" y="1604079"/>
                    <a:pt x="1179524" y="1613883"/>
                    <a:pt x="1153725" y="1624202"/>
                  </a:cubicBezTo>
                  <a:cubicBezTo>
                    <a:pt x="1143406" y="1628330"/>
                    <a:pt x="1137214" y="1636070"/>
                    <a:pt x="1134634" y="1646905"/>
                  </a:cubicBezTo>
                  <a:cubicBezTo>
                    <a:pt x="1131022" y="1663932"/>
                    <a:pt x="1127411" y="1681475"/>
                    <a:pt x="1123798" y="1698503"/>
                  </a:cubicBezTo>
                  <a:cubicBezTo>
                    <a:pt x="1115027" y="1739781"/>
                    <a:pt x="1106771" y="1780543"/>
                    <a:pt x="1097999" y="1821821"/>
                  </a:cubicBezTo>
                  <a:cubicBezTo>
                    <a:pt x="1095420" y="1833689"/>
                    <a:pt x="1088196" y="1840913"/>
                    <a:pt x="1076329" y="1842460"/>
                  </a:cubicBezTo>
                  <a:cubicBezTo>
                    <a:pt x="1048982" y="1846072"/>
                    <a:pt x="1021635" y="1848652"/>
                    <a:pt x="994288" y="1851232"/>
                  </a:cubicBezTo>
                  <a:cubicBezTo>
                    <a:pt x="980873" y="1850200"/>
                    <a:pt x="970037" y="1851232"/>
                    <a:pt x="959201" y="1852264"/>
                  </a:cubicBezTo>
                  <a:close/>
                  <a:moveTo>
                    <a:pt x="928759" y="382245"/>
                  </a:moveTo>
                  <a:cubicBezTo>
                    <a:pt x="633620" y="381729"/>
                    <a:pt x="388015" y="619594"/>
                    <a:pt x="386983" y="921957"/>
                  </a:cubicBezTo>
                  <a:cubicBezTo>
                    <a:pt x="385951" y="1222772"/>
                    <a:pt x="627428" y="1464765"/>
                    <a:pt x="926695" y="1465797"/>
                  </a:cubicBezTo>
                  <a:cubicBezTo>
                    <a:pt x="1229058" y="1466829"/>
                    <a:pt x="1470019" y="1222772"/>
                    <a:pt x="1470535" y="924537"/>
                  </a:cubicBezTo>
                  <a:cubicBezTo>
                    <a:pt x="1470535" y="625270"/>
                    <a:pt x="1228026" y="381729"/>
                    <a:pt x="928759" y="382245"/>
                  </a:cubicBezTo>
                  <a:close/>
                </a:path>
              </a:pathLst>
            </a:custGeom>
            <a:grpFill/>
            <a:ln w="51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77478775-9720-4065-9D9F-0A2FCB97F2F0}"/>
                </a:ext>
              </a:extLst>
            </p:cNvPr>
            <p:cNvSpPr/>
            <p:nvPr/>
          </p:nvSpPr>
          <p:spPr>
            <a:xfrm>
              <a:off x="4032637" y="2622975"/>
              <a:ext cx="1051669" cy="1070562"/>
            </a:xfrm>
            <a:custGeom>
              <a:avLst/>
              <a:gdLst>
                <a:gd name="connsiteX0" fmla="*/ 879664 w 1723364"/>
                <a:gd name="connsiteY0" fmla="*/ 267 h 1754322"/>
                <a:gd name="connsiteX1" fmla="*/ 964801 w 1723364"/>
                <a:gd name="connsiteY1" fmla="*/ 5943 h 1754322"/>
                <a:gd name="connsiteX2" fmla="*/ 979248 w 1723364"/>
                <a:gd name="connsiteY2" fmla="*/ 18843 h 1754322"/>
                <a:gd name="connsiteX3" fmla="*/ 977700 w 1723364"/>
                <a:gd name="connsiteY3" fmla="*/ 158673 h 1754322"/>
                <a:gd name="connsiteX4" fmla="*/ 968928 w 1723364"/>
                <a:gd name="connsiteY4" fmla="*/ 213366 h 1754322"/>
                <a:gd name="connsiteX5" fmla="*/ 979764 w 1723364"/>
                <a:gd name="connsiteY5" fmla="*/ 229877 h 1754322"/>
                <a:gd name="connsiteX6" fmla="*/ 1149520 w 1723364"/>
                <a:gd name="connsiteY6" fmla="*/ 285087 h 1754322"/>
                <a:gd name="connsiteX7" fmla="*/ 1166548 w 1723364"/>
                <a:gd name="connsiteY7" fmla="*/ 278379 h 1754322"/>
                <a:gd name="connsiteX8" fmla="*/ 1210406 w 1723364"/>
                <a:gd name="connsiteY8" fmla="*/ 190663 h 1754322"/>
                <a:gd name="connsiteX9" fmla="*/ 1263035 w 1723364"/>
                <a:gd name="connsiteY9" fmla="*/ 123070 h 1754322"/>
                <a:gd name="connsiteX10" fmla="*/ 1304314 w 1723364"/>
                <a:gd name="connsiteY10" fmla="*/ 119458 h 1754322"/>
                <a:gd name="connsiteX11" fmla="*/ 1458075 w 1723364"/>
                <a:gd name="connsiteY11" fmla="*/ 231941 h 1754322"/>
                <a:gd name="connsiteX12" fmla="*/ 1462203 w 1723364"/>
                <a:gd name="connsiteY12" fmla="*/ 251549 h 1754322"/>
                <a:gd name="connsiteX13" fmla="*/ 1461171 w 1723364"/>
                <a:gd name="connsiteY13" fmla="*/ 254128 h 1754322"/>
                <a:gd name="connsiteX14" fmla="*/ 1396158 w 1723364"/>
                <a:gd name="connsiteY14" fmla="*/ 347004 h 1754322"/>
                <a:gd name="connsiteX15" fmla="*/ 1337336 w 1723364"/>
                <a:gd name="connsiteY15" fmla="*/ 404794 h 1754322"/>
                <a:gd name="connsiteX16" fmla="*/ 1336304 w 1723364"/>
                <a:gd name="connsiteY16" fmla="*/ 419757 h 1754322"/>
                <a:gd name="connsiteX17" fmla="*/ 1369327 w 1723364"/>
                <a:gd name="connsiteY17" fmla="*/ 457939 h 1754322"/>
                <a:gd name="connsiteX18" fmla="*/ 1442596 w 1723364"/>
                <a:gd name="connsiteY18" fmla="*/ 565263 h 1754322"/>
                <a:gd name="connsiteX19" fmla="*/ 1462719 w 1723364"/>
                <a:gd name="connsiteY19" fmla="*/ 570938 h 1754322"/>
                <a:gd name="connsiteX20" fmla="*/ 1573138 w 1723364"/>
                <a:gd name="connsiteY20" fmla="*/ 514697 h 1754322"/>
                <a:gd name="connsiteX21" fmla="*/ 1650018 w 1723364"/>
                <a:gd name="connsiteY21" fmla="*/ 501281 h 1754322"/>
                <a:gd name="connsiteX22" fmla="*/ 1659822 w 1723364"/>
                <a:gd name="connsiteY22" fmla="*/ 509537 h 1754322"/>
                <a:gd name="connsiteX23" fmla="*/ 1724835 w 1723364"/>
                <a:gd name="connsiteY23" fmla="*/ 709220 h 1754322"/>
                <a:gd name="connsiteX24" fmla="*/ 1717611 w 1723364"/>
                <a:gd name="connsiteY24" fmla="*/ 723668 h 1754322"/>
                <a:gd name="connsiteX25" fmla="*/ 1671173 w 1723364"/>
                <a:gd name="connsiteY25" fmla="*/ 748950 h 1754322"/>
                <a:gd name="connsiteX26" fmla="*/ 1618544 w 1723364"/>
                <a:gd name="connsiteY26" fmla="*/ 760302 h 1754322"/>
                <a:gd name="connsiteX27" fmla="*/ 1529280 w 1723364"/>
                <a:gd name="connsiteY27" fmla="*/ 774234 h 1754322"/>
                <a:gd name="connsiteX28" fmla="*/ 1515349 w 1723364"/>
                <a:gd name="connsiteY28" fmla="*/ 791777 h 1754322"/>
                <a:gd name="connsiteX29" fmla="*/ 1521024 w 1723364"/>
                <a:gd name="connsiteY29" fmla="*/ 857306 h 1754322"/>
                <a:gd name="connsiteX30" fmla="*/ 1516380 w 1723364"/>
                <a:gd name="connsiteY30" fmla="*/ 953794 h 1754322"/>
                <a:gd name="connsiteX31" fmla="*/ 1538567 w 1723364"/>
                <a:gd name="connsiteY31" fmla="*/ 983720 h 1754322"/>
                <a:gd name="connsiteX32" fmla="*/ 1653114 w 1723364"/>
                <a:gd name="connsiteY32" fmla="*/ 1001779 h 1754322"/>
                <a:gd name="connsiteX33" fmla="*/ 1700584 w 1723364"/>
                <a:gd name="connsiteY33" fmla="*/ 1024483 h 1754322"/>
                <a:gd name="connsiteX34" fmla="*/ 1719675 w 1723364"/>
                <a:gd name="connsiteY34" fmla="*/ 1067825 h 1754322"/>
                <a:gd name="connsiteX35" fmla="*/ 1661370 w 1723364"/>
                <a:gd name="connsiteY35" fmla="*/ 1243773 h 1754322"/>
                <a:gd name="connsiteX36" fmla="*/ 1641763 w 1723364"/>
                <a:gd name="connsiteY36" fmla="*/ 1255124 h 1754322"/>
                <a:gd name="connsiteX37" fmla="*/ 1541663 w 1723364"/>
                <a:gd name="connsiteY37" fmla="*/ 1226230 h 1754322"/>
                <a:gd name="connsiteX38" fmla="*/ 1461687 w 1723364"/>
                <a:gd name="connsiteY38" fmla="*/ 1184436 h 1754322"/>
                <a:gd name="connsiteX39" fmla="*/ 1444143 w 1723364"/>
                <a:gd name="connsiteY39" fmla="*/ 1189079 h 1754322"/>
                <a:gd name="connsiteX40" fmla="*/ 1339400 w 1723364"/>
                <a:gd name="connsiteY40" fmla="*/ 1333553 h 1754322"/>
                <a:gd name="connsiteX41" fmla="*/ 1339916 w 1723364"/>
                <a:gd name="connsiteY41" fmla="*/ 1353160 h 1754322"/>
                <a:gd name="connsiteX42" fmla="*/ 1430212 w 1723364"/>
                <a:gd name="connsiteY42" fmla="*/ 1443456 h 1754322"/>
                <a:gd name="connsiteX43" fmla="*/ 1465814 w 1723364"/>
                <a:gd name="connsiteY43" fmla="*/ 1511565 h 1754322"/>
                <a:gd name="connsiteX44" fmla="*/ 1461171 w 1723364"/>
                <a:gd name="connsiteY44" fmla="*/ 1521369 h 1754322"/>
                <a:gd name="connsiteX45" fmla="*/ 1290382 w 1723364"/>
                <a:gd name="connsiteY45" fmla="*/ 1645203 h 1754322"/>
                <a:gd name="connsiteX46" fmla="*/ 1275419 w 1723364"/>
                <a:gd name="connsiteY46" fmla="*/ 1643655 h 1754322"/>
                <a:gd name="connsiteX47" fmla="*/ 1207310 w 1723364"/>
                <a:gd name="connsiteY47" fmla="*/ 1558003 h 1754322"/>
                <a:gd name="connsiteX48" fmla="*/ 1167064 w 1723364"/>
                <a:gd name="connsiteY48" fmla="*/ 1477511 h 1754322"/>
                <a:gd name="connsiteX49" fmla="*/ 1150036 w 1723364"/>
                <a:gd name="connsiteY49" fmla="*/ 1470803 h 1754322"/>
                <a:gd name="connsiteX50" fmla="*/ 981312 w 1723364"/>
                <a:gd name="connsiteY50" fmla="*/ 1526013 h 1754322"/>
                <a:gd name="connsiteX51" fmla="*/ 969960 w 1723364"/>
                <a:gd name="connsiteY51" fmla="*/ 1544072 h 1754322"/>
                <a:gd name="connsiteX52" fmla="*/ 989052 w 1723364"/>
                <a:gd name="connsiteY52" fmla="*/ 1663779 h 1754322"/>
                <a:gd name="connsiteX53" fmla="*/ 978216 w 1723364"/>
                <a:gd name="connsiteY53" fmla="*/ 1743755 h 1754322"/>
                <a:gd name="connsiteX54" fmla="*/ 966864 w 1723364"/>
                <a:gd name="connsiteY54" fmla="*/ 1749947 h 1754322"/>
                <a:gd name="connsiteX55" fmla="*/ 758410 w 1723364"/>
                <a:gd name="connsiteY55" fmla="*/ 1749947 h 1754322"/>
                <a:gd name="connsiteX56" fmla="*/ 745510 w 1723364"/>
                <a:gd name="connsiteY56" fmla="*/ 1737047 h 1754322"/>
                <a:gd name="connsiteX57" fmla="*/ 747058 w 1723364"/>
                <a:gd name="connsiteY57" fmla="*/ 1598249 h 1754322"/>
                <a:gd name="connsiteX58" fmla="*/ 756346 w 1723364"/>
                <a:gd name="connsiteY58" fmla="*/ 1543556 h 1754322"/>
                <a:gd name="connsiteX59" fmla="*/ 744478 w 1723364"/>
                <a:gd name="connsiteY59" fmla="*/ 1525496 h 1754322"/>
                <a:gd name="connsiteX60" fmla="*/ 575754 w 1723364"/>
                <a:gd name="connsiteY60" fmla="*/ 1470287 h 1754322"/>
                <a:gd name="connsiteX61" fmla="*/ 559758 w 1723364"/>
                <a:gd name="connsiteY61" fmla="*/ 1475963 h 1754322"/>
                <a:gd name="connsiteX62" fmla="*/ 504549 w 1723364"/>
                <a:gd name="connsiteY62" fmla="*/ 1585350 h 1754322"/>
                <a:gd name="connsiteX63" fmla="*/ 447275 w 1723364"/>
                <a:gd name="connsiteY63" fmla="*/ 1645719 h 1754322"/>
                <a:gd name="connsiteX64" fmla="*/ 434376 w 1723364"/>
                <a:gd name="connsiteY64" fmla="*/ 1643655 h 1754322"/>
                <a:gd name="connsiteX65" fmla="*/ 290418 w 1723364"/>
                <a:gd name="connsiteY65" fmla="*/ 1542008 h 1754322"/>
                <a:gd name="connsiteX66" fmla="*/ 265651 w 1723364"/>
                <a:gd name="connsiteY66" fmla="*/ 1521369 h 1754322"/>
                <a:gd name="connsiteX67" fmla="*/ 262039 w 1723364"/>
                <a:gd name="connsiteY67" fmla="*/ 1505889 h 1754322"/>
                <a:gd name="connsiteX68" fmla="*/ 321893 w 1723364"/>
                <a:gd name="connsiteY68" fmla="*/ 1415593 h 1754322"/>
                <a:gd name="connsiteX69" fmla="*/ 386906 w 1723364"/>
                <a:gd name="connsiteY69" fmla="*/ 1351096 h 1754322"/>
                <a:gd name="connsiteX70" fmla="*/ 387938 w 1723364"/>
                <a:gd name="connsiteY70" fmla="*/ 1334069 h 1754322"/>
                <a:gd name="connsiteX71" fmla="*/ 354915 w 1723364"/>
                <a:gd name="connsiteY71" fmla="*/ 1295887 h 1754322"/>
                <a:gd name="connsiteX72" fmla="*/ 282678 w 1723364"/>
                <a:gd name="connsiteY72" fmla="*/ 1189595 h 1754322"/>
                <a:gd name="connsiteX73" fmla="*/ 262555 w 1723364"/>
                <a:gd name="connsiteY73" fmla="*/ 1183920 h 1754322"/>
                <a:gd name="connsiteX74" fmla="*/ 152136 w 1723364"/>
                <a:gd name="connsiteY74" fmla="*/ 1240161 h 1754322"/>
                <a:gd name="connsiteX75" fmla="*/ 75256 w 1723364"/>
                <a:gd name="connsiteY75" fmla="*/ 1253577 h 1754322"/>
                <a:gd name="connsiteX76" fmla="*/ 65452 w 1723364"/>
                <a:gd name="connsiteY76" fmla="*/ 1245321 h 1754322"/>
                <a:gd name="connsiteX77" fmla="*/ 439 w 1723364"/>
                <a:gd name="connsiteY77" fmla="*/ 1045637 h 1754322"/>
                <a:gd name="connsiteX78" fmla="*/ 7663 w 1723364"/>
                <a:gd name="connsiteY78" fmla="*/ 1031190 h 1754322"/>
                <a:gd name="connsiteX79" fmla="*/ 54101 w 1723364"/>
                <a:gd name="connsiteY79" fmla="*/ 1005907 h 1754322"/>
                <a:gd name="connsiteX80" fmla="*/ 106730 w 1723364"/>
                <a:gd name="connsiteY80" fmla="*/ 994556 h 1754322"/>
                <a:gd name="connsiteX81" fmla="*/ 197026 w 1723364"/>
                <a:gd name="connsiteY81" fmla="*/ 980109 h 1754322"/>
                <a:gd name="connsiteX82" fmla="*/ 209410 w 1723364"/>
                <a:gd name="connsiteY82" fmla="*/ 964113 h 1754322"/>
                <a:gd name="connsiteX83" fmla="*/ 203734 w 1723364"/>
                <a:gd name="connsiteY83" fmla="*/ 897552 h 1754322"/>
                <a:gd name="connsiteX84" fmla="*/ 208378 w 1723364"/>
                <a:gd name="connsiteY84" fmla="*/ 801064 h 1754322"/>
                <a:gd name="connsiteX85" fmla="*/ 185159 w 1723364"/>
                <a:gd name="connsiteY85" fmla="*/ 770622 h 1754322"/>
                <a:gd name="connsiteX86" fmla="*/ 73192 w 1723364"/>
                <a:gd name="connsiteY86" fmla="*/ 753079 h 1754322"/>
                <a:gd name="connsiteX87" fmla="*/ 24690 w 1723364"/>
                <a:gd name="connsiteY87" fmla="*/ 730375 h 1754322"/>
                <a:gd name="connsiteX88" fmla="*/ 5599 w 1723364"/>
                <a:gd name="connsiteY88" fmla="*/ 687033 h 1754322"/>
                <a:gd name="connsiteX89" fmla="*/ 63904 w 1723364"/>
                <a:gd name="connsiteY89" fmla="*/ 511085 h 1754322"/>
                <a:gd name="connsiteX90" fmla="*/ 83511 w 1723364"/>
                <a:gd name="connsiteY90" fmla="*/ 499733 h 1754322"/>
                <a:gd name="connsiteX91" fmla="*/ 183611 w 1723364"/>
                <a:gd name="connsiteY91" fmla="*/ 528628 h 1754322"/>
                <a:gd name="connsiteX92" fmla="*/ 262555 w 1723364"/>
                <a:gd name="connsiteY92" fmla="*/ 569390 h 1754322"/>
                <a:gd name="connsiteX93" fmla="*/ 282163 w 1723364"/>
                <a:gd name="connsiteY93" fmla="*/ 564231 h 1754322"/>
                <a:gd name="connsiteX94" fmla="*/ 386906 w 1723364"/>
                <a:gd name="connsiteY94" fmla="*/ 419757 h 1754322"/>
                <a:gd name="connsiteX95" fmla="*/ 386390 w 1723364"/>
                <a:gd name="connsiteY95" fmla="*/ 402214 h 1754322"/>
                <a:gd name="connsiteX96" fmla="*/ 296094 w 1723364"/>
                <a:gd name="connsiteY96" fmla="*/ 311918 h 1754322"/>
                <a:gd name="connsiteX97" fmla="*/ 259975 w 1723364"/>
                <a:gd name="connsiteY97" fmla="*/ 242777 h 1754322"/>
                <a:gd name="connsiteX98" fmla="*/ 264619 w 1723364"/>
                <a:gd name="connsiteY98" fmla="*/ 232973 h 1754322"/>
                <a:gd name="connsiteX99" fmla="*/ 435408 w 1723364"/>
                <a:gd name="connsiteY99" fmla="*/ 109139 h 1754322"/>
                <a:gd name="connsiteX100" fmla="*/ 450371 w 1723364"/>
                <a:gd name="connsiteY100" fmla="*/ 110687 h 1754322"/>
                <a:gd name="connsiteX101" fmla="*/ 518480 w 1723364"/>
                <a:gd name="connsiteY101" fmla="*/ 196339 h 1754322"/>
                <a:gd name="connsiteX102" fmla="*/ 559758 w 1723364"/>
                <a:gd name="connsiteY102" fmla="*/ 277863 h 1754322"/>
                <a:gd name="connsiteX103" fmla="*/ 574722 w 1723364"/>
                <a:gd name="connsiteY103" fmla="*/ 283539 h 1754322"/>
                <a:gd name="connsiteX104" fmla="*/ 746026 w 1723364"/>
                <a:gd name="connsiteY104" fmla="*/ 227813 h 1754322"/>
                <a:gd name="connsiteX105" fmla="*/ 756346 w 1723364"/>
                <a:gd name="connsiteY105" fmla="*/ 211302 h 1754322"/>
                <a:gd name="connsiteX106" fmla="*/ 737254 w 1723364"/>
                <a:gd name="connsiteY106" fmla="*/ 91596 h 1754322"/>
                <a:gd name="connsiteX107" fmla="*/ 748090 w 1723364"/>
                <a:gd name="connsiteY107" fmla="*/ 10587 h 1754322"/>
                <a:gd name="connsiteX108" fmla="*/ 758410 w 1723364"/>
                <a:gd name="connsiteY108" fmla="*/ 4395 h 1754322"/>
                <a:gd name="connsiteX109" fmla="*/ 879664 w 1723364"/>
                <a:gd name="connsiteY109" fmla="*/ 267 h 1754322"/>
                <a:gd name="connsiteX110" fmla="*/ 861605 w 1723364"/>
                <a:gd name="connsiteY110" fmla="*/ 1409918 h 1754322"/>
                <a:gd name="connsiteX111" fmla="*/ 1392546 w 1723364"/>
                <a:gd name="connsiteY111" fmla="*/ 879493 h 1754322"/>
                <a:gd name="connsiteX112" fmla="*/ 862637 w 1723364"/>
                <a:gd name="connsiteY112" fmla="*/ 348552 h 1754322"/>
                <a:gd name="connsiteX113" fmla="*/ 331180 w 1723364"/>
                <a:gd name="connsiteY113" fmla="*/ 879493 h 1754322"/>
                <a:gd name="connsiteX114" fmla="*/ 861605 w 1723364"/>
                <a:gd name="connsiteY114" fmla="*/ 1409918 h 1754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1723364" h="1754322">
                  <a:moveTo>
                    <a:pt x="879664" y="267"/>
                  </a:moveTo>
                  <a:cubicBezTo>
                    <a:pt x="907527" y="2332"/>
                    <a:pt x="935906" y="4395"/>
                    <a:pt x="964801" y="5943"/>
                  </a:cubicBezTo>
                  <a:cubicBezTo>
                    <a:pt x="974088" y="6459"/>
                    <a:pt x="976668" y="11103"/>
                    <a:pt x="979248" y="18843"/>
                  </a:cubicBezTo>
                  <a:cubicBezTo>
                    <a:pt x="994727" y="65797"/>
                    <a:pt x="985956" y="112235"/>
                    <a:pt x="977700" y="158673"/>
                  </a:cubicBezTo>
                  <a:cubicBezTo>
                    <a:pt x="974604" y="176732"/>
                    <a:pt x="972024" y="195307"/>
                    <a:pt x="968928" y="213366"/>
                  </a:cubicBezTo>
                  <a:cubicBezTo>
                    <a:pt x="967380" y="222654"/>
                    <a:pt x="969960" y="227813"/>
                    <a:pt x="979764" y="229877"/>
                  </a:cubicBezTo>
                  <a:cubicBezTo>
                    <a:pt x="1038585" y="240713"/>
                    <a:pt x="1095343" y="259804"/>
                    <a:pt x="1149520" y="285087"/>
                  </a:cubicBezTo>
                  <a:cubicBezTo>
                    <a:pt x="1158808" y="289215"/>
                    <a:pt x="1162420" y="286119"/>
                    <a:pt x="1166548" y="278379"/>
                  </a:cubicBezTo>
                  <a:cubicBezTo>
                    <a:pt x="1180995" y="248969"/>
                    <a:pt x="1197506" y="220590"/>
                    <a:pt x="1210406" y="190663"/>
                  </a:cubicBezTo>
                  <a:cubicBezTo>
                    <a:pt x="1222273" y="163316"/>
                    <a:pt x="1240848" y="142161"/>
                    <a:pt x="1263035" y="123070"/>
                  </a:cubicBezTo>
                  <a:cubicBezTo>
                    <a:pt x="1282643" y="106043"/>
                    <a:pt x="1282127" y="106559"/>
                    <a:pt x="1304314" y="119458"/>
                  </a:cubicBezTo>
                  <a:cubicBezTo>
                    <a:pt x="1359523" y="151449"/>
                    <a:pt x="1409573" y="190663"/>
                    <a:pt x="1458075" y="231941"/>
                  </a:cubicBezTo>
                  <a:cubicBezTo>
                    <a:pt x="1465299" y="238133"/>
                    <a:pt x="1467362" y="243809"/>
                    <a:pt x="1462203" y="251549"/>
                  </a:cubicBezTo>
                  <a:cubicBezTo>
                    <a:pt x="1461687" y="252064"/>
                    <a:pt x="1461171" y="253096"/>
                    <a:pt x="1461171" y="254128"/>
                  </a:cubicBezTo>
                  <a:cubicBezTo>
                    <a:pt x="1448271" y="291279"/>
                    <a:pt x="1425052" y="320689"/>
                    <a:pt x="1396158" y="347004"/>
                  </a:cubicBezTo>
                  <a:cubicBezTo>
                    <a:pt x="1375518" y="365064"/>
                    <a:pt x="1356943" y="385703"/>
                    <a:pt x="1337336" y="404794"/>
                  </a:cubicBezTo>
                  <a:cubicBezTo>
                    <a:pt x="1332177" y="409954"/>
                    <a:pt x="1330628" y="413565"/>
                    <a:pt x="1336304" y="419757"/>
                  </a:cubicBezTo>
                  <a:cubicBezTo>
                    <a:pt x="1347656" y="432141"/>
                    <a:pt x="1357459" y="445556"/>
                    <a:pt x="1369327" y="457939"/>
                  </a:cubicBezTo>
                  <a:cubicBezTo>
                    <a:pt x="1399769" y="489930"/>
                    <a:pt x="1419893" y="528628"/>
                    <a:pt x="1442596" y="565263"/>
                  </a:cubicBezTo>
                  <a:cubicBezTo>
                    <a:pt x="1448271" y="574550"/>
                    <a:pt x="1452915" y="576098"/>
                    <a:pt x="1462719" y="570938"/>
                  </a:cubicBezTo>
                  <a:cubicBezTo>
                    <a:pt x="1499353" y="551847"/>
                    <a:pt x="1535988" y="533272"/>
                    <a:pt x="1573138" y="514697"/>
                  </a:cubicBezTo>
                  <a:cubicBezTo>
                    <a:pt x="1597389" y="502830"/>
                    <a:pt x="1624220" y="504893"/>
                    <a:pt x="1650018" y="501281"/>
                  </a:cubicBezTo>
                  <a:cubicBezTo>
                    <a:pt x="1655694" y="500250"/>
                    <a:pt x="1658274" y="505409"/>
                    <a:pt x="1659822" y="509537"/>
                  </a:cubicBezTo>
                  <a:cubicBezTo>
                    <a:pt x="1687685" y="574034"/>
                    <a:pt x="1709872" y="640595"/>
                    <a:pt x="1724835" y="709220"/>
                  </a:cubicBezTo>
                  <a:cubicBezTo>
                    <a:pt x="1726383" y="716444"/>
                    <a:pt x="1723803" y="720572"/>
                    <a:pt x="1717611" y="723668"/>
                  </a:cubicBezTo>
                  <a:cubicBezTo>
                    <a:pt x="1702132" y="731923"/>
                    <a:pt x="1686653" y="740695"/>
                    <a:pt x="1671173" y="748950"/>
                  </a:cubicBezTo>
                  <a:cubicBezTo>
                    <a:pt x="1654662" y="757722"/>
                    <a:pt x="1636087" y="757206"/>
                    <a:pt x="1618544" y="760302"/>
                  </a:cubicBezTo>
                  <a:cubicBezTo>
                    <a:pt x="1589133" y="765462"/>
                    <a:pt x="1559207" y="770106"/>
                    <a:pt x="1529280" y="774234"/>
                  </a:cubicBezTo>
                  <a:cubicBezTo>
                    <a:pt x="1517412" y="775781"/>
                    <a:pt x="1514316" y="780941"/>
                    <a:pt x="1515349" y="791777"/>
                  </a:cubicBezTo>
                  <a:cubicBezTo>
                    <a:pt x="1517412" y="813448"/>
                    <a:pt x="1518444" y="835635"/>
                    <a:pt x="1521024" y="857306"/>
                  </a:cubicBezTo>
                  <a:cubicBezTo>
                    <a:pt x="1524636" y="889813"/>
                    <a:pt x="1518960" y="921803"/>
                    <a:pt x="1516380" y="953794"/>
                  </a:cubicBezTo>
                  <a:cubicBezTo>
                    <a:pt x="1514316" y="980109"/>
                    <a:pt x="1513284" y="980109"/>
                    <a:pt x="1538567" y="983720"/>
                  </a:cubicBezTo>
                  <a:cubicBezTo>
                    <a:pt x="1576750" y="989912"/>
                    <a:pt x="1614932" y="995588"/>
                    <a:pt x="1653114" y="1001779"/>
                  </a:cubicBezTo>
                  <a:cubicBezTo>
                    <a:pt x="1671173" y="1004875"/>
                    <a:pt x="1685105" y="1016227"/>
                    <a:pt x="1700584" y="1024483"/>
                  </a:cubicBezTo>
                  <a:cubicBezTo>
                    <a:pt x="1726899" y="1038414"/>
                    <a:pt x="1725867" y="1038930"/>
                    <a:pt x="1719675" y="1067825"/>
                  </a:cubicBezTo>
                  <a:cubicBezTo>
                    <a:pt x="1706260" y="1128710"/>
                    <a:pt x="1685105" y="1186500"/>
                    <a:pt x="1661370" y="1243773"/>
                  </a:cubicBezTo>
                  <a:cubicBezTo>
                    <a:pt x="1657242" y="1253577"/>
                    <a:pt x="1651566" y="1256157"/>
                    <a:pt x="1641763" y="1255124"/>
                  </a:cubicBezTo>
                  <a:cubicBezTo>
                    <a:pt x="1606160" y="1252028"/>
                    <a:pt x="1572622" y="1244805"/>
                    <a:pt x="1541663" y="1226230"/>
                  </a:cubicBezTo>
                  <a:cubicBezTo>
                    <a:pt x="1515864" y="1210750"/>
                    <a:pt x="1488001" y="1198883"/>
                    <a:pt x="1461687" y="1184436"/>
                  </a:cubicBezTo>
                  <a:cubicBezTo>
                    <a:pt x="1453947" y="1180308"/>
                    <a:pt x="1448787" y="1180308"/>
                    <a:pt x="1444143" y="1189079"/>
                  </a:cubicBezTo>
                  <a:cubicBezTo>
                    <a:pt x="1415249" y="1241709"/>
                    <a:pt x="1380162" y="1290211"/>
                    <a:pt x="1339400" y="1333553"/>
                  </a:cubicBezTo>
                  <a:cubicBezTo>
                    <a:pt x="1332177" y="1341293"/>
                    <a:pt x="1332177" y="1345936"/>
                    <a:pt x="1339916" y="1353160"/>
                  </a:cubicBezTo>
                  <a:cubicBezTo>
                    <a:pt x="1370359" y="1382571"/>
                    <a:pt x="1400801" y="1412498"/>
                    <a:pt x="1430212" y="1443456"/>
                  </a:cubicBezTo>
                  <a:cubicBezTo>
                    <a:pt x="1448271" y="1462547"/>
                    <a:pt x="1453947" y="1488862"/>
                    <a:pt x="1465814" y="1511565"/>
                  </a:cubicBezTo>
                  <a:cubicBezTo>
                    <a:pt x="1467879" y="1515693"/>
                    <a:pt x="1464267" y="1518789"/>
                    <a:pt x="1461171" y="1521369"/>
                  </a:cubicBezTo>
                  <a:cubicBezTo>
                    <a:pt x="1408025" y="1568323"/>
                    <a:pt x="1351784" y="1610117"/>
                    <a:pt x="1290382" y="1645203"/>
                  </a:cubicBezTo>
                  <a:cubicBezTo>
                    <a:pt x="1284707" y="1648815"/>
                    <a:pt x="1280579" y="1648299"/>
                    <a:pt x="1275419" y="1643655"/>
                  </a:cubicBezTo>
                  <a:cubicBezTo>
                    <a:pt x="1247040" y="1619404"/>
                    <a:pt x="1221757" y="1593606"/>
                    <a:pt x="1207310" y="1558003"/>
                  </a:cubicBezTo>
                  <a:cubicBezTo>
                    <a:pt x="1195958" y="1530140"/>
                    <a:pt x="1179963" y="1504341"/>
                    <a:pt x="1167064" y="1477511"/>
                  </a:cubicBezTo>
                  <a:cubicBezTo>
                    <a:pt x="1162936" y="1469255"/>
                    <a:pt x="1158808" y="1467191"/>
                    <a:pt x="1150036" y="1470803"/>
                  </a:cubicBezTo>
                  <a:cubicBezTo>
                    <a:pt x="1096375" y="1496086"/>
                    <a:pt x="1040133" y="1514661"/>
                    <a:pt x="981312" y="1526013"/>
                  </a:cubicBezTo>
                  <a:cubicBezTo>
                    <a:pt x="969960" y="1528076"/>
                    <a:pt x="967896" y="1534268"/>
                    <a:pt x="969960" y="1544072"/>
                  </a:cubicBezTo>
                  <a:cubicBezTo>
                    <a:pt x="976668" y="1583802"/>
                    <a:pt x="982860" y="1623532"/>
                    <a:pt x="989052" y="1663779"/>
                  </a:cubicBezTo>
                  <a:cubicBezTo>
                    <a:pt x="993179" y="1691641"/>
                    <a:pt x="982344" y="1716924"/>
                    <a:pt x="978216" y="1743755"/>
                  </a:cubicBezTo>
                  <a:cubicBezTo>
                    <a:pt x="977184" y="1749431"/>
                    <a:pt x="971508" y="1749431"/>
                    <a:pt x="966864" y="1749947"/>
                  </a:cubicBezTo>
                  <a:cubicBezTo>
                    <a:pt x="897207" y="1757170"/>
                    <a:pt x="828067" y="1756655"/>
                    <a:pt x="758410" y="1749947"/>
                  </a:cubicBezTo>
                  <a:cubicBezTo>
                    <a:pt x="749638" y="1748915"/>
                    <a:pt x="748090" y="1744271"/>
                    <a:pt x="745510" y="1737047"/>
                  </a:cubicBezTo>
                  <a:cubicBezTo>
                    <a:pt x="730031" y="1690609"/>
                    <a:pt x="738286" y="1644687"/>
                    <a:pt x="747058" y="1598249"/>
                  </a:cubicBezTo>
                  <a:cubicBezTo>
                    <a:pt x="750154" y="1580190"/>
                    <a:pt x="752734" y="1561615"/>
                    <a:pt x="756346" y="1543556"/>
                  </a:cubicBezTo>
                  <a:cubicBezTo>
                    <a:pt x="758410" y="1533236"/>
                    <a:pt x="755314" y="1527560"/>
                    <a:pt x="744478" y="1525496"/>
                  </a:cubicBezTo>
                  <a:cubicBezTo>
                    <a:pt x="685657" y="1514661"/>
                    <a:pt x="629931" y="1496086"/>
                    <a:pt x="575754" y="1470287"/>
                  </a:cubicBezTo>
                  <a:cubicBezTo>
                    <a:pt x="568014" y="1466675"/>
                    <a:pt x="563886" y="1467707"/>
                    <a:pt x="559758" y="1475963"/>
                  </a:cubicBezTo>
                  <a:cubicBezTo>
                    <a:pt x="541699" y="1512597"/>
                    <a:pt x="522608" y="1548715"/>
                    <a:pt x="504549" y="1585350"/>
                  </a:cubicBezTo>
                  <a:cubicBezTo>
                    <a:pt x="491649" y="1611149"/>
                    <a:pt x="466882" y="1626112"/>
                    <a:pt x="447275" y="1645719"/>
                  </a:cubicBezTo>
                  <a:cubicBezTo>
                    <a:pt x="442631" y="1650363"/>
                    <a:pt x="438504" y="1646235"/>
                    <a:pt x="434376" y="1643655"/>
                  </a:cubicBezTo>
                  <a:cubicBezTo>
                    <a:pt x="384326" y="1612697"/>
                    <a:pt x="334276" y="1581738"/>
                    <a:pt x="290418" y="1542008"/>
                  </a:cubicBezTo>
                  <a:cubicBezTo>
                    <a:pt x="282678" y="1534784"/>
                    <a:pt x="273907" y="1528076"/>
                    <a:pt x="265651" y="1521369"/>
                  </a:cubicBezTo>
                  <a:cubicBezTo>
                    <a:pt x="259975" y="1516725"/>
                    <a:pt x="259459" y="1512597"/>
                    <a:pt x="262039" y="1505889"/>
                  </a:cubicBezTo>
                  <a:cubicBezTo>
                    <a:pt x="276487" y="1472351"/>
                    <a:pt x="292998" y="1440360"/>
                    <a:pt x="321893" y="1415593"/>
                  </a:cubicBezTo>
                  <a:cubicBezTo>
                    <a:pt x="345112" y="1395986"/>
                    <a:pt x="365235" y="1372767"/>
                    <a:pt x="386906" y="1351096"/>
                  </a:cubicBezTo>
                  <a:cubicBezTo>
                    <a:pt x="393098" y="1345421"/>
                    <a:pt x="394129" y="1341293"/>
                    <a:pt x="387938" y="1334069"/>
                  </a:cubicBezTo>
                  <a:cubicBezTo>
                    <a:pt x="376586" y="1321685"/>
                    <a:pt x="366783" y="1308270"/>
                    <a:pt x="354915" y="1295887"/>
                  </a:cubicBezTo>
                  <a:cubicBezTo>
                    <a:pt x="324989" y="1264412"/>
                    <a:pt x="305382" y="1225714"/>
                    <a:pt x="282678" y="1189595"/>
                  </a:cubicBezTo>
                  <a:cubicBezTo>
                    <a:pt x="277003" y="1180308"/>
                    <a:pt x="272359" y="1178760"/>
                    <a:pt x="262555" y="1183920"/>
                  </a:cubicBezTo>
                  <a:cubicBezTo>
                    <a:pt x="225921" y="1203011"/>
                    <a:pt x="189287" y="1221586"/>
                    <a:pt x="152136" y="1240161"/>
                  </a:cubicBezTo>
                  <a:cubicBezTo>
                    <a:pt x="127885" y="1252545"/>
                    <a:pt x="101054" y="1249965"/>
                    <a:pt x="75256" y="1253577"/>
                  </a:cubicBezTo>
                  <a:cubicBezTo>
                    <a:pt x="69580" y="1254608"/>
                    <a:pt x="67000" y="1249965"/>
                    <a:pt x="65452" y="1245321"/>
                  </a:cubicBezTo>
                  <a:cubicBezTo>
                    <a:pt x="37589" y="1180824"/>
                    <a:pt x="15402" y="1114263"/>
                    <a:pt x="439" y="1045637"/>
                  </a:cubicBezTo>
                  <a:cubicBezTo>
                    <a:pt x="-1109" y="1038414"/>
                    <a:pt x="1471" y="1034286"/>
                    <a:pt x="7663" y="1031190"/>
                  </a:cubicBezTo>
                  <a:cubicBezTo>
                    <a:pt x="23142" y="1022935"/>
                    <a:pt x="38621" y="1014163"/>
                    <a:pt x="54101" y="1005907"/>
                  </a:cubicBezTo>
                  <a:cubicBezTo>
                    <a:pt x="70612" y="997136"/>
                    <a:pt x="89187" y="997652"/>
                    <a:pt x="106730" y="994556"/>
                  </a:cubicBezTo>
                  <a:cubicBezTo>
                    <a:pt x="136657" y="989396"/>
                    <a:pt x="167099" y="984236"/>
                    <a:pt x="197026" y="980109"/>
                  </a:cubicBezTo>
                  <a:cubicBezTo>
                    <a:pt x="207346" y="978560"/>
                    <a:pt x="210442" y="973917"/>
                    <a:pt x="209410" y="964113"/>
                  </a:cubicBezTo>
                  <a:cubicBezTo>
                    <a:pt x="207346" y="941926"/>
                    <a:pt x="206314" y="919739"/>
                    <a:pt x="203734" y="897552"/>
                  </a:cubicBezTo>
                  <a:cubicBezTo>
                    <a:pt x="200122" y="865045"/>
                    <a:pt x="205798" y="833055"/>
                    <a:pt x="208378" y="801064"/>
                  </a:cubicBezTo>
                  <a:cubicBezTo>
                    <a:pt x="210442" y="774749"/>
                    <a:pt x="211474" y="774749"/>
                    <a:pt x="185159" y="770622"/>
                  </a:cubicBezTo>
                  <a:cubicBezTo>
                    <a:pt x="148009" y="764430"/>
                    <a:pt x="110342" y="758754"/>
                    <a:pt x="73192" y="753079"/>
                  </a:cubicBezTo>
                  <a:cubicBezTo>
                    <a:pt x="54616" y="750499"/>
                    <a:pt x="40169" y="738631"/>
                    <a:pt x="24690" y="730375"/>
                  </a:cubicBezTo>
                  <a:cubicBezTo>
                    <a:pt x="-1625" y="715928"/>
                    <a:pt x="-593" y="715928"/>
                    <a:pt x="5599" y="687033"/>
                  </a:cubicBezTo>
                  <a:cubicBezTo>
                    <a:pt x="19014" y="626148"/>
                    <a:pt x="40169" y="568358"/>
                    <a:pt x="63904" y="511085"/>
                  </a:cubicBezTo>
                  <a:cubicBezTo>
                    <a:pt x="68032" y="501281"/>
                    <a:pt x="73192" y="498701"/>
                    <a:pt x="83511" y="499733"/>
                  </a:cubicBezTo>
                  <a:cubicBezTo>
                    <a:pt x="119114" y="502830"/>
                    <a:pt x="152652" y="510053"/>
                    <a:pt x="183611" y="528628"/>
                  </a:cubicBezTo>
                  <a:cubicBezTo>
                    <a:pt x="208894" y="543592"/>
                    <a:pt x="236241" y="555459"/>
                    <a:pt x="262555" y="569390"/>
                  </a:cubicBezTo>
                  <a:cubicBezTo>
                    <a:pt x="271327" y="574034"/>
                    <a:pt x="277003" y="574034"/>
                    <a:pt x="282163" y="564231"/>
                  </a:cubicBezTo>
                  <a:cubicBezTo>
                    <a:pt x="311057" y="511601"/>
                    <a:pt x="346144" y="463615"/>
                    <a:pt x="386906" y="419757"/>
                  </a:cubicBezTo>
                  <a:cubicBezTo>
                    <a:pt x="393614" y="412534"/>
                    <a:pt x="393098" y="408922"/>
                    <a:pt x="386390" y="402214"/>
                  </a:cubicBezTo>
                  <a:cubicBezTo>
                    <a:pt x="355947" y="372287"/>
                    <a:pt x="325505" y="342360"/>
                    <a:pt x="296094" y="311918"/>
                  </a:cubicBezTo>
                  <a:cubicBezTo>
                    <a:pt x="277519" y="292827"/>
                    <a:pt x="271843" y="265996"/>
                    <a:pt x="259975" y="242777"/>
                  </a:cubicBezTo>
                  <a:cubicBezTo>
                    <a:pt x="257912" y="238649"/>
                    <a:pt x="261524" y="235553"/>
                    <a:pt x="264619" y="232973"/>
                  </a:cubicBezTo>
                  <a:cubicBezTo>
                    <a:pt x="317765" y="186019"/>
                    <a:pt x="374007" y="144225"/>
                    <a:pt x="435408" y="109139"/>
                  </a:cubicBezTo>
                  <a:cubicBezTo>
                    <a:pt x="441084" y="105527"/>
                    <a:pt x="445211" y="106043"/>
                    <a:pt x="450371" y="110687"/>
                  </a:cubicBezTo>
                  <a:cubicBezTo>
                    <a:pt x="478750" y="134937"/>
                    <a:pt x="504033" y="160736"/>
                    <a:pt x="518480" y="196339"/>
                  </a:cubicBezTo>
                  <a:cubicBezTo>
                    <a:pt x="530348" y="224202"/>
                    <a:pt x="545827" y="250516"/>
                    <a:pt x="559758" y="277863"/>
                  </a:cubicBezTo>
                  <a:cubicBezTo>
                    <a:pt x="563370" y="285087"/>
                    <a:pt x="566982" y="287151"/>
                    <a:pt x="574722" y="283539"/>
                  </a:cubicBezTo>
                  <a:cubicBezTo>
                    <a:pt x="629415" y="257740"/>
                    <a:pt x="686173" y="238649"/>
                    <a:pt x="746026" y="227813"/>
                  </a:cubicBezTo>
                  <a:cubicBezTo>
                    <a:pt x="756346" y="225750"/>
                    <a:pt x="757893" y="220074"/>
                    <a:pt x="756346" y="211302"/>
                  </a:cubicBezTo>
                  <a:cubicBezTo>
                    <a:pt x="749638" y="171572"/>
                    <a:pt x="743446" y="131326"/>
                    <a:pt x="737254" y="91596"/>
                  </a:cubicBezTo>
                  <a:cubicBezTo>
                    <a:pt x="732611" y="63217"/>
                    <a:pt x="743446" y="37418"/>
                    <a:pt x="748090" y="10587"/>
                  </a:cubicBezTo>
                  <a:cubicBezTo>
                    <a:pt x="749122" y="5427"/>
                    <a:pt x="753766" y="4395"/>
                    <a:pt x="758410" y="4395"/>
                  </a:cubicBezTo>
                  <a:cubicBezTo>
                    <a:pt x="797624" y="4395"/>
                    <a:pt x="837870" y="-1280"/>
                    <a:pt x="879664" y="267"/>
                  </a:cubicBezTo>
                  <a:close/>
                  <a:moveTo>
                    <a:pt x="861605" y="1409918"/>
                  </a:moveTo>
                  <a:cubicBezTo>
                    <a:pt x="1155712" y="1407338"/>
                    <a:pt x="1392030" y="1176180"/>
                    <a:pt x="1392546" y="879493"/>
                  </a:cubicBezTo>
                  <a:cubicBezTo>
                    <a:pt x="1393062" y="585902"/>
                    <a:pt x="1160356" y="349068"/>
                    <a:pt x="862637" y="348552"/>
                  </a:cubicBezTo>
                  <a:cubicBezTo>
                    <a:pt x="568014" y="348036"/>
                    <a:pt x="331180" y="581774"/>
                    <a:pt x="331180" y="879493"/>
                  </a:cubicBezTo>
                  <a:cubicBezTo>
                    <a:pt x="331180" y="1173600"/>
                    <a:pt x="565950" y="1406822"/>
                    <a:pt x="861605" y="1409918"/>
                  </a:cubicBezTo>
                  <a:close/>
                </a:path>
              </a:pathLst>
            </a:custGeom>
            <a:grpFill/>
            <a:ln w="51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9466B1FD-A1C4-48E5-82F9-88F257D12E08}"/>
                </a:ext>
              </a:extLst>
            </p:cNvPr>
            <p:cNvSpPr/>
            <p:nvPr/>
          </p:nvSpPr>
          <p:spPr>
            <a:xfrm>
              <a:off x="4673077" y="4204265"/>
              <a:ext cx="853923" cy="853924"/>
            </a:xfrm>
            <a:custGeom>
              <a:avLst/>
              <a:gdLst>
                <a:gd name="connsiteX0" fmla="*/ 686157 w 1243505"/>
                <a:gd name="connsiteY0" fmla="*/ 1016068 h 1243505"/>
                <a:gd name="connsiteX1" fmla="*/ 560258 w 1243505"/>
                <a:gd name="connsiteY1" fmla="*/ 1016068 h 1243505"/>
                <a:gd name="connsiteX2" fmla="*/ 545811 w 1243505"/>
                <a:gd name="connsiteY2" fmla="*/ 1026903 h 1243505"/>
                <a:gd name="connsiteX3" fmla="*/ 533944 w 1243505"/>
                <a:gd name="connsiteY3" fmla="*/ 1088821 h 1243505"/>
                <a:gd name="connsiteX4" fmla="*/ 505565 w 1243505"/>
                <a:gd name="connsiteY4" fmla="*/ 1169829 h 1243505"/>
                <a:gd name="connsiteX5" fmla="*/ 469447 w 1243505"/>
                <a:gd name="connsiteY5" fmla="*/ 1240002 h 1243505"/>
                <a:gd name="connsiteX6" fmla="*/ 452935 w 1243505"/>
                <a:gd name="connsiteY6" fmla="*/ 1246710 h 1243505"/>
                <a:gd name="connsiteX7" fmla="*/ 305366 w 1243505"/>
                <a:gd name="connsiteY7" fmla="*/ 1185824 h 1243505"/>
                <a:gd name="connsiteX8" fmla="*/ 298142 w 1243505"/>
                <a:gd name="connsiteY8" fmla="*/ 1168281 h 1243505"/>
                <a:gd name="connsiteX9" fmla="*/ 333744 w 1243505"/>
                <a:gd name="connsiteY9" fmla="*/ 1059410 h 1243505"/>
                <a:gd name="connsiteX10" fmla="*/ 342000 w 1243505"/>
                <a:gd name="connsiteY10" fmla="*/ 1043415 h 1243505"/>
                <a:gd name="connsiteX11" fmla="*/ 395662 w 1243505"/>
                <a:gd name="connsiteY11" fmla="*/ 962922 h 1243505"/>
                <a:gd name="connsiteX12" fmla="*/ 393598 w 1243505"/>
                <a:gd name="connsiteY12" fmla="*/ 947959 h 1243505"/>
                <a:gd name="connsiteX13" fmla="*/ 299174 w 1243505"/>
                <a:gd name="connsiteY13" fmla="*/ 853535 h 1243505"/>
                <a:gd name="connsiteX14" fmla="*/ 285243 w 1243505"/>
                <a:gd name="connsiteY14" fmla="*/ 851471 h 1243505"/>
                <a:gd name="connsiteX15" fmla="*/ 230549 w 1243505"/>
                <a:gd name="connsiteY15" fmla="*/ 888106 h 1243505"/>
                <a:gd name="connsiteX16" fmla="*/ 148509 w 1243505"/>
                <a:gd name="connsiteY16" fmla="*/ 926804 h 1243505"/>
                <a:gd name="connsiteX17" fmla="*/ 78852 w 1243505"/>
                <a:gd name="connsiteY17" fmla="*/ 949507 h 1243505"/>
                <a:gd name="connsiteX18" fmla="*/ 62340 w 1243505"/>
                <a:gd name="connsiteY18" fmla="*/ 942799 h 1243505"/>
                <a:gd name="connsiteX19" fmla="*/ 939 w 1243505"/>
                <a:gd name="connsiteY19" fmla="*/ 794198 h 1243505"/>
                <a:gd name="connsiteX20" fmla="*/ 7131 w 1243505"/>
                <a:gd name="connsiteY20" fmla="*/ 778718 h 1243505"/>
                <a:gd name="connsiteX21" fmla="*/ 114454 w 1243505"/>
                <a:gd name="connsiteY21" fmla="*/ 725056 h 1243505"/>
                <a:gd name="connsiteX22" fmla="*/ 189787 w 1243505"/>
                <a:gd name="connsiteY22" fmla="*/ 708545 h 1243505"/>
                <a:gd name="connsiteX23" fmla="*/ 221261 w 1243505"/>
                <a:gd name="connsiteY23" fmla="*/ 702354 h 1243505"/>
                <a:gd name="connsiteX24" fmla="*/ 231581 w 1243505"/>
                <a:gd name="connsiteY24" fmla="*/ 688938 h 1243505"/>
                <a:gd name="connsiteX25" fmla="*/ 225905 w 1243505"/>
                <a:gd name="connsiteY25" fmla="*/ 631149 h 1243505"/>
                <a:gd name="connsiteX26" fmla="*/ 231581 w 1243505"/>
                <a:gd name="connsiteY26" fmla="*/ 559428 h 1243505"/>
                <a:gd name="connsiteX27" fmla="*/ 220745 w 1243505"/>
                <a:gd name="connsiteY27" fmla="*/ 544980 h 1243505"/>
                <a:gd name="connsiteX28" fmla="*/ 172760 w 1243505"/>
                <a:gd name="connsiteY28" fmla="*/ 535693 h 1243505"/>
                <a:gd name="connsiteX29" fmla="*/ 27770 w 1243505"/>
                <a:gd name="connsiteY29" fmla="*/ 478419 h 1243505"/>
                <a:gd name="connsiteX30" fmla="*/ 8163 w 1243505"/>
                <a:gd name="connsiteY30" fmla="*/ 431465 h 1243505"/>
                <a:gd name="connsiteX31" fmla="*/ 62340 w 1243505"/>
                <a:gd name="connsiteY31" fmla="*/ 305051 h 1243505"/>
                <a:gd name="connsiteX32" fmla="*/ 79884 w 1243505"/>
                <a:gd name="connsiteY32" fmla="*/ 297827 h 1243505"/>
                <a:gd name="connsiteX33" fmla="*/ 188755 w 1243505"/>
                <a:gd name="connsiteY33" fmla="*/ 333430 h 1243505"/>
                <a:gd name="connsiteX34" fmla="*/ 204750 w 1243505"/>
                <a:gd name="connsiteY34" fmla="*/ 341685 h 1243505"/>
                <a:gd name="connsiteX35" fmla="*/ 285243 w 1243505"/>
                <a:gd name="connsiteY35" fmla="*/ 395347 h 1243505"/>
                <a:gd name="connsiteX36" fmla="*/ 300206 w 1243505"/>
                <a:gd name="connsiteY36" fmla="*/ 393283 h 1243505"/>
                <a:gd name="connsiteX37" fmla="*/ 393598 w 1243505"/>
                <a:gd name="connsiteY37" fmla="*/ 299891 h 1243505"/>
                <a:gd name="connsiteX38" fmla="*/ 395662 w 1243505"/>
                <a:gd name="connsiteY38" fmla="*/ 283896 h 1243505"/>
                <a:gd name="connsiteX39" fmla="*/ 353352 w 1243505"/>
                <a:gd name="connsiteY39" fmla="*/ 220947 h 1243505"/>
                <a:gd name="connsiteX40" fmla="*/ 325489 w 1243505"/>
                <a:gd name="connsiteY40" fmla="*/ 162125 h 1243505"/>
                <a:gd name="connsiteX41" fmla="*/ 299690 w 1243505"/>
                <a:gd name="connsiteY41" fmla="*/ 82665 h 1243505"/>
                <a:gd name="connsiteX42" fmla="*/ 307946 w 1243505"/>
                <a:gd name="connsiteY42" fmla="*/ 61510 h 1243505"/>
                <a:gd name="connsiteX43" fmla="*/ 451903 w 1243505"/>
                <a:gd name="connsiteY43" fmla="*/ 2172 h 1243505"/>
                <a:gd name="connsiteX44" fmla="*/ 470478 w 1243505"/>
                <a:gd name="connsiteY44" fmla="*/ 9396 h 1243505"/>
                <a:gd name="connsiteX45" fmla="*/ 522076 w 1243505"/>
                <a:gd name="connsiteY45" fmla="*/ 111559 h 1243505"/>
                <a:gd name="connsiteX46" fmla="*/ 537555 w 1243505"/>
                <a:gd name="connsiteY46" fmla="*/ 177605 h 1243505"/>
                <a:gd name="connsiteX47" fmla="*/ 546843 w 1243505"/>
                <a:gd name="connsiteY47" fmla="*/ 223011 h 1243505"/>
                <a:gd name="connsiteX48" fmla="*/ 559227 w 1243505"/>
                <a:gd name="connsiteY48" fmla="*/ 231782 h 1243505"/>
                <a:gd name="connsiteX49" fmla="*/ 688737 w 1243505"/>
                <a:gd name="connsiteY49" fmla="*/ 231782 h 1243505"/>
                <a:gd name="connsiteX50" fmla="*/ 704216 w 1243505"/>
                <a:gd name="connsiteY50" fmla="*/ 220431 h 1243505"/>
                <a:gd name="connsiteX51" fmla="*/ 716600 w 1243505"/>
                <a:gd name="connsiteY51" fmla="*/ 156966 h 1243505"/>
                <a:gd name="connsiteX52" fmla="*/ 743430 w 1243505"/>
                <a:gd name="connsiteY52" fmla="*/ 79569 h 1243505"/>
                <a:gd name="connsiteX53" fmla="*/ 780065 w 1243505"/>
                <a:gd name="connsiteY53" fmla="*/ 8364 h 1243505"/>
                <a:gd name="connsiteX54" fmla="*/ 797092 w 1243505"/>
                <a:gd name="connsiteY54" fmla="*/ 1140 h 1243505"/>
                <a:gd name="connsiteX55" fmla="*/ 944146 w 1243505"/>
                <a:gd name="connsiteY55" fmla="*/ 62542 h 1243505"/>
                <a:gd name="connsiteX56" fmla="*/ 950853 w 1243505"/>
                <a:gd name="connsiteY56" fmla="*/ 79053 h 1243505"/>
                <a:gd name="connsiteX57" fmla="*/ 914735 w 1243505"/>
                <a:gd name="connsiteY57" fmla="*/ 189472 h 1243505"/>
                <a:gd name="connsiteX58" fmla="*/ 906479 w 1243505"/>
                <a:gd name="connsiteY58" fmla="*/ 205467 h 1243505"/>
                <a:gd name="connsiteX59" fmla="*/ 853334 w 1243505"/>
                <a:gd name="connsiteY59" fmla="*/ 284928 h 1243505"/>
                <a:gd name="connsiteX60" fmla="*/ 855398 w 1243505"/>
                <a:gd name="connsiteY60" fmla="*/ 300923 h 1243505"/>
                <a:gd name="connsiteX61" fmla="*/ 948789 w 1243505"/>
                <a:gd name="connsiteY61" fmla="*/ 394315 h 1243505"/>
                <a:gd name="connsiteX62" fmla="*/ 963753 w 1243505"/>
                <a:gd name="connsiteY62" fmla="*/ 396379 h 1243505"/>
                <a:gd name="connsiteX63" fmla="*/ 1015866 w 1243505"/>
                <a:gd name="connsiteY63" fmla="*/ 360777 h 1243505"/>
                <a:gd name="connsiteX64" fmla="*/ 1099971 w 1243505"/>
                <a:gd name="connsiteY64" fmla="*/ 320530 h 1243505"/>
                <a:gd name="connsiteX65" fmla="*/ 1168596 w 1243505"/>
                <a:gd name="connsiteY65" fmla="*/ 298343 h 1243505"/>
                <a:gd name="connsiteX66" fmla="*/ 1186139 w 1243505"/>
                <a:gd name="connsiteY66" fmla="*/ 305567 h 1243505"/>
                <a:gd name="connsiteX67" fmla="*/ 1247024 w 1243505"/>
                <a:gd name="connsiteY67" fmla="*/ 453136 h 1243505"/>
                <a:gd name="connsiteX68" fmla="*/ 1240317 w 1243505"/>
                <a:gd name="connsiteY68" fmla="*/ 469648 h 1243505"/>
                <a:gd name="connsiteX69" fmla="*/ 1135573 w 1243505"/>
                <a:gd name="connsiteY69" fmla="*/ 522277 h 1243505"/>
                <a:gd name="connsiteX70" fmla="*/ 1059209 w 1243505"/>
                <a:gd name="connsiteY70" fmla="*/ 539821 h 1243505"/>
                <a:gd name="connsiteX71" fmla="*/ 1040117 w 1243505"/>
                <a:gd name="connsiteY71" fmla="*/ 543433 h 1243505"/>
                <a:gd name="connsiteX72" fmla="*/ 1017930 w 1243505"/>
                <a:gd name="connsiteY72" fmla="*/ 572843 h 1243505"/>
                <a:gd name="connsiteX73" fmla="*/ 1016383 w 1243505"/>
                <a:gd name="connsiteY73" fmla="*/ 688422 h 1243505"/>
                <a:gd name="connsiteX74" fmla="*/ 1028250 w 1243505"/>
                <a:gd name="connsiteY74" fmla="*/ 703386 h 1243505"/>
                <a:gd name="connsiteX75" fmla="*/ 1118030 w 1243505"/>
                <a:gd name="connsiteY75" fmla="*/ 720929 h 1243505"/>
                <a:gd name="connsiteX76" fmla="*/ 1142281 w 1243505"/>
                <a:gd name="connsiteY76" fmla="*/ 729184 h 1243505"/>
                <a:gd name="connsiteX77" fmla="*/ 1237737 w 1243505"/>
                <a:gd name="connsiteY77" fmla="*/ 777686 h 1243505"/>
                <a:gd name="connsiteX78" fmla="*/ 1246508 w 1243505"/>
                <a:gd name="connsiteY78" fmla="*/ 797809 h 1243505"/>
                <a:gd name="connsiteX79" fmla="*/ 1186655 w 1243505"/>
                <a:gd name="connsiteY79" fmla="*/ 941767 h 1243505"/>
                <a:gd name="connsiteX80" fmla="*/ 1167564 w 1243505"/>
                <a:gd name="connsiteY80" fmla="*/ 950023 h 1243505"/>
                <a:gd name="connsiteX81" fmla="*/ 1062304 w 1243505"/>
                <a:gd name="connsiteY81" fmla="*/ 915452 h 1243505"/>
                <a:gd name="connsiteX82" fmla="*/ 1042697 w 1243505"/>
                <a:gd name="connsiteY82" fmla="*/ 905649 h 1243505"/>
                <a:gd name="connsiteX83" fmla="*/ 963237 w 1243505"/>
                <a:gd name="connsiteY83" fmla="*/ 852503 h 1243505"/>
                <a:gd name="connsiteX84" fmla="*/ 947241 w 1243505"/>
                <a:gd name="connsiteY84" fmla="*/ 855083 h 1243505"/>
                <a:gd name="connsiteX85" fmla="*/ 855914 w 1243505"/>
                <a:gd name="connsiteY85" fmla="*/ 946927 h 1243505"/>
                <a:gd name="connsiteX86" fmla="*/ 853850 w 1243505"/>
                <a:gd name="connsiteY86" fmla="*/ 966018 h 1243505"/>
                <a:gd name="connsiteX87" fmla="*/ 890484 w 1243505"/>
                <a:gd name="connsiteY87" fmla="*/ 1020711 h 1243505"/>
                <a:gd name="connsiteX88" fmla="*/ 925054 w 1243505"/>
                <a:gd name="connsiteY88" fmla="*/ 1093464 h 1243505"/>
                <a:gd name="connsiteX89" fmla="*/ 949821 w 1243505"/>
                <a:gd name="connsiteY89" fmla="*/ 1169313 h 1243505"/>
                <a:gd name="connsiteX90" fmla="*/ 943114 w 1243505"/>
                <a:gd name="connsiteY90" fmla="*/ 1185824 h 1243505"/>
                <a:gd name="connsiteX91" fmla="*/ 794512 w 1243505"/>
                <a:gd name="connsiteY91" fmla="*/ 1247226 h 1243505"/>
                <a:gd name="connsiteX92" fmla="*/ 779033 w 1243505"/>
                <a:gd name="connsiteY92" fmla="*/ 1241034 h 1243505"/>
                <a:gd name="connsiteX93" fmla="*/ 724855 w 1243505"/>
                <a:gd name="connsiteY93" fmla="*/ 1134226 h 1243505"/>
                <a:gd name="connsiteX94" fmla="*/ 718148 w 1243505"/>
                <a:gd name="connsiteY94" fmla="*/ 1105332 h 1243505"/>
                <a:gd name="connsiteX95" fmla="*/ 703184 w 1243505"/>
                <a:gd name="connsiteY95" fmla="*/ 1031031 h 1243505"/>
                <a:gd name="connsiteX96" fmla="*/ 686157 w 1243505"/>
                <a:gd name="connsiteY96" fmla="*/ 1016068 h 1243505"/>
                <a:gd name="connsiteX97" fmla="*/ 624240 w 1243505"/>
                <a:gd name="connsiteY97" fmla="*/ 791102 h 1243505"/>
                <a:gd name="connsiteX98" fmla="*/ 790900 w 1243505"/>
                <a:gd name="connsiteY98" fmla="*/ 623925 h 1243505"/>
                <a:gd name="connsiteX99" fmla="*/ 624240 w 1243505"/>
                <a:gd name="connsiteY99" fmla="*/ 458296 h 1243505"/>
                <a:gd name="connsiteX100" fmla="*/ 458095 w 1243505"/>
                <a:gd name="connsiteY100" fmla="*/ 624441 h 1243505"/>
                <a:gd name="connsiteX101" fmla="*/ 624240 w 1243505"/>
                <a:gd name="connsiteY101" fmla="*/ 791102 h 1243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</a:cxnLst>
              <a:rect l="l" t="t" r="r" b="b"/>
              <a:pathLst>
                <a:path w="1243505" h="1243505">
                  <a:moveTo>
                    <a:pt x="686157" y="1016068"/>
                  </a:moveTo>
                  <a:cubicBezTo>
                    <a:pt x="644363" y="1024840"/>
                    <a:pt x="602053" y="1021743"/>
                    <a:pt x="560258" y="1016068"/>
                  </a:cubicBezTo>
                  <a:cubicBezTo>
                    <a:pt x="550455" y="1015036"/>
                    <a:pt x="547359" y="1018132"/>
                    <a:pt x="545811" y="1026903"/>
                  </a:cubicBezTo>
                  <a:cubicBezTo>
                    <a:pt x="542199" y="1047542"/>
                    <a:pt x="537039" y="1068181"/>
                    <a:pt x="533944" y="1088821"/>
                  </a:cubicBezTo>
                  <a:cubicBezTo>
                    <a:pt x="529816" y="1117715"/>
                    <a:pt x="519496" y="1144030"/>
                    <a:pt x="505565" y="1169829"/>
                  </a:cubicBezTo>
                  <a:cubicBezTo>
                    <a:pt x="492666" y="1192532"/>
                    <a:pt x="481314" y="1216267"/>
                    <a:pt x="469447" y="1240002"/>
                  </a:cubicBezTo>
                  <a:cubicBezTo>
                    <a:pt x="465835" y="1247741"/>
                    <a:pt x="461191" y="1249290"/>
                    <a:pt x="452935" y="1246710"/>
                  </a:cubicBezTo>
                  <a:cubicBezTo>
                    <a:pt x="401853" y="1231230"/>
                    <a:pt x="352836" y="1211107"/>
                    <a:pt x="305366" y="1185824"/>
                  </a:cubicBezTo>
                  <a:cubicBezTo>
                    <a:pt x="297110" y="1181696"/>
                    <a:pt x="295562" y="1177053"/>
                    <a:pt x="298142" y="1168281"/>
                  </a:cubicBezTo>
                  <a:cubicBezTo>
                    <a:pt x="310525" y="1132163"/>
                    <a:pt x="321877" y="1095528"/>
                    <a:pt x="333744" y="1059410"/>
                  </a:cubicBezTo>
                  <a:cubicBezTo>
                    <a:pt x="335808" y="1053734"/>
                    <a:pt x="338904" y="1048574"/>
                    <a:pt x="342000" y="1043415"/>
                  </a:cubicBezTo>
                  <a:cubicBezTo>
                    <a:pt x="360059" y="1016584"/>
                    <a:pt x="377602" y="989753"/>
                    <a:pt x="395662" y="962922"/>
                  </a:cubicBezTo>
                  <a:cubicBezTo>
                    <a:pt x="399790" y="956730"/>
                    <a:pt x="399790" y="952603"/>
                    <a:pt x="393598" y="947959"/>
                  </a:cubicBezTo>
                  <a:cubicBezTo>
                    <a:pt x="356963" y="921644"/>
                    <a:pt x="326005" y="889653"/>
                    <a:pt x="299174" y="853535"/>
                  </a:cubicBezTo>
                  <a:cubicBezTo>
                    <a:pt x="295046" y="847859"/>
                    <a:pt x="290918" y="847859"/>
                    <a:pt x="285243" y="851471"/>
                  </a:cubicBezTo>
                  <a:cubicBezTo>
                    <a:pt x="267183" y="863855"/>
                    <a:pt x="248092" y="875206"/>
                    <a:pt x="230549" y="888106"/>
                  </a:cubicBezTo>
                  <a:cubicBezTo>
                    <a:pt x="205782" y="906681"/>
                    <a:pt x="178435" y="918548"/>
                    <a:pt x="148509" y="926804"/>
                  </a:cubicBezTo>
                  <a:cubicBezTo>
                    <a:pt x="124774" y="933511"/>
                    <a:pt x="101555" y="941767"/>
                    <a:pt x="78852" y="949507"/>
                  </a:cubicBezTo>
                  <a:cubicBezTo>
                    <a:pt x="71112" y="952087"/>
                    <a:pt x="66468" y="950539"/>
                    <a:pt x="62340" y="942799"/>
                  </a:cubicBezTo>
                  <a:cubicBezTo>
                    <a:pt x="36541" y="895329"/>
                    <a:pt x="15902" y="845795"/>
                    <a:pt x="939" y="794198"/>
                  </a:cubicBezTo>
                  <a:cubicBezTo>
                    <a:pt x="-1125" y="786458"/>
                    <a:pt x="-93" y="782330"/>
                    <a:pt x="7131" y="778718"/>
                  </a:cubicBezTo>
                  <a:cubicBezTo>
                    <a:pt x="42733" y="760659"/>
                    <a:pt x="77820" y="741052"/>
                    <a:pt x="114454" y="725056"/>
                  </a:cubicBezTo>
                  <a:cubicBezTo>
                    <a:pt x="137673" y="714737"/>
                    <a:pt x="164504" y="714221"/>
                    <a:pt x="189787" y="708545"/>
                  </a:cubicBezTo>
                  <a:cubicBezTo>
                    <a:pt x="200106" y="705965"/>
                    <a:pt x="210942" y="704417"/>
                    <a:pt x="221261" y="702354"/>
                  </a:cubicBezTo>
                  <a:cubicBezTo>
                    <a:pt x="229001" y="700806"/>
                    <a:pt x="233129" y="698226"/>
                    <a:pt x="231581" y="688938"/>
                  </a:cubicBezTo>
                  <a:cubicBezTo>
                    <a:pt x="229001" y="669847"/>
                    <a:pt x="226937" y="650756"/>
                    <a:pt x="225905" y="631149"/>
                  </a:cubicBezTo>
                  <a:cubicBezTo>
                    <a:pt x="224873" y="606898"/>
                    <a:pt x="229517" y="583163"/>
                    <a:pt x="231581" y="559428"/>
                  </a:cubicBezTo>
                  <a:cubicBezTo>
                    <a:pt x="232613" y="549624"/>
                    <a:pt x="229001" y="546528"/>
                    <a:pt x="220745" y="544980"/>
                  </a:cubicBezTo>
                  <a:cubicBezTo>
                    <a:pt x="204750" y="542401"/>
                    <a:pt x="188755" y="537757"/>
                    <a:pt x="172760" y="535693"/>
                  </a:cubicBezTo>
                  <a:cubicBezTo>
                    <a:pt x="118582" y="530533"/>
                    <a:pt x="74208" y="502154"/>
                    <a:pt x="27770" y="478419"/>
                  </a:cubicBezTo>
                  <a:cubicBezTo>
                    <a:pt x="-2157" y="463456"/>
                    <a:pt x="-1125" y="463456"/>
                    <a:pt x="8163" y="431465"/>
                  </a:cubicBezTo>
                  <a:cubicBezTo>
                    <a:pt x="21062" y="387091"/>
                    <a:pt x="41701" y="345813"/>
                    <a:pt x="62340" y="305051"/>
                  </a:cubicBezTo>
                  <a:cubicBezTo>
                    <a:pt x="66468" y="296795"/>
                    <a:pt x="71112" y="295247"/>
                    <a:pt x="79884" y="297827"/>
                  </a:cubicBezTo>
                  <a:cubicBezTo>
                    <a:pt x="116002" y="310211"/>
                    <a:pt x="152636" y="321562"/>
                    <a:pt x="188755" y="333430"/>
                  </a:cubicBezTo>
                  <a:cubicBezTo>
                    <a:pt x="194430" y="335494"/>
                    <a:pt x="199590" y="338589"/>
                    <a:pt x="204750" y="341685"/>
                  </a:cubicBezTo>
                  <a:cubicBezTo>
                    <a:pt x="231581" y="359745"/>
                    <a:pt x="258412" y="377288"/>
                    <a:pt x="285243" y="395347"/>
                  </a:cubicBezTo>
                  <a:cubicBezTo>
                    <a:pt x="291434" y="399475"/>
                    <a:pt x="295562" y="399475"/>
                    <a:pt x="300206" y="393283"/>
                  </a:cubicBezTo>
                  <a:cubicBezTo>
                    <a:pt x="326521" y="357165"/>
                    <a:pt x="357479" y="326206"/>
                    <a:pt x="393598" y="299891"/>
                  </a:cubicBezTo>
                  <a:cubicBezTo>
                    <a:pt x="400305" y="294731"/>
                    <a:pt x="399790" y="290604"/>
                    <a:pt x="395662" y="283896"/>
                  </a:cubicBezTo>
                  <a:cubicBezTo>
                    <a:pt x="381214" y="263257"/>
                    <a:pt x="367799" y="241586"/>
                    <a:pt x="353352" y="220947"/>
                  </a:cubicBezTo>
                  <a:cubicBezTo>
                    <a:pt x="340452" y="202887"/>
                    <a:pt x="331681" y="183280"/>
                    <a:pt x="325489" y="162125"/>
                  </a:cubicBezTo>
                  <a:cubicBezTo>
                    <a:pt x="317749" y="135294"/>
                    <a:pt x="308978" y="108980"/>
                    <a:pt x="299690" y="82665"/>
                  </a:cubicBezTo>
                  <a:cubicBezTo>
                    <a:pt x="296078" y="72345"/>
                    <a:pt x="297626" y="66669"/>
                    <a:pt x="307946" y="61510"/>
                  </a:cubicBezTo>
                  <a:cubicBezTo>
                    <a:pt x="353867" y="37259"/>
                    <a:pt x="401853" y="17136"/>
                    <a:pt x="451903" y="2172"/>
                  </a:cubicBezTo>
                  <a:cubicBezTo>
                    <a:pt x="461191" y="-408"/>
                    <a:pt x="465835" y="624"/>
                    <a:pt x="470478" y="9396"/>
                  </a:cubicBezTo>
                  <a:cubicBezTo>
                    <a:pt x="487506" y="43451"/>
                    <a:pt x="505565" y="77505"/>
                    <a:pt x="522076" y="111559"/>
                  </a:cubicBezTo>
                  <a:cubicBezTo>
                    <a:pt x="531880" y="132199"/>
                    <a:pt x="532396" y="155934"/>
                    <a:pt x="537555" y="177605"/>
                  </a:cubicBezTo>
                  <a:cubicBezTo>
                    <a:pt x="541167" y="192568"/>
                    <a:pt x="543747" y="208047"/>
                    <a:pt x="546843" y="223011"/>
                  </a:cubicBezTo>
                  <a:cubicBezTo>
                    <a:pt x="548391" y="230234"/>
                    <a:pt x="550971" y="232814"/>
                    <a:pt x="559227" y="231782"/>
                  </a:cubicBezTo>
                  <a:cubicBezTo>
                    <a:pt x="602569" y="225590"/>
                    <a:pt x="645395" y="225074"/>
                    <a:pt x="688737" y="231782"/>
                  </a:cubicBezTo>
                  <a:cubicBezTo>
                    <a:pt x="699056" y="233330"/>
                    <a:pt x="702152" y="229718"/>
                    <a:pt x="704216" y="220431"/>
                  </a:cubicBezTo>
                  <a:cubicBezTo>
                    <a:pt x="707828" y="199276"/>
                    <a:pt x="713504" y="178636"/>
                    <a:pt x="716600" y="156966"/>
                  </a:cubicBezTo>
                  <a:cubicBezTo>
                    <a:pt x="720727" y="129103"/>
                    <a:pt x="730531" y="103820"/>
                    <a:pt x="743430" y="79569"/>
                  </a:cubicBezTo>
                  <a:cubicBezTo>
                    <a:pt x="756330" y="56350"/>
                    <a:pt x="768197" y="32099"/>
                    <a:pt x="780065" y="8364"/>
                  </a:cubicBezTo>
                  <a:cubicBezTo>
                    <a:pt x="784193" y="108"/>
                    <a:pt x="788320" y="-1440"/>
                    <a:pt x="797092" y="1140"/>
                  </a:cubicBezTo>
                  <a:cubicBezTo>
                    <a:pt x="848174" y="16620"/>
                    <a:pt x="897192" y="36743"/>
                    <a:pt x="944146" y="62542"/>
                  </a:cubicBezTo>
                  <a:cubicBezTo>
                    <a:pt x="951885" y="66669"/>
                    <a:pt x="953949" y="70797"/>
                    <a:pt x="950853" y="79053"/>
                  </a:cubicBezTo>
                  <a:cubicBezTo>
                    <a:pt x="938470" y="115687"/>
                    <a:pt x="927118" y="152838"/>
                    <a:pt x="914735" y="189472"/>
                  </a:cubicBezTo>
                  <a:cubicBezTo>
                    <a:pt x="912671" y="195148"/>
                    <a:pt x="909575" y="200308"/>
                    <a:pt x="906479" y="205467"/>
                  </a:cubicBezTo>
                  <a:cubicBezTo>
                    <a:pt x="888936" y="231782"/>
                    <a:pt x="871393" y="258613"/>
                    <a:pt x="853334" y="284928"/>
                  </a:cubicBezTo>
                  <a:cubicBezTo>
                    <a:pt x="848690" y="291635"/>
                    <a:pt x="849206" y="296279"/>
                    <a:pt x="855398" y="300923"/>
                  </a:cubicBezTo>
                  <a:cubicBezTo>
                    <a:pt x="891516" y="327238"/>
                    <a:pt x="922475" y="358713"/>
                    <a:pt x="948789" y="394315"/>
                  </a:cubicBezTo>
                  <a:cubicBezTo>
                    <a:pt x="953433" y="401023"/>
                    <a:pt x="957561" y="400507"/>
                    <a:pt x="963753" y="396379"/>
                  </a:cubicBezTo>
                  <a:cubicBezTo>
                    <a:pt x="981296" y="384511"/>
                    <a:pt x="999355" y="373676"/>
                    <a:pt x="1015866" y="360777"/>
                  </a:cubicBezTo>
                  <a:cubicBezTo>
                    <a:pt x="1041149" y="341685"/>
                    <a:pt x="1069528" y="329302"/>
                    <a:pt x="1099971" y="320530"/>
                  </a:cubicBezTo>
                  <a:cubicBezTo>
                    <a:pt x="1123190" y="314339"/>
                    <a:pt x="1145893" y="306083"/>
                    <a:pt x="1168596" y="298343"/>
                  </a:cubicBezTo>
                  <a:cubicBezTo>
                    <a:pt x="1177368" y="295247"/>
                    <a:pt x="1181495" y="297311"/>
                    <a:pt x="1186139" y="305567"/>
                  </a:cubicBezTo>
                  <a:cubicBezTo>
                    <a:pt x="1211422" y="352521"/>
                    <a:pt x="1232061" y="401539"/>
                    <a:pt x="1247024" y="453136"/>
                  </a:cubicBezTo>
                  <a:cubicBezTo>
                    <a:pt x="1249604" y="461392"/>
                    <a:pt x="1247540" y="465520"/>
                    <a:pt x="1240317" y="469648"/>
                  </a:cubicBezTo>
                  <a:cubicBezTo>
                    <a:pt x="1205230" y="487191"/>
                    <a:pt x="1171176" y="506282"/>
                    <a:pt x="1135573" y="522277"/>
                  </a:cubicBezTo>
                  <a:cubicBezTo>
                    <a:pt x="1111838" y="533113"/>
                    <a:pt x="1084492" y="533629"/>
                    <a:pt x="1059209" y="539821"/>
                  </a:cubicBezTo>
                  <a:cubicBezTo>
                    <a:pt x="1053017" y="541369"/>
                    <a:pt x="1046309" y="542401"/>
                    <a:pt x="1040117" y="543433"/>
                  </a:cubicBezTo>
                  <a:cubicBezTo>
                    <a:pt x="1015866" y="548592"/>
                    <a:pt x="1014318" y="548592"/>
                    <a:pt x="1017930" y="572843"/>
                  </a:cubicBezTo>
                  <a:cubicBezTo>
                    <a:pt x="1024122" y="611541"/>
                    <a:pt x="1021542" y="649724"/>
                    <a:pt x="1016383" y="688422"/>
                  </a:cubicBezTo>
                  <a:cubicBezTo>
                    <a:pt x="1014835" y="699258"/>
                    <a:pt x="1019478" y="701837"/>
                    <a:pt x="1028250" y="703386"/>
                  </a:cubicBezTo>
                  <a:cubicBezTo>
                    <a:pt x="1058177" y="709061"/>
                    <a:pt x="1088103" y="715253"/>
                    <a:pt x="1118030" y="720929"/>
                  </a:cubicBezTo>
                  <a:cubicBezTo>
                    <a:pt x="1126802" y="722477"/>
                    <a:pt x="1134541" y="725572"/>
                    <a:pt x="1142281" y="729184"/>
                  </a:cubicBezTo>
                  <a:cubicBezTo>
                    <a:pt x="1173756" y="745696"/>
                    <a:pt x="1205746" y="762207"/>
                    <a:pt x="1237737" y="777686"/>
                  </a:cubicBezTo>
                  <a:cubicBezTo>
                    <a:pt x="1247024" y="782330"/>
                    <a:pt x="1249604" y="786974"/>
                    <a:pt x="1246508" y="797809"/>
                  </a:cubicBezTo>
                  <a:cubicBezTo>
                    <a:pt x="1231545" y="847859"/>
                    <a:pt x="1211422" y="895329"/>
                    <a:pt x="1186655" y="941767"/>
                  </a:cubicBezTo>
                  <a:cubicBezTo>
                    <a:pt x="1182011" y="950539"/>
                    <a:pt x="1177368" y="953634"/>
                    <a:pt x="1167564" y="950023"/>
                  </a:cubicBezTo>
                  <a:cubicBezTo>
                    <a:pt x="1132477" y="938155"/>
                    <a:pt x="1097391" y="926804"/>
                    <a:pt x="1062304" y="915452"/>
                  </a:cubicBezTo>
                  <a:cubicBezTo>
                    <a:pt x="1055081" y="913388"/>
                    <a:pt x="1048889" y="909776"/>
                    <a:pt x="1042697" y="905649"/>
                  </a:cubicBezTo>
                  <a:cubicBezTo>
                    <a:pt x="1016383" y="888106"/>
                    <a:pt x="989552" y="870562"/>
                    <a:pt x="963237" y="852503"/>
                  </a:cubicBezTo>
                  <a:cubicBezTo>
                    <a:pt x="956529" y="847859"/>
                    <a:pt x="952401" y="848375"/>
                    <a:pt x="947241" y="855083"/>
                  </a:cubicBezTo>
                  <a:cubicBezTo>
                    <a:pt x="921443" y="890169"/>
                    <a:pt x="891000" y="921128"/>
                    <a:pt x="855914" y="946927"/>
                  </a:cubicBezTo>
                  <a:cubicBezTo>
                    <a:pt x="847658" y="953119"/>
                    <a:pt x="848174" y="958278"/>
                    <a:pt x="853850" y="966018"/>
                  </a:cubicBezTo>
                  <a:cubicBezTo>
                    <a:pt x="866749" y="984077"/>
                    <a:pt x="877584" y="1002652"/>
                    <a:pt x="890484" y="1020711"/>
                  </a:cubicBezTo>
                  <a:cubicBezTo>
                    <a:pt x="906479" y="1042899"/>
                    <a:pt x="917831" y="1067149"/>
                    <a:pt x="925054" y="1093464"/>
                  </a:cubicBezTo>
                  <a:cubicBezTo>
                    <a:pt x="932278" y="1119263"/>
                    <a:pt x="941050" y="1144030"/>
                    <a:pt x="949821" y="1169313"/>
                  </a:cubicBezTo>
                  <a:cubicBezTo>
                    <a:pt x="952401" y="1177053"/>
                    <a:pt x="950853" y="1181696"/>
                    <a:pt x="943114" y="1185824"/>
                  </a:cubicBezTo>
                  <a:cubicBezTo>
                    <a:pt x="895644" y="1211623"/>
                    <a:pt x="846110" y="1232262"/>
                    <a:pt x="794512" y="1247226"/>
                  </a:cubicBezTo>
                  <a:cubicBezTo>
                    <a:pt x="786773" y="1249290"/>
                    <a:pt x="782645" y="1248258"/>
                    <a:pt x="779033" y="1241034"/>
                  </a:cubicBezTo>
                  <a:cubicBezTo>
                    <a:pt x="760974" y="1205432"/>
                    <a:pt x="742399" y="1169829"/>
                    <a:pt x="724855" y="1134226"/>
                  </a:cubicBezTo>
                  <a:cubicBezTo>
                    <a:pt x="720211" y="1125455"/>
                    <a:pt x="720211" y="1115136"/>
                    <a:pt x="718148" y="1105332"/>
                  </a:cubicBezTo>
                  <a:cubicBezTo>
                    <a:pt x="712988" y="1080565"/>
                    <a:pt x="708344" y="1055798"/>
                    <a:pt x="703184" y="1031031"/>
                  </a:cubicBezTo>
                  <a:cubicBezTo>
                    <a:pt x="700604" y="1015552"/>
                    <a:pt x="701120" y="1015552"/>
                    <a:pt x="686157" y="1016068"/>
                  </a:cubicBezTo>
                  <a:close/>
                  <a:moveTo>
                    <a:pt x="624240" y="791102"/>
                  </a:moveTo>
                  <a:cubicBezTo>
                    <a:pt x="720211" y="788522"/>
                    <a:pt x="791416" y="716801"/>
                    <a:pt x="790900" y="623925"/>
                  </a:cubicBezTo>
                  <a:cubicBezTo>
                    <a:pt x="790384" y="528985"/>
                    <a:pt x="717632" y="457780"/>
                    <a:pt x="624240" y="458296"/>
                  </a:cubicBezTo>
                  <a:cubicBezTo>
                    <a:pt x="530332" y="458296"/>
                    <a:pt x="458095" y="530533"/>
                    <a:pt x="458095" y="624441"/>
                  </a:cubicBezTo>
                  <a:cubicBezTo>
                    <a:pt x="458095" y="718349"/>
                    <a:pt x="530848" y="788522"/>
                    <a:pt x="624240" y="791102"/>
                  </a:cubicBezTo>
                  <a:close/>
                </a:path>
              </a:pathLst>
            </a:custGeom>
            <a:grpFill/>
            <a:ln w="51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84777225-2D61-4C66-B198-7D070CA8492F}"/>
                </a:ext>
              </a:extLst>
            </p:cNvPr>
            <p:cNvGrpSpPr/>
            <p:nvPr/>
          </p:nvGrpSpPr>
          <p:grpSpPr>
            <a:xfrm rot="2246763">
              <a:off x="932314" y="2900862"/>
              <a:ext cx="3054679" cy="1218879"/>
              <a:chOff x="1727363" y="3556278"/>
              <a:chExt cx="3054679" cy="1218879"/>
            </a:xfrm>
            <a:grpFill/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83E67246-C28F-4691-8DF2-21886E878D44}"/>
                  </a:ext>
                </a:extLst>
              </p:cNvPr>
              <p:cNvSpPr/>
              <p:nvPr/>
            </p:nvSpPr>
            <p:spPr>
              <a:xfrm>
                <a:off x="2753518" y="3683131"/>
                <a:ext cx="796648" cy="799367"/>
              </a:xfrm>
              <a:custGeom>
                <a:avLst/>
                <a:gdLst>
                  <a:gd name="connsiteX0" fmla="*/ 817500 w 1511813"/>
                  <a:gd name="connsiteY0" fmla="*/ 1518710 h 1516973"/>
                  <a:gd name="connsiteX1" fmla="*/ 802537 w 1511813"/>
                  <a:gd name="connsiteY1" fmla="*/ 1507875 h 1516973"/>
                  <a:gd name="connsiteX2" fmla="*/ 780866 w 1511813"/>
                  <a:gd name="connsiteY2" fmla="*/ 1442862 h 1516973"/>
                  <a:gd name="connsiteX3" fmla="*/ 776738 w 1511813"/>
                  <a:gd name="connsiteY3" fmla="*/ 1385072 h 1516973"/>
                  <a:gd name="connsiteX4" fmla="*/ 760227 w 1511813"/>
                  <a:gd name="connsiteY4" fmla="*/ 1369593 h 1516973"/>
                  <a:gd name="connsiteX5" fmla="*/ 694698 w 1511813"/>
                  <a:gd name="connsiteY5" fmla="*/ 1366497 h 1516973"/>
                  <a:gd name="connsiteX6" fmla="*/ 676638 w 1511813"/>
                  <a:gd name="connsiteY6" fmla="*/ 1379912 h 1516973"/>
                  <a:gd name="connsiteX7" fmla="*/ 637940 w 1511813"/>
                  <a:gd name="connsiteY7" fmla="*/ 1501683 h 1516973"/>
                  <a:gd name="connsiteX8" fmla="*/ 622977 w 1511813"/>
                  <a:gd name="connsiteY8" fmla="*/ 1508907 h 1516973"/>
                  <a:gd name="connsiteX9" fmla="*/ 430517 w 1511813"/>
                  <a:gd name="connsiteY9" fmla="*/ 1447505 h 1516973"/>
                  <a:gd name="connsiteX10" fmla="*/ 422262 w 1511813"/>
                  <a:gd name="connsiteY10" fmla="*/ 1431510 h 1516973"/>
                  <a:gd name="connsiteX11" fmla="*/ 435677 w 1511813"/>
                  <a:gd name="connsiteY11" fmla="*/ 1364433 h 1516973"/>
                  <a:gd name="connsiteX12" fmla="*/ 461992 w 1511813"/>
                  <a:gd name="connsiteY12" fmla="*/ 1310255 h 1516973"/>
                  <a:gd name="connsiteX13" fmla="*/ 456316 w 1511813"/>
                  <a:gd name="connsiteY13" fmla="*/ 1290132 h 1516973"/>
                  <a:gd name="connsiteX14" fmla="*/ 395431 w 1511813"/>
                  <a:gd name="connsiteY14" fmla="*/ 1251434 h 1516973"/>
                  <a:gd name="connsiteX15" fmla="*/ 378919 w 1511813"/>
                  <a:gd name="connsiteY15" fmla="*/ 1254014 h 1516973"/>
                  <a:gd name="connsiteX16" fmla="*/ 283464 w 1511813"/>
                  <a:gd name="connsiteY16" fmla="*/ 1342246 h 1516973"/>
                  <a:gd name="connsiteX17" fmla="*/ 265920 w 1511813"/>
                  <a:gd name="connsiteY17" fmla="*/ 1341214 h 1516973"/>
                  <a:gd name="connsiteX18" fmla="*/ 130218 w 1511813"/>
                  <a:gd name="connsiteY18" fmla="*/ 1191580 h 1516973"/>
                  <a:gd name="connsiteX19" fmla="*/ 130734 w 1511813"/>
                  <a:gd name="connsiteY19" fmla="*/ 1174553 h 1516973"/>
                  <a:gd name="connsiteX20" fmla="*/ 177688 w 1511813"/>
                  <a:gd name="connsiteY20" fmla="*/ 1121408 h 1516973"/>
                  <a:gd name="connsiteX21" fmla="*/ 225674 w 1511813"/>
                  <a:gd name="connsiteY21" fmla="*/ 1089417 h 1516973"/>
                  <a:gd name="connsiteX22" fmla="*/ 230834 w 1511813"/>
                  <a:gd name="connsiteY22" fmla="*/ 1067230 h 1516973"/>
                  <a:gd name="connsiteX23" fmla="*/ 198327 w 1511813"/>
                  <a:gd name="connsiteY23" fmla="*/ 1004281 h 1516973"/>
                  <a:gd name="connsiteX24" fmla="*/ 183880 w 1511813"/>
                  <a:gd name="connsiteY24" fmla="*/ 998089 h 1516973"/>
                  <a:gd name="connsiteX25" fmla="*/ 67269 w 1511813"/>
                  <a:gd name="connsiteY25" fmla="*/ 1025952 h 1516973"/>
                  <a:gd name="connsiteX26" fmla="*/ 55918 w 1511813"/>
                  <a:gd name="connsiteY26" fmla="*/ 1027500 h 1516973"/>
                  <a:gd name="connsiteX27" fmla="*/ 41470 w 1511813"/>
                  <a:gd name="connsiteY27" fmla="*/ 1018212 h 1516973"/>
                  <a:gd name="connsiteX28" fmla="*/ 1224 w 1511813"/>
                  <a:gd name="connsiteY28" fmla="*/ 841748 h 1516973"/>
                  <a:gd name="connsiteX29" fmla="*/ 30635 w 1511813"/>
                  <a:gd name="connsiteY29" fmla="*/ 797374 h 1516973"/>
                  <a:gd name="connsiteX30" fmla="*/ 134862 w 1511813"/>
                  <a:gd name="connsiteY30" fmla="*/ 778799 h 1516973"/>
                  <a:gd name="connsiteX31" fmla="*/ 147246 w 1511813"/>
                  <a:gd name="connsiteY31" fmla="*/ 765899 h 1516973"/>
                  <a:gd name="connsiteX32" fmla="*/ 150342 w 1511813"/>
                  <a:gd name="connsiteY32" fmla="*/ 696242 h 1516973"/>
                  <a:gd name="connsiteX33" fmla="*/ 137442 w 1511813"/>
                  <a:gd name="connsiteY33" fmla="*/ 678699 h 1516973"/>
                  <a:gd name="connsiteX34" fmla="*/ 14639 w 1511813"/>
                  <a:gd name="connsiteY34" fmla="*/ 639485 h 1516973"/>
                  <a:gd name="connsiteX35" fmla="*/ 7932 w 1511813"/>
                  <a:gd name="connsiteY35" fmla="*/ 625037 h 1516973"/>
                  <a:gd name="connsiteX36" fmla="*/ 69333 w 1511813"/>
                  <a:gd name="connsiteY36" fmla="*/ 432578 h 1516973"/>
                  <a:gd name="connsiteX37" fmla="*/ 86360 w 1511813"/>
                  <a:gd name="connsiteY37" fmla="*/ 423806 h 1516973"/>
                  <a:gd name="connsiteX38" fmla="*/ 150858 w 1511813"/>
                  <a:gd name="connsiteY38" fmla="*/ 436706 h 1516973"/>
                  <a:gd name="connsiteX39" fmla="*/ 206583 w 1511813"/>
                  <a:gd name="connsiteY39" fmla="*/ 463536 h 1516973"/>
                  <a:gd name="connsiteX40" fmla="*/ 227738 w 1511813"/>
                  <a:gd name="connsiteY40" fmla="*/ 457345 h 1516973"/>
                  <a:gd name="connsiteX41" fmla="*/ 266952 w 1511813"/>
                  <a:gd name="connsiteY41" fmla="*/ 396459 h 1516973"/>
                  <a:gd name="connsiteX42" fmla="*/ 264373 w 1511813"/>
                  <a:gd name="connsiteY42" fmla="*/ 380980 h 1516973"/>
                  <a:gd name="connsiteX43" fmla="*/ 175108 w 1511813"/>
                  <a:gd name="connsiteY43" fmla="*/ 284492 h 1516973"/>
                  <a:gd name="connsiteX44" fmla="*/ 176140 w 1511813"/>
                  <a:gd name="connsiteY44" fmla="*/ 267981 h 1516973"/>
                  <a:gd name="connsiteX45" fmla="*/ 325258 w 1511813"/>
                  <a:gd name="connsiteY45" fmla="*/ 132279 h 1516973"/>
                  <a:gd name="connsiteX46" fmla="*/ 343317 w 1511813"/>
                  <a:gd name="connsiteY46" fmla="*/ 132795 h 1516973"/>
                  <a:gd name="connsiteX47" fmla="*/ 395431 w 1511813"/>
                  <a:gd name="connsiteY47" fmla="*/ 178717 h 1516973"/>
                  <a:gd name="connsiteX48" fmla="*/ 426389 w 1511813"/>
                  <a:gd name="connsiteY48" fmla="*/ 224639 h 1516973"/>
                  <a:gd name="connsiteX49" fmla="*/ 451156 w 1511813"/>
                  <a:gd name="connsiteY49" fmla="*/ 231347 h 1516973"/>
                  <a:gd name="connsiteX50" fmla="*/ 512042 w 1511813"/>
                  <a:gd name="connsiteY50" fmla="*/ 200388 h 1516973"/>
                  <a:gd name="connsiteX51" fmla="*/ 518233 w 1511813"/>
                  <a:gd name="connsiteY51" fmla="*/ 183877 h 1516973"/>
                  <a:gd name="connsiteX52" fmla="*/ 491403 w 1511813"/>
                  <a:gd name="connsiteY52" fmla="*/ 69846 h 1516973"/>
                  <a:gd name="connsiteX53" fmla="*/ 489855 w 1511813"/>
                  <a:gd name="connsiteY53" fmla="*/ 58494 h 1516973"/>
                  <a:gd name="connsiteX54" fmla="*/ 499658 w 1511813"/>
                  <a:gd name="connsiteY54" fmla="*/ 43015 h 1516973"/>
                  <a:gd name="connsiteX55" fmla="*/ 695730 w 1511813"/>
                  <a:gd name="connsiteY55" fmla="*/ 189 h 1516973"/>
                  <a:gd name="connsiteX56" fmla="*/ 713273 w 1511813"/>
                  <a:gd name="connsiteY56" fmla="*/ 12056 h 1516973"/>
                  <a:gd name="connsiteX57" fmla="*/ 721012 w 1511813"/>
                  <a:gd name="connsiteY57" fmla="*/ 35275 h 1516973"/>
                  <a:gd name="connsiteX58" fmla="*/ 738556 w 1511813"/>
                  <a:gd name="connsiteY58" fmla="*/ 134343 h 1516973"/>
                  <a:gd name="connsiteX59" fmla="*/ 753519 w 1511813"/>
                  <a:gd name="connsiteY59" fmla="*/ 148790 h 1516973"/>
                  <a:gd name="connsiteX60" fmla="*/ 820596 w 1511813"/>
                  <a:gd name="connsiteY60" fmla="*/ 151886 h 1516973"/>
                  <a:gd name="connsiteX61" fmla="*/ 838655 w 1511813"/>
                  <a:gd name="connsiteY61" fmla="*/ 138471 h 1516973"/>
                  <a:gd name="connsiteX62" fmla="*/ 877354 w 1511813"/>
                  <a:gd name="connsiteY62" fmla="*/ 16700 h 1516973"/>
                  <a:gd name="connsiteX63" fmla="*/ 892317 w 1511813"/>
                  <a:gd name="connsiteY63" fmla="*/ 9476 h 1516973"/>
                  <a:gd name="connsiteX64" fmla="*/ 1084777 w 1511813"/>
                  <a:gd name="connsiteY64" fmla="*/ 70878 h 1516973"/>
                  <a:gd name="connsiteX65" fmla="*/ 1093032 w 1511813"/>
                  <a:gd name="connsiteY65" fmla="*/ 86873 h 1516973"/>
                  <a:gd name="connsiteX66" fmla="*/ 1079617 w 1511813"/>
                  <a:gd name="connsiteY66" fmla="*/ 152402 h 1516973"/>
                  <a:gd name="connsiteX67" fmla="*/ 1053302 w 1511813"/>
                  <a:gd name="connsiteY67" fmla="*/ 206580 h 1516973"/>
                  <a:gd name="connsiteX68" fmla="*/ 1060010 w 1511813"/>
                  <a:gd name="connsiteY68" fmla="*/ 228251 h 1516973"/>
                  <a:gd name="connsiteX69" fmla="*/ 1118315 w 1511813"/>
                  <a:gd name="connsiteY69" fmla="*/ 265917 h 1516973"/>
                  <a:gd name="connsiteX70" fmla="*/ 1136374 w 1511813"/>
                  <a:gd name="connsiteY70" fmla="*/ 262821 h 1516973"/>
                  <a:gd name="connsiteX71" fmla="*/ 1232346 w 1511813"/>
                  <a:gd name="connsiteY71" fmla="*/ 174589 h 1516973"/>
                  <a:gd name="connsiteX72" fmla="*/ 1247825 w 1511813"/>
                  <a:gd name="connsiteY72" fmla="*/ 175621 h 1516973"/>
                  <a:gd name="connsiteX73" fmla="*/ 1384559 w 1511813"/>
                  <a:gd name="connsiteY73" fmla="*/ 325770 h 1516973"/>
                  <a:gd name="connsiteX74" fmla="*/ 1384043 w 1511813"/>
                  <a:gd name="connsiteY74" fmla="*/ 342798 h 1516973"/>
                  <a:gd name="connsiteX75" fmla="*/ 1336057 w 1511813"/>
                  <a:gd name="connsiteY75" fmla="*/ 396975 h 1516973"/>
                  <a:gd name="connsiteX76" fmla="*/ 1291167 w 1511813"/>
                  <a:gd name="connsiteY76" fmla="*/ 426902 h 1516973"/>
                  <a:gd name="connsiteX77" fmla="*/ 1284976 w 1511813"/>
                  <a:gd name="connsiteY77" fmla="*/ 451153 h 1516973"/>
                  <a:gd name="connsiteX78" fmla="*/ 1316450 w 1511813"/>
                  <a:gd name="connsiteY78" fmla="*/ 513070 h 1516973"/>
                  <a:gd name="connsiteX79" fmla="*/ 1330898 w 1511813"/>
                  <a:gd name="connsiteY79" fmla="*/ 519262 h 1516973"/>
                  <a:gd name="connsiteX80" fmla="*/ 1447509 w 1511813"/>
                  <a:gd name="connsiteY80" fmla="*/ 491399 h 1516973"/>
                  <a:gd name="connsiteX81" fmla="*/ 1458860 w 1511813"/>
                  <a:gd name="connsiteY81" fmla="*/ 489851 h 1516973"/>
                  <a:gd name="connsiteX82" fmla="*/ 1473307 w 1511813"/>
                  <a:gd name="connsiteY82" fmla="*/ 499139 h 1516973"/>
                  <a:gd name="connsiteX83" fmla="*/ 1513554 w 1511813"/>
                  <a:gd name="connsiteY83" fmla="*/ 675603 h 1516973"/>
                  <a:gd name="connsiteX84" fmla="*/ 1514070 w 1511813"/>
                  <a:gd name="connsiteY84" fmla="*/ 679215 h 1516973"/>
                  <a:gd name="connsiteX85" fmla="*/ 1490335 w 1511813"/>
                  <a:gd name="connsiteY85" fmla="*/ 717397 h 1516973"/>
                  <a:gd name="connsiteX86" fmla="*/ 1379916 w 1511813"/>
                  <a:gd name="connsiteY86" fmla="*/ 738036 h 1516973"/>
                  <a:gd name="connsiteX87" fmla="*/ 1367532 w 1511813"/>
                  <a:gd name="connsiteY87" fmla="*/ 749904 h 1516973"/>
                  <a:gd name="connsiteX88" fmla="*/ 1363920 w 1511813"/>
                  <a:gd name="connsiteY88" fmla="*/ 822141 h 1516973"/>
                  <a:gd name="connsiteX89" fmla="*/ 1375788 w 1511813"/>
                  <a:gd name="connsiteY89" fmla="*/ 838136 h 1516973"/>
                  <a:gd name="connsiteX90" fmla="*/ 1498590 w 1511813"/>
                  <a:gd name="connsiteY90" fmla="*/ 876834 h 1516973"/>
                  <a:gd name="connsiteX91" fmla="*/ 1506330 w 1511813"/>
                  <a:gd name="connsiteY91" fmla="*/ 891798 h 1516973"/>
                  <a:gd name="connsiteX92" fmla="*/ 1444413 w 1511813"/>
                  <a:gd name="connsiteY92" fmla="*/ 1085289 h 1516973"/>
                  <a:gd name="connsiteX93" fmla="*/ 1429449 w 1511813"/>
                  <a:gd name="connsiteY93" fmla="*/ 1093029 h 1516973"/>
                  <a:gd name="connsiteX94" fmla="*/ 1306647 w 1511813"/>
                  <a:gd name="connsiteY94" fmla="*/ 1052783 h 1516973"/>
                  <a:gd name="connsiteX95" fmla="*/ 1287556 w 1511813"/>
                  <a:gd name="connsiteY95" fmla="*/ 1057942 h 1516973"/>
                  <a:gd name="connsiteX96" fmla="*/ 1248857 w 1511813"/>
                  <a:gd name="connsiteY96" fmla="*/ 1118828 h 1516973"/>
                  <a:gd name="connsiteX97" fmla="*/ 1250405 w 1511813"/>
                  <a:gd name="connsiteY97" fmla="*/ 1135339 h 1516973"/>
                  <a:gd name="connsiteX98" fmla="*/ 1339153 w 1511813"/>
                  <a:gd name="connsiteY98" fmla="*/ 1230795 h 1516973"/>
                  <a:gd name="connsiteX99" fmla="*/ 1337605 w 1511813"/>
                  <a:gd name="connsiteY99" fmla="*/ 1249370 h 1516973"/>
                  <a:gd name="connsiteX100" fmla="*/ 1189004 w 1511813"/>
                  <a:gd name="connsiteY100" fmla="*/ 1384040 h 1516973"/>
                  <a:gd name="connsiteX101" fmla="*/ 1170945 w 1511813"/>
                  <a:gd name="connsiteY101" fmla="*/ 1383524 h 1516973"/>
                  <a:gd name="connsiteX102" fmla="*/ 1118831 w 1511813"/>
                  <a:gd name="connsiteY102" fmla="*/ 1337602 h 1516973"/>
                  <a:gd name="connsiteX103" fmla="*/ 1086840 w 1511813"/>
                  <a:gd name="connsiteY103" fmla="*/ 1289616 h 1516973"/>
                  <a:gd name="connsiteX104" fmla="*/ 1064137 w 1511813"/>
                  <a:gd name="connsiteY104" fmla="*/ 1284456 h 1516973"/>
                  <a:gd name="connsiteX105" fmla="*/ 1002220 w 1511813"/>
                  <a:gd name="connsiteY105" fmla="*/ 1316447 h 1516973"/>
                  <a:gd name="connsiteX106" fmla="*/ 996028 w 1511813"/>
                  <a:gd name="connsiteY106" fmla="*/ 1332958 h 1516973"/>
                  <a:gd name="connsiteX107" fmla="*/ 1022859 w 1511813"/>
                  <a:gd name="connsiteY107" fmla="*/ 1446989 h 1516973"/>
                  <a:gd name="connsiteX108" fmla="*/ 1024407 w 1511813"/>
                  <a:gd name="connsiteY108" fmla="*/ 1459889 h 1516973"/>
                  <a:gd name="connsiteX109" fmla="*/ 1015636 w 1511813"/>
                  <a:gd name="connsiteY109" fmla="*/ 1473304 h 1516973"/>
                  <a:gd name="connsiteX110" fmla="*/ 817500 w 1511813"/>
                  <a:gd name="connsiteY110" fmla="*/ 1518710 h 1516973"/>
                  <a:gd name="connsiteX111" fmla="*/ 758163 w 1511813"/>
                  <a:gd name="connsiteY111" fmla="*/ 1148238 h 1516973"/>
                  <a:gd name="connsiteX112" fmla="*/ 1145146 w 1511813"/>
                  <a:gd name="connsiteY112" fmla="*/ 758675 h 1516973"/>
                  <a:gd name="connsiteX113" fmla="*/ 757131 w 1511813"/>
                  <a:gd name="connsiteY113" fmla="*/ 371176 h 1516973"/>
                  <a:gd name="connsiteX114" fmla="*/ 368600 w 1511813"/>
                  <a:gd name="connsiteY114" fmla="*/ 759707 h 1516973"/>
                  <a:gd name="connsiteX115" fmla="*/ 758163 w 1511813"/>
                  <a:gd name="connsiteY115" fmla="*/ 1148238 h 1516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</a:cxnLst>
                <a:rect l="l" t="t" r="r" b="b"/>
                <a:pathLst>
                  <a:path w="1511813" h="1516973">
                    <a:moveTo>
                      <a:pt x="817500" y="1518710"/>
                    </a:moveTo>
                    <a:cubicBezTo>
                      <a:pt x="809245" y="1520774"/>
                      <a:pt x="805633" y="1516130"/>
                      <a:pt x="802537" y="1507875"/>
                    </a:cubicBezTo>
                    <a:cubicBezTo>
                      <a:pt x="795829" y="1486204"/>
                      <a:pt x="788090" y="1464532"/>
                      <a:pt x="780866" y="1442862"/>
                    </a:cubicBezTo>
                    <a:cubicBezTo>
                      <a:pt x="774674" y="1424286"/>
                      <a:pt x="777770" y="1404679"/>
                      <a:pt x="776738" y="1385072"/>
                    </a:cubicBezTo>
                    <a:cubicBezTo>
                      <a:pt x="776222" y="1369593"/>
                      <a:pt x="775706" y="1370109"/>
                      <a:pt x="760227" y="1369593"/>
                    </a:cubicBezTo>
                    <a:cubicBezTo>
                      <a:pt x="738556" y="1369593"/>
                      <a:pt x="716369" y="1368045"/>
                      <a:pt x="694698" y="1366497"/>
                    </a:cubicBezTo>
                    <a:cubicBezTo>
                      <a:pt x="683346" y="1365465"/>
                      <a:pt x="676638" y="1365981"/>
                      <a:pt x="676638" y="1379912"/>
                    </a:cubicBezTo>
                    <a:cubicBezTo>
                      <a:pt x="676638" y="1424286"/>
                      <a:pt x="655483" y="1462469"/>
                      <a:pt x="637940" y="1501683"/>
                    </a:cubicBezTo>
                    <a:cubicBezTo>
                      <a:pt x="634844" y="1508907"/>
                      <a:pt x="630716" y="1510454"/>
                      <a:pt x="622977" y="1508907"/>
                    </a:cubicBezTo>
                    <a:cubicBezTo>
                      <a:pt x="556416" y="1496523"/>
                      <a:pt x="492434" y="1475368"/>
                      <a:pt x="430517" y="1447505"/>
                    </a:cubicBezTo>
                    <a:cubicBezTo>
                      <a:pt x="423294" y="1443893"/>
                      <a:pt x="420198" y="1440282"/>
                      <a:pt x="422262" y="1431510"/>
                    </a:cubicBezTo>
                    <a:cubicBezTo>
                      <a:pt x="427421" y="1409323"/>
                      <a:pt x="431033" y="1386620"/>
                      <a:pt x="435677" y="1364433"/>
                    </a:cubicBezTo>
                    <a:cubicBezTo>
                      <a:pt x="439805" y="1344310"/>
                      <a:pt x="452704" y="1327798"/>
                      <a:pt x="461992" y="1310255"/>
                    </a:cubicBezTo>
                    <a:cubicBezTo>
                      <a:pt x="467152" y="1300452"/>
                      <a:pt x="466120" y="1295808"/>
                      <a:pt x="456316" y="1290132"/>
                    </a:cubicBezTo>
                    <a:cubicBezTo>
                      <a:pt x="435677" y="1278265"/>
                      <a:pt x="415554" y="1264849"/>
                      <a:pt x="395431" y="1251434"/>
                    </a:cubicBezTo>
                    <a:cubicBezTo>
                      <a:pt x="388207" y="1246274"/>
                      <a:pt x="383563" y="1246274"/>
                      <a:pt x="378919" y="1254014"/>
                    </a:cubicBezTo>
                    <a:cubicBezTo>
                      <a:pt x="356216" y="1293228"/>
                      <a:pt x="319066" y="1317479"/>
                      <a:pt x="283464" y="1342246"/>
                    </a:cubicBezTo>
                    <a:cubicBezTo>
                      <a:pt x="276240" y="1346890"/>
                      <a:pt x="272112" y="1346374"/>
                      <a:pt x="265920" y="1341214"/>
                    </a:cubicBezTo>
                    <a:cubicBezTo>
                      <a:pt x="214323" y="1297356"/>
                      <a:pt x="169433" y="1246790"/>
                      <a:pt x="130218" y="1191580"/>
                    </a:cubicBezTo>
                    <a:cubicBezTo>
                      <a:pt x="125575" y="1185389"/>
                      <a:pt x="125059" y="1180745"/>
                      <a:pt x="130734" y="1174553"/>
                    </a:cubicBezTo>
                    <a:cubicBezTo>
                      <a:pt x="146730" y="1157010"/>
                      <a:pt x="161177" y="1138435"/>
                      <a:pt x="177688" y="1121408"/>
                    </a:cubicBezTo>
                    <a:cubicBezTo>
                      <a:pt x="191104" y="1107476"/>
                      <a:pt x="209163" y="1099221"/>
                      <a:pt x="225674" y="1089417"/>
                    </a:cubicBezTo>
                    <a:cubicBezTo>
                      <a:pt x="236510" y="1083225"/>
                      <a:pt x="237026" y="1078065"/>
                      <a:pt x="230834" y="1067230"/>
                    </a:cubicBezTo>
                    <a:cubicBezTo>
                      <a:pt x="218967" y="1047107"/>
                      <a:pt x="208647" y="1025436"/>
                      <a:pt x="198327" y="1004281"/>
                    </a:cubicBezTo>
                    <a:cubicBezTo>
                      <a:pt x="194716" y="997057"/>
                      <a:pt x="192136" y="993445"/>
                      <a:pt x="183880" y="998089"/>
                    </a:cubicBezTo>
                    <a:cubicBezTo>
                      <a:pt x="147246" y="1017180"/>
                      <a:pt x="108031" y="1024920"/>
                      <a:pt x="67269" y="1025952"/>
                    </a:cubicBezTo>
                    <a:cubicBezTo>
                      <a:pt x="63657" y="1025952"/>
                      <a:pt x="59529" y="1026984"/>
                      <a:pt x="55918" y="1027500"/>
                    </a:cubicBezTo>
                    <a:cubicBezTo>
                      <a:pt x="48694" y="1028532"/>
                      <a:pt x="44050" y="1025952"/>
                      <a:pt x="41470" y="1018212"/>
                    </a:cubicBezTo>
                    <a:cubicBezTo>
                      <a:pt x="21347" y="960939"/>
                      <a:pt x="6384" y="902117"/>
                      <a:pt x="1224" y="841748"/>
                    </a:cubicBezTo>
                    <a:cubicBezTo>
                      <a:pt x="-1872" y="808725"/>
                      <a:pt x="-1356" y="809241"/>
                      <a:pt x="30635" y="797374"/>
                    </a:cubicBezTo>
                    <a:cubicBezTo>
                      <a:pt x="64173" y="784474"/>
                      <a:pt x="98744" y="775703"/>
                      <a:pt x="134862" y="778799"/>
                    </a:cubicBezTo>
                    <a:cubicBezTo>
                      <a:pt x="144150" y="779315"/>
                      <a:pt x="147246" y="775187"/>
                      <a:pt x="147246" y="765899"/>
                    </a:cubicBezTo>
                    <a:cubicBezTo>
                      <a:pt x="147246" y="742680"/>
                      <a:pt x="148278" y="719461"/>
                      <a:pt x="150342" y="696242"/>
                    </a:cubicBezTo>
                    <a:cubicBezTo>
                      <a:pt x="151373" y="685923"/>
                      <a:pt x="150858" y="678699"/>
                      <a:pt x="137442" y="678699"/>
                    </a:cubicBezTo>
                    <a:cubicBezTo>
                      <a:pt x="92552" y="678699"/>
                      <a:pt x="53854" y="657544"/>
                      <a:pt x="14639" y="639485"/>
                    </a:cubicBezTo>
                    <a:cubicBezTo>
                      <a:pt x="7932" y="636389"/>
                      <a:pt x="6384" y="632261"/>
                      <a:pt x="7932" y="625037"/>
                    </a:cubicBezTo>
                    <a:cubicBezTo>
                      <a:pt x="20315" y="558476"/>
                      <a:pt x="40954" y="494495"/>
                      <a:pt x="69333" y="432578"/>
                    </a:cubicBezTo>
                    <a:cubicBezTo>
                      <a:pt x="72945" y="424838"/>
                      <a:pt x="77073" y="421742"/>
                      <a:pt x="86360" y="423806"/>
                    </a:cubicBezTo>
                    <a:cubicBezTo>
                      <a:pt x="107515" y="428450"/>
                      <a:pt x="129186" y="432578"/>
                      <a:pt x="150858" y="436706"/>
                    </a:cubicBezTo>
                    <a:cubicBezTo>
                      <a:pt x="171497" y="440833"/>
                      <a:pt x="188008" y="453733"/>
                      <a:pt x="206583" y="463536"/>
                    </a:cubicBezTo>
                    <a:cubicBezTo>
                      <a:pt x="216903" y="468696"/>
                      <a:pt x="221546" y="467664"/>
                      <a:pt x="227738" y="457345"/>
                    </a:cubicBezTo>
                    <a:cubicBezTo>
                      <a:pt x="239606" y="436706"/>
                      <a:pt x="253021" y="416582"/>
                      <a:pt x="266952" y="396459"/>
                    </a:cubicBezTo>
                    <a:cubicBezTo>
                      <a:pt x="271596" y="389752"/>
                      <a:pt x="271596" y="385108"/>
                      <a:pt x="264373" y="380980"/>
                    </a:cubicBezTo>
                    <a:cubicBezTo>
                      <a:pt x="225158" y="357761"/>
                      <a:pt x="200391" y="320611"/>
                      <a:pt x="175108" y="284492"/>
                    </a:cubicBezTo>
                    <a:cubicBezTo>
                      <a:pt x="170465" y="277785"/>
                      <a:pt x="170981" y="273657"/>
                      <a:pt x="176140" y="267981"/>
                    </a:cubicBezTo>
                    <a:cubicBezTo>
                      <a:pt x="219998" y="216383"/>
                      <a:pt x="270048" y="171493"/>
                      <a:pt x="325258" y="132279"/>
                    </a:cubicBezTo>
                    <a:cubicBezTo>
                      <a:pt x="331966" y="127635"/>
                      <a:pt x="336609" y="126603"/>
                      <a:pt x="343317" y="132795"/>
                    </a:cubicBezTo>
                    <a:cubicBezTo>
                      <a:pt x="360344" y="148274"/>
                      <a:pt x="378404" y="162722"/>
                      <a:pt x="395431" y="178717"/>
                    </a:cubicBezTo>
                    <a:cubicBezTo>
                      <a:pt x="409362" y="191616"/>
                      <a:pt x="416070" y="209160"/>
                      <a:pt x="426389" y="224639"/>
                    </a:cubicBezTo>
                    <a:cubicBezTo>
                      <a:pt x="437741" y="241666"/>
                      <a:pt x="435161" y="240634"/>
                      <a:pt x="451156" y="231347"/>
                    </a:cubicBezTo>
                    <a:cubicBezTo>
                      <a:pt x="470763" y="219995"/>
                      <a:pt x="491403" y="209676"/>
                      <a:pt x="512042" y="200388"/>
                    </a:cubicBezTo>
                    <a:cubicBezTo>
                      <a:pt x="521329" y="196260"/>
                      <a:pt x="522361" y="192132"/>
                      <a:pt x="518233" y="183877"/>
                    </a:cubicBezTo>
                    <a:cubicBezTo>
                      <a:pt x="499142" y="148274"/>
                      <a:pt x="492434" y="109576"/>
                      <a:pt x="491403" y="69846"/>
                    </a:cubicBezTo>
                    <a:cubicBezTo>
                      <a:pt x="491403" y="66234"/>
                      <a:pt x="490371" y="62106"/>
                      <a:pt x="489855" y="58494"/>
                    </a:cubicBezTo>
                    <a:cubicBezTo>
                      <a:pt x="488307" y="50239"/>
                      <a:pt x="491403" y="46111"/>
                      <a:pt x="499658" y="43015"/>
                    </a:cubicBezTo>
                    <a:cubicBezTo>
                      <a:pt x="563123" y="20312"/>
                      <a:pt x="628653" y="6380"/>
                      <a:pt x="695730" y="189"/>
                    </a:cubicBezTo>
                    <a:cubicBezTo>
                      <a:pt x="706049" y="-843"/>
                      <a:pt x="710693" y="2253"/>
                      <a:pt x="713273" y="12056"/>
                    </a:cubicBezTo>
                    <a:cubicBezTo>
                      <a:pt x="715337" y="19796"/>
                      <a:pt x="717917" y="27536"/>
                      <a:pt x="721012" y="35275"/>
                    </a:cubicBezTo>
                    <a:cubicBezTo>
                      <a:pt x="734428" y="67266"/>
                      <a:pt x="741136" y="99772"/>
                      <a:pt x="738556" y="134343"/>
                    </a:cubicBezTo>
                    <a:cubicBezTo>
                      <a:pt x="737524" y="145694"/>
                      <a:pt x="742168" y="148790"/>
                      <a:pt x="753519" y="148790"/>
                    </a:cubicBezTo>
                    <a:cubicBezTo>
                      <a:pt x="775706" y="148274"/>
                      <a:pt x="797893" y="149822"/>
                      <a:pt x="820596" y="151886"/>
                    </a:cubicBezTo>
                    <a:cubicBezTo>
                      <a:pt x="831948" y="152918"/>
                      <a:pt x="838655" y="152402"/>
                      <a:pt x="838655" y="138471"/>
                    </a:cubicBezTo>
                    <a:cubicBezTo>
                      <a:pt x="838655" y="94097"/>
                      <a:pt x="859810" y="55914"/>
                      <a:pt x="877354" y="16700"/>
                    </a:cubicBezTo>
                    <a:cubicBezTo>
                      <a:pt x="880449" y="9476"/>
                      <a:pt x="885093" y="7928"/>
                      <a:pt x="892317" y="9476"/>
                    </a:cubicBezTo>
                    <a:cubicBezTo>
                      <a:pt x="958878" y="21860"/>
                      <a:pt x="1022859" y="42499"/>
                      <a:pt x="1084777" y="70878"/>
                    </a:cubicBezTo>
                    <a:cubicBezTo>
                      <a:pt x="1092000" y="74489"/>
                      <a:pt x="1095096" y="78617"/>
                      <a:pt x="1093032" y="86873"/>
                    </a:cubicBezTo>
                    <a:cubicBezTo>
                      <a:pt x="1088388" y="108544"/>
                      <a:pt x="1084261" y="130731"/>
                      <a:pt x="1079617" y="152402"/>
                    </a:cubicBezTo>
                    <a:cubicBezTo>
                      <a:pt x="1075489" y="172525"/>
                      <a:pt x="1062590" y="189036"/>
                      <a:pt x="1053302" y="206580"/>
                    </a:cubicBezTo>
                    <a:cubicBezTo>
                      <a:pt x="1047626" y="217415"/>
                      <a:pt x="1048658" y="222575"/>
                      <a:pt x="1060010" y="228251"/>
                    </a:cubicBezTo>
                    <a:cubicBezTo>
                      <a:pt x="1080133" y="239602"/>
                      <a:pt x="1099740" y="252502"/>
                      <a:pt x="1118315" y="265917"/>
                    </a:cubicBezTo>
                    <a:cubicBezTo>
                      <a:pt x="1126571" y="272109"/>
                      <a:pt x="1131214" y="271593"/>
                      <a:pt x="1136374" y="262821"/>
                    </a:cubicBezTo>
                    <a:cubicBezTo>
                      <a:pt x="1159077" y="223607"/>
                      <a:pt x="1196744" y="199872"/>
                      <a:pt x="1232346" y="174589"/>
                    </a:cubicBezTo>
                    <a:cubicBezTo>
                      <a:pt x="1238538" y="170461"/>
                      <a:pt x="1242666" y="170977"/>
                      <a:pt x="1247825" y="175621"/>
                    </a:cubicBezTo>
                    <a:cubicBezTo>
                      <a:pt x="1299939" y="219995"/>
                      <a:pt x="1345345" y="270045"/>
                      <a:pt x="1384559" y="325770"/>
                    </a:cubicBezTo>
                    <a:cubicBezTo>
                      <a:pt x="1389203" y="331962"/>
                      <a:pt x="1389719" y="336606"/>
                      <a:pt x="1384043" y="342798"/>
                    </a:cubicBezTo>
                    <a:cubicBezTo>
                      <a:pt x="1368048" y="360857"/>
                      <a:pt x="1352569" y="379432"/>
                      <a:pt x="1336057" y="396975"/>
                    </a:cubicBezTo>
                    <a:cubicBezTo>
                      <a:pt x="1323674" y="409875"/>
                      <a:pt x="1306131" y="417098"/>
                      <a:pt x="1291167" y="426902"/>
                    </a:cubicBezTo>
                    <a:cubicBezTo>
                      <a:pt x="1276720" y="436706"/>
                      <a:pt x="1276720" y="436190"/>
                      <a:pt x="1284976" y="451153"/>
                    </a:cubicBezTo>
                    <a:cubicBezTo>
                      <a:pt x="1295811" y="471792"/>
                      <a:pt x="1306647" y="492431"/>
                      <a:pt x="1316450" y="513070"/>
                    </a:cubicBezTo>
                    <a:cubicBezTo>
                      <a:pt x="1320062" y="520294"/>
                      <a:pt x="1323158" y="523390"/>
                      <a:pt x="1330898" y="519262"/>
                    </a:cubicBezTo>
                    <a:cubicBezTo>
                      <a:pt x="1367532" y="500171"/>
                      <a:pt x="1406746" y="492431"/>
                      <a:pt x="1447509" y="491399"/>
                    </a:cubicBezTo>
                    <a:cubicBezTo>
                      <a:pt x="1451120" y="491399"/>
                      <a:pt x="1455248" y="490367"/>
                      <a:pt x="1458860" y="489851"/>
                    </a:cubicBezTo>
                    <a:cubicBezTo>
                      <a:pt x="1466600" y="488819"/>
                      <a:pt x="1470728" y="491399"/>
                      <a:pt x="1473307" y="499139"/>
                    </a:cubicBezTo>
                    <a:cubicBezTo>
                      <a:pt x="1493431" y="556412"/>
                      <a:pt x="1508394" y="615234"/>
                      <a:pt x="1513554" y="675603"/>
                    </a:cubicBezTo>
                    <a:cubicBezTo>
                      <a:pt x="1513554" y="676635"/>
                      <a:pt x="1513554" y="678183"/>
                      <a:pt x="1514070" y="679215"/>
                    </a:cubicBezTo>
                    <a:cubicBezTo>
                      <a:pt x="1518713" y="714301"/>
                      <a:pt x="1519745" y="706046"/>
                      <a:pt x="1490335" y="717397"/>
                    </a:cubicBezTo>
                    <a:cubicBezTo>
                      <a:pt x="1454732" y="730813"/>
                      <a:pt x="1418614" y="741648"/>
                      <a:pt x="1379916" y="738036"/>
                    </a:cubicBezTo>
                    <a:cubicBezTo>
                      <a:pt x="1371144" y="737004"/>
                      <a:pt x="1368048" y="740616"/>
                      <a:pt x="1367532" y="749904"/>
                    </a:cubicBezTo>
                    <a:cubicBezTo>
                      <a:pt x="1367016" y="774155"/>
                      <a:pt x="1365984" y="797890"/>
                      <a:pt x="1363920" y="822141"/>
                    </a:cubicBezTo>
                    <a:cubicBezTo>
                      <a:pt x="1363404" y="831944"/>
                      <a:pt x="1363920" y="838136"/>
                      <a:pt x="1375788" y="838136"/>
                    </a:cubicBezTo>
                    <a:cubicBezTo>
                      <a:pt x="1420678" y="838136"/>
                      <a:pt x="1459376" y="858775"/>
                      <a:pt x="1498590" y="876834"/>
                    </a:cubicBezTo>
                    <a:cubicBezTo>
                      <a:pt x="1505298" y="879930"/>
                      <a:pt x="1507878" y="883542"/>
                      <a:pt x="1506330" y="891798"/>
                    </a:cubicBezTo>
                    <a:cubicBezTo>
                      <a:pt x="1493947" y="958875"/>
                      <a:pt x="1472791" y="1023372"/>
                      <a:pt x="1444413" y="1085289"/>
                    </a:cubicBezTo>
                    <a:cubicBezTo>
                      <a:pt x="1441317" y="1092513"/>
                      <a:pt x="1437189" y="1094577"/>
                      <a:pt x="1429449" y="1093029"/>
                    </a:cubicBezTo>
                    <a:cubicBezTo>
                      <a:pt x="1386623" y="1085289"/>
                      <a:pt x="1343797" y="1078581"/>
                      <a:pt x="1306647" y="1052783"/>
                    </a:cubicBezTo>
                    <a:cubicBezTo>
                      <a:pt x="1297875" y="1046591"/>
                      <a:pt x="1293231" y="1048655"/>
                      <a:pt x="1287556" y="1057942"/>
                    </a:cubicBezTo>
                    <a:cubicBezTo>
                      <a:pt x="1275688" y="1078581"/>
                      <a:pt x="1262273" y="1098705"/>
                      <a:pt x="1248857" y="1118828"/>
                    </a:cubicBezTo>
                    <a:cubicBezTo>
                      <a:pt x="1244214" y="1125535"/>
                      <a:pt x="1242150" y="1130179"/>
                      <a:pt x="1250405" y="1135339"/>
                    </a:cubicBezTo>
                    <a:cubicBezTo>
                      <a:pt x="1289620" y="1158558"/>
                      <a:pt x="1313871" y="1194676"/>
                      <a:pt x="1339153" y="1230795"/>
                    </a:cubicBezTo>
                    <a:cubicBezTo>
                      <a:pt x="1344313" y="1238018"/>
                      <a:pt x="1343797" y="1242662"/>
                      <a:pt x="1337605" y="1249370"/>
                    </a:cubicBezTo>
                    <a:cubicBezTo>
                      <a:pt x="1293747" y="1300968"/>
                      <a:pt x="1244214" y="1345342"/>
                      <a:pt x="1189004" y="1384040"/>
                    </a:cubicBezTo>
                    <a:cubicBezTo>
                      <a:pt x="1182296" y="1388684"/>
                      <a:pt x="1177652" y="1389716"/>
                      <a:pt x="1170945" y="1383524"/>
                    </a:cubicBezTo>
                    <a:cubicBezTo>
                      <a:pt x="1153918" y="1368045"/>
                      <a:pt x="1135858" y="1353597"/>
                      <a:pt x="1118831" y="1337602"/>
                    </a:cubicBezTo>
                    <a:cubicBezTo>
                      <a:pt x="1104384" y="1324187"/>
                      <a:pt x="1096644" y="1306128"/>
                      <a:pt x="1086840" y="1289616"/>
                    </a:cubicBezTo>
                    <a:cubicBezTo>
                      <a:pt x="1080133" y="1278265"/>
                      <a:pt x="1074973" y="1277749"/>
                      <a:pt x="1064137" y="1284456"/>
                    </a:cubicBezTo>
                    <a:cubicBezTo>
                      <a:pt x="1044530" y="1296324"/>
                      <a:pt x="1023375" y="1306643"/>
                      <a:pt x="1002220" y="1316447"/>
                    </a:cubicBezTo>
                    <a:cubicBezTo>
                      <a:pt x="993449" y="1320575"/>
                      <a:pt x="991385" y="1324703"/>
                      <a:pt x="996028" y="1332958"/>
                    </a:cubicBezTo>
                    <a:cubicBezTo>
                      <a:pt x="1015120" y="1368561"/>
                      <a:pt x="1021827" y="1407259"/>
                      <a:pt x="1022859" y="1446989"/>
                    </a:cubicBezTo>
                    <a:cubicBezTo>
                      <a:pt x="1022859" y="1451117"/>
                      <a:pt x="1023891" y="1455245"/>
                      <a:pt x="1024407" y="1459889"/>
                    </a:cubicBezTo>
                    <a:cubicBezTo>
                      <a:pt x="1025439" y="1466596"/>
                      <a:pt x="1022859" y="1470724"/>
                      <a:pt x="1015636" y="1473304"/>
                    </a:cubicBezTo>
                    <a:cubicBezTo>
                      <a:pt x="970745" y="1493943"/>
                      <a:pt x="870646" y="1516130"/>
                      <a:pt x="817500" y="1518710"/>
                    </a:cubicBezTo>
                    <a:close/>
                    <a:moveTo>
                      <a:pt x="758163" y="1148238"/>
                    </a:moveTo>
                    <a:cubicBezTo>
                      <a:pt x="974357" y="1144627"/>
                      <a:pt x="1145146" y="976418"/>
                      <a:pt x="1145146" y="758675"/>
                    </a:cubicBezTo>
                    <a:cubicBezTo>
                      <a:pt x="1145146" y="542481"/>
                      <a:pt x="974357" y="371176"/>
                      <a:pt x="757131" y="371176"/>
                    </a:cubicBezTo>
                    <a:cubicBezTo>
                      <a:pt x="539904" y="371176"/>
                      <a:pt x="368600" y="542481"/>
                      <a:pt x="368600" y="759707"/>
                    </a:cubicBezTo>
                    <a:cubicBezTo>
                      <a:pt x="369116" y="977966"/>
                      <a:pt x="541452" y="1145659"/>
                      <a:pt x="758163" y="1148238"/>
                    </a:cubicBezTo>
                    <a:close/>
                  </a:path>
                </a:pathLst>
              </a:custGeom>
              <a:grpFill/>
              <a:ln w="51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31" name="Group 30">
                <a:extLst>
                  <a:ext uri="{FF2B5EF4-FFF2-40B4-BE49-F238E27FC236}">
                    <a16:creationId xmlns:a16="http://schemas.microsoft.com/office/drawing/2014/main" id="{25925A4A-CBF1-48EF-AB30-CEBB54EC947A}"/>
                  </a:ext>
                </a:extLst>
              </p:cNvPr>
              <p:cNvGrpSpPr/>
              <p:nvPr/>
            </p:nvGrpSpPr>
            <p:grpSpPr>
              <a:xfrm>
                <a:off x="3563163" y="3556278"/>
                <a:ext cx="1218879" cy="1218879"/>
                <a:chOff x="3264582" y="1870309"/>
                <a:chExt cx="1774962" cy="1774962"/>
              </a:xfrm>
              <a:grpFill/>
            </p:grpSpPr>
            <p:sp>
              <p:nvSpPr>
                <p:cNvPr id="33" name="Freeform: Shape 32">
                  <a:extLst>
                    <a:ext uri="{FF2B5EF4-FFF2-40B4-BE49-F238E27FC236}">
                      <a16:creationId xmlns:a16="http://schemas.microsoft.com/office/drawing/2014/main" id="{59AB121F-74A9-4A6A-B896-45331194465F}"/>
                    </a:ext>
                  </a:extLst>
                </p:cNvPr>
                <p:cNvSpPr/>
                <p:nvPr/>
              </p:nvSpPr>
              <p:spPr>
                <a:xfrm>
                  <a:off x="3264582" y="1870309"/>
                  <a:ext cx="1774962" cy="1774962"/>
                </a:xfrm>
                <a:custGeom>
                  <a:avLst/>
                  <a:gdLst>
                    <a:gd name="connsiteX0" fmla="*/ 894776 w 1774962"/>
                    <a:gd name="connsiteY0" fmla="*/ 1775736 h 1774962"/>
                    <a:gd name="connsiteX1" fmla="*/ 852466 w 1774962"/>
                    <a:gd name="connsiteY1" fmla="*/ 1775736 h 1774962"/>
                    <a:gd name="connsiteX2" fmla="*/ 839567 w 1774962"/>
                    <a:gd name="connsiteY2" fmla="*/ 1764901 h 1774962"/>
                    <a:gd name="connsiteX3" fmla="*/ 819960 w 1774962"/>
                    <a:gd name="connsiteY3" fmla="*/ 1666349 h 1774962"/>
                    <a:gd name="connsiteX4" fmla="*/ 822024 w 1774962"/>
                    <a:gd name="connsiteY4" fmla="*/ 1636938 h 1774962"/>
                    <a:gd name="connsiteX5" fmla="*/ 811704 w 1774962"/>
                    <a:gd name="connsiteY5" fmla="*/ 1623523 h 1774962"/>
                    <a:gd name="connsiteX6" fmla="*/ 695093 w 1774962"/>
                    <a:gd name="connsiteY6" fmla="*/ 1601852 h 1774962"/>
                    <a:gd name="connsiteX7" fmla="*/ 680130 w 1774962"/>
                    <a:gd name="connsiteY7" fmla="*/ 1610623 h 1774962"/>
                    <a:gd name="connsiteX8" fmla="*/ 615116 w 1774962"/>
                    <a:gd name="connsiteY8" fmla="*/ 1727234 h 1774962"/>
                    <a:gd name="connsiteX9" fmla="*/ 603765 w 1774962"/>
                    <a:gd name="connsiteY9" fmla="*/ 1730330 h 1774962"/>
                    <a:gd name="connsiteX10" fmla="*/ 512953 w 1774962"/>
                    <a:gd name="connsiteY10" fmla="*/ 1694212 h 1774962"/>
                    <a:gd name="connsiteX11" fmla="*/ 507277 w 1774962"/>
                    <a:gd name="connsiteY11" fmla="*/ 1681828 h 1774962"/>
                    <a:gd name="connsiteX12" fmla="*/ 527400 w 1774962"/>
                    <a:gd name="connsiteY12" fmla="*/ 1583277 h 1774962"/>
                    <a:gd name="connsiteX13" fmla="*/ 541848 w 1774962"/>
                    <a:gd name="connsiteY13" fmla="*/ 1552834 h 1774962"/>
                    <a:gd name="connsiteX14" fmla="*/ 537720 w 1774962"/>
                    <a:gd name="connsiteY14" fmla="*/ 1539418 h 1774962"/>
                    <a:gd name="connsiteX15" fmla="*/ 435041 w 1774962"/>
                    <a:gd name="connsiteY15" fmla="*/ 1472857 h 1774962"/>
                    <a:gd name="connsiteX16" fmla="*/ 420593 w 1774962"/>
                    <a:gd name="connsiteY16" fmla="*/ 1474921 h 1774962"/>
                    <a:gd name="connsiteX17" fmla="*/ 315334 w 1774962"/>
                    <a:gd name="connsiteY17" fmla="*/ 1559026 h 1774962"/>
                    <a:gd name="connsiteX18" fmla="*/ 302950 w 1774962"/>
                    <a:gd name="connsiteY18" fmla="*/ 1557478 h 1774962"/>
                    <a:gd name="connsiteX19" fmla="*/ 233809 w 1774962"/>
                    <a:gd name="connsiteY19" fmla="*/ 1490401 h 1774962"/>
                    <a:gd name="connsiteX20" fmla="*/ 232777 w 1774962"/>
                    <a:gd name="connsiteY20" fmla="*/ 1476985 h 1774962"/>
                    <a:gd name="connsiteX21" fmla="*/ 289019 w 1774962"/>
                    <a:gd name="connsiteY21" fmla="*/ 1393397 h 1774962"/>
                    <a:gd name="connsiteX22" fmla="*/ 312754 w 1774962"/>
                    <a:gd name="connsiteY22" fmla="*/ 1371726 h 1774962"/>
                    <a:gd name="connsiteX23" fmla="*/ 314818 w 1774962"/>
                    <a:gd name="connsiteY23" fmla="*/ 1355731 h 1774962"/>
                    <a:gd name="connsiteX24" fmla="*/ 246193 w 1774962"/>
                    <a:gd name="connsiteY24" fmla="*/ 1255631 h 1774962"/>
                    <a:gd name="connsiteX25" fmla="*/ 230713 w 1774962"/>
                    <a:gd name="connsiteY25" fmla="*/ 1253051 h 1774962"/>
                    <a:gd name="connsiteX26" fmla="*/ 102751 w 1774962"/>
                    <a:gd name="connsiteY26" fmla="*/ 1289685 h 1774962"/>
                    <a:gd name="connsiteX27" fmla="*/ 91916 w 1774962"/>
                    <a:gd name="connsiteY27" fmla="*/ 1282978 h 1774962"/>
                    <a:gd name="connsiteX28" fmla="*/ 53733 w 1774962"/>
                    <a:gd name="connsiteY28" fmla="*/ 1194230 h 1774962"/>
                    <a:gd name="connsiteX29" fmla="*/ 58377 w 1774962"/>
                    <a:gd name="connsiteY29" fmla="*/ 1181330 h 1774962"/>
                    <a:gd name="connsiteX30" fmla="*/ 142481 w 1774962"/>
                    <a:gd name="connsiteY30" fmla="*/ 1125605 h 1774962"/>
                    <a:gd name="connsiteX31" fmla="*/ 173956 w 1774962"/>
                    <a:gd name="connsiteY31" fmla="*/ 1114253 h 1774962"/>
                    <a:gd name="connsiteX32" fmla="*/ 180664 w 1774962"/>
                    <a:gd name="connsiteY32" fmla="*/ 1101870 h 1774962"/>
                    <a:gd name="connsiteX33" fmla="*/ 154865 w 1774962"/>
                    <a:gd name="connsiteY33" fmla="*/ 981131 h 1774962"/>
                    <a:gd name="connsiteX34" fmla="*/ 144029 w 1774962"/>
                    <a:gd name="connsiteY34" fmla="*/ 973391 h 1774962"/>
                    <a:gd name="connsiteX35" fmla="*/ 10391 w 1774962"/>
                    <a:gd name="connsiteY35" fmla="*/ 958428 h 1774962"/>
                    <a:gd name="connsiteX36" fmla="*/ 2135 w 1774962"/>
                    <a:gd name="connsiteY36" fmla="*/ 948624 h 1774962"/>
                    <a:gd name="connsiteX37" fmla="*/ 588 w 1774962"/>
                    <a:gd name="connsiteY37" fmla="*/ 850589 h 1774962"/>
                    <a:gd name="connsiteX38" fmla="*/ 10391 w 1774962"/>
                    <a:gd name="connsiteY38" fmla="*/ 840785 h 1774962"/>
                    <a:gd name="connsiteX39" fmla="*/ 110491 w 1774962"/>
                    <a:gd name="connsiteY39" fmla="*/ 820662 h 1774962"/>
                    <a:gd name="connsiteX40" fmla="*/ 139901 w 1774962"/>
                    <a:gd name="connsiteY40" fmla="*/ 822726 h 1774962"/>
                    <a:gd name="connsiteX41" fmla="*/ 153317 w 1774962"/>
                    <a:gd name="connsiteY41" fmla="*/ 811890 h 1774962"/>
                    <a:gd name="connsiteX42" fmla="*/ 174472 w 1774962"/>
                    <a:gd name="connsiteY42" fmla="*/ 696827 h 1774962"/>
                    <a:gd name="connsiteX43" fmla="*/ 164152 w 1774962"/>
                    <a:gd name="connsiteY43" fmla="*/ 680316 h 1774962"/>
                    <a:gd name="connsiteX44" fmla="*/ 49090 w 1774962"/>
                    <a:gd name="connsiteY44" fmla="*/ 615819 h 1774962"/>
                    <a:gd name="connsiteX45" fmla="*/ 45993 w 1774962"/>
                    <a:gd name="connsiteY45" fmla="*/ 606015 h 1774962"/>
                    <a:gd name="connsiteX46" fmla="*/ 82628 w 1774962"/>
                    <a:gd name="connsiteY46" fmla="*/ 513655 h 1774962"/>
                    <a:gd name="connsiteX47" fmla="*/ 93979 w 1774962"/>
                    <a:gd name="connsiteY47" fmla="*/ 508496 h 1774962"/>
                    <a:gd name="connsiteX48" fmla="*/ 224006 w 1774962"/>
                    <a:gd name="connsiteY48" fmla="*/ 543066 h 1774962"/>
                    <a:gd name="connsiteX49" fmla="*/ 236905 w 1774962"/>
                    <a:gd name="connsiteY49" fmla="*/ 538938 h 1774962"/>
                    <a:gd name="connsiteX50" fmla="*/ 302434 w 1774962"/>
                    <a:gd name="connsiteY50" fmla="*/ 437291 h 1774962"/>
                    <a:gd name="connsiteX51" fmla="*/ 302950 w 1774962"/>
                    <a:gd name="connsiteY51" fmla="*/ 423359 h 1774962"/>
                    <a:gd name="connsiteX52" fmla="*/ 238453 w 1774962"/>
                    <a:gd name="connsiteY52" fmla="*/ 346995 h 1774962"/>
                    <a:gd name="connsiteX53" fmla="*/ 228650 w 1774962"/>
                    <a:gd name="connsiteY53" fmla="*/ 333063 h 1774962"/>
                    <a:gd name="connsiteX54" fmla="*/ 230713 w 1774962"/>
                    <a:gd name="connsiteY54" fmla="*/ 290237 h 1774962"/>
                    <a:gd name="connsiteX55" fmla="*/ 283859 w 1774962"/>
                    <a:gd name="connsiteY55" fmla="*/ 236060 h 1774962"/>
                    <a:gd name="connsiteX56" fmla="*/ 300370 w 1774962"/>
                    <a:gd name="connsiteY56" fmla="*/ 234512 h 1774962"/>
                    <a:gd name="connsiteX57" fmla="*/ 380863 w 1774962"/>
                    <a:gd name="connsiteY57" fmla="*/ 288173 h 1774962"/>
                    <a:gd name="connsiteX58" fmla="*/ 403050 w 1774962"/>
                    <a:gd name="connsiteY58" fmla="*/ 311392 h 1774962"/>
                    <a:gd name="connsiteX59" fmla="*/ 422141 w 1774962"/>
                    <a:gd name="connsiteY59" fmla="*/ 313972 h 1774962"/>
                    <a:gd name="connsiteX60" fmla="*/ 519661 w 1774962"/>
                    <a:gd name="connsiteY60" fmla="*/ 246895 h 1774962"/>
                    <a:gd name="connsiteX61" fmla="*/ 524820 w 1774962"/>
                    <a:gd name="connsiteY61" fmla="*/ 233996 h 1774962"/>
                    <a:gd name="connsiteX62" fmla="*/ 492314 w 1774962"/>
                    <a:gd name="connsiteY62" fmla="*/ 127704 h 1774962"/>
                    <a:gd name="connsiteX63" fmla="*/ 514501 w 1774962"/>
                    <a:gd name="connsiteY63" fmla="*/ 82298 h 1774962"/>
                    <a:gd name="connsiteX64" fmla="*/ 578482 w 1774962"/>
                    <a:gd name="connsiteY64" fmla="*/ 55468 h 1774962"/>
                    <a:gd name="connsiteX65" fmla="*/ 595509 w 1774962"/>
                    <a:gd name="connsiteY65" fmla="*/ 60111 h 1774962"/>
                    <a:gd name="connsiteX66" fmla="*/ 648655 w 1774962"/>
                    <a:gd name="connsiteY66" fmla="*/ 139572 h 1774962"/>
                    <a:gd name="connsiteX67" fmla="*/ 661039 w 1774962"/>
                    <a:gd name="connsiteY67" fmla="*/ 172078 h 1774962"/>
                    <a:gd name="connsiteX68" fmla="*/ 675486 w 1774962"/>
                    <a:gd name="connsiteY68" fmla="*/ 180334 h 1774962"/>
                    <a:gd name="connsiteX69" fmla="*/ 792613 w 1774962"/>
                    <a:gd name="connsiteY69" fmla="*/ 155567 h 1774962"/>
                    <a:gd name="connsiteX70" fmla="*/ 801900 w 1774962"/>
                    <a:gd name="connsiteY70" fmla="*/ 143700 h 1774962"/>
                    <a:gd name="connsiteX71" fmla="*/ 816864 w 1774962"/>
                    <a:gd name="connsiteY71" fmla="*/ 11094 h 1774962"/>
                    <a:gd name="connsiteX72" fmla="*/ 826151 w 1774962"/>
                    <a:gd name="connsiteY72" fmla="*/ 2322 h 1774962"/>
                    <a:gd name="connsiteX73" fmla="*/ 925219 w 1774962"/>
                    <a:gd name="connsiteY73" fmla="*/ 774 h 1774962"/>
                    <a:gd name="connsiteX74" fmla="*/ 934507 w 1774962"/>
                    <a:gd name="connsiteY74" fmla="*/ 10062 h 1774962"/>
                    <a:gd name="connsiteX75" fmla="*/ 954114 w 1774962"/>
                    <a:gd name="connsiteY75" fmla="*/ 111193 h 1774962"/>
                    <a:gd name="connsiteX76" fmla="*/ 952050 w 1774962"/>
                    <a:gd name="connsiteY76" fmla="*/ 140604 h 1774962"/>
                    <a:gd name="connsiteX77" fmla="*/ 962369 w 1774962"/>
                    <a:gd name="connsiteY77" fmla="*/ 152987 h 1774962"/>
                    <a:gd name="connsiteX78" fmla="*/ 1078980 w 1774962"/>
                    <a:gd name="connsiteY78" fmla="*/ 174658 h 1774962"/>
                    <a:gd name="connsiteX79" fmla="*/ 1093428 w 1774962"/>
                    <a:gd name="connsiteY79" fmla="*/ 168467 h 1774962"/>
                    <a:gd name="connsiteX80" fmla="*/ 1147089 w 1774962"/>
                    <a:gd name="connsiteY80" fmla="*/ 69399 h 1774962"/>
                    <a:gd name="connsiteX81" fmla="*/ 1192495 w 1774962"/>
                    <a:gd name="connsiteY81" fmla="*/ 54436 h 1774962"/>
                    <a:gd name="connsiteX82" fmla="*/ 1258024 w 1774962"/>
                    <a:gd name="connsiteY82" fmla="*/ 81266 h 1774962"/>
                    <a:gd name="connsiteX83" fmla="*/ 1267312 w 1774962"/>
                    <a:gd name="connsiteY83" fmla="*/ 96746 h 1774962"/>
                    <a:gd name="connsiteX84" fmla="*/ 1247705 w 1774962"/>
                    <a:gd name="connsiteY84" fmla="*/ 192718 h 1774962"/>
                    <a:gd name="connsiteX85" fmla="*/ 1233258 w 1774962"/>
                    <a:gd name="connsiteY85" fmla="*/ 224192 h 1774962"/>
                    <a:gd name="connsiteX86" fmla="*/ 1237385 w 1774962"/>
                    <a:gd name="connsiteY86" fmla="*/ 237608 h 1774962"/>
                    <a:gd name="connsiteX87" fmla="*/ 1340065 w 1774962"/>
                    <a:gd name="connsiteY87" fmla="*/ 304169 h 1774962"/>
                    <a:gd name="connsiteX88" fmla="*/ 1354512 w 1774962"/>
                    <a:gd name="connsiteY88" fmla="*/ 302621 h 1774962"/>
                    <a:gd name="connsiteX89" fmla="*/ 1459771 w 1774962"/>
                    <a:gd name="connsiteY89" fmla="*/ 218516 h 1774962"/>
                    <a:gd name="connsiteX90" fmla="*/ 1472155 w 1774962"/>
                    <a:gd name="connsiteY90" fmla="*/ 220064 h 1774962"/>
                    <a:gd name="connsiteX91" fmla="*/ 1541296 w 1774962"/>
                    <a:gd name="connsiteY91" fmla="*/ 287657 h 1774962"/>
                    <a:gd name="connsiteX92" fmla="*/ 1542328 w 1774962"/>
                    <a:gd name="connsiteY92" fmla="*/ 301073 h 1774962"/>
                    <a:gd name="connsiteX93" fmla="*/ 1485570 w 1774962"/>
                    <a:gd name="connsiteY93" fmla="*/ 385693 h 1774962"/>
                    <a:gd name="connsiteX94" fmla="*/ 1462868 w 1774962"/>
                    <a:gd name="connsiteY94" fmla="*/ 406332 h 1774962"/>
                    <a:gd name="connsiteX95" fmla="*/ 1460803 w 1774962"/>
                    <a:gd name="connsiteY95" fmla="*/ 422327 h 1774962"/>
                    <a:gd name="connsiteX96" fmla="*/ 1529428 w 1774962"/>
                    <a:gd name="connsiteY96" fmla="*/ 522427 h 1774962"/>
                    <a:gd name="connsiteX97" fmla="*/ 1544908 w 1774962"/>
                    <a:gd name="connsiteY97" fmla="*/ 525007 h 1774962"/>
                    <a:gd name="connsiteX98" fmla="*/ 1672870 w 1774962"/>
                    <a:gd name="connsiteY98" fmla="*/ 488373 h 1774962"/>
                    <a:gd name="connsiteX99" fmla="*/ 1683706 w 1774962"/>
                    <a:gd name="connsiteY99" fmla="*/ 495080 h 1774962"/>
                    <a:gd name="connsiteX100" fmla="*/ 1721888 w 1774962"/>
                    <a:gd name="connsiteY100" fmla="*/ 583828 h 1774962"/>
                    <a:gd name="connsiteX101" fmla="*/ 1717244 w 1774962"/>
                    <a:gd name="connsiteY101" fmla="*/ 596728 h 1774962"/>
                    <a:gd name="connsiteX102" fmla="*/ 1633140 w 1774962"/>
                    <a:gd name="connsiteY102" fmla="*/ 652453 h 1774962"/>
                    <a:gd name="connsiteX103" fmla="*/ 1601665 w 1774962"/>
                    <a:gd name="connsiteY103" fmla="*/ 663805 h 1774962"/>
                    <a:gd name="connsiteX104" fmla="*/ 1594958 w 1774962"/>
                    <a:gd name="connsiteY104" fmla="*/ 676188 h 1774962"/>
                    <a:gd name="connsiteX105" fmla="*/ 1620241 w 1774962"/>
                    <a:gd name="connsiteY105" fmla="*/ 795895 h 1774962"/>
                    <a:gd name="connsiteX106" fmla="*/ 1631076 w 1774962"/>
                    <a:gd name="connsiteY106" fmla="*/ 804667 h 1774962"/>
                    <a:gd name="connsiteX107" fmla="*/ 1763682 w 1774962"/>
                    <a:gd name="connsiteY107" fmla="*/ 819630 h 1774962"/>
                    <a:gd name="connsiteX108" fmla="*/ 1773486 w 1774962"/>
                    <a:gd name="connsiteY108" fmla="*/ 829950 h 1774962"/>
                    <a:gd name="connsiteX109" fmla="*/ 1775034 w 1774962"/>
                    <a:gd name="connsiteY109" fmla="*/ 927985 h 1774962"/>
                    <a:gd name="connsiteX110" fmla="*/ 1766262 w 1774962"/>
                    <a:gd name="connsiteY110" fmla="*/ 937273 h 1774962"/>
                    <a:gd name="connsiteX111" fmla="*/ 1663583 w 1774962"/>
                    <a:gd name="connsiteY111" fmla="*/ 957396 h 1774962"/>
                    <a:gd name="connsiteX112" fmla="*/ 1636752 w 1774962"/>
                    <a:gd name="connsiteY112" fmla="*/ 955332 h 1774962"/>
                    <a:gd name="connsiteX113" fmla="*/ 1622304 w 1774962"/>
                    <a:gd name="connsiteY113" fmla="*/ 966684 h 1774962"/>
                    <a:gd name="connsiteX114" fmla="*/ 1601149 w 1774962"/>
                    <a:gd name="connsiteY114" fmla="*/ 1081746 h 1774962"/>
                    <a:gd name="connsiteX115" fmla="*/ 1610437 w 1774962"/>
                    <a:gd name="connsiteY115" fmla="*/ 1097742 h 1774962"/>
                    <a:gd name="connsiteX116" fmla="*/ 1726016 w 1774962"/>
                    <a:gd name="connsiteY116" fmla="*/ 1161723 h 1774962"/>
                    <a:gd name="connsiteX117" fmla="*/ 1729112 w 1774962"/>
                    <a:gd name="connsiteY117" fmla="*/ 1174107 h 1774962"/>
                    <a:gd name="connsiteX118" fmla="*/ 1693509 w 1774962"/>
                    <a:gd name="connsiteY118" fmla="*/ 1263887 h 1774962"/>
                    <a:gd name="connsiteX119" fmla="*/ 1681126 w 1774962"/>
                    <a:gd name="connsiteY119" fmla="*/ 1270078 h 1774962"/>
                    <a:gd name="connsiteX120" fmla="*/ 1581542 w 1774962"/>
                    <a:gd name="connsiteY120" fmla="*/ 1249955 h 1774962"/>
                    <a:gd name="connsiteX121" fmla="*/ 1552647 w 1774962"/>
                    <a:gd name="connsiteY121" fmla="*/ 1236024 h 1774962"/>
                    <a:gd name="connsiteX122" fmla="*/ 1538200 w 1774962"/>
                    <a:gd name="connsiteY122" fmla="*/ 1240152 h 1774962"/>
                    <a:gd name="connsiteX123" fmla="*/ 1473187 w 1774962"/>
                    <a:gd name="connsiteY123" fmla="*/ 1340767 h 1774962"/>
                    <a:gd name="connsiteX124" fmla="*/ 1475251 w 1774962"/>
                    <a:gd name="connsiteY124" fmla="*/ 1358310 h 1774962"/>
                    <a:gd name="connsiteX125" fmla="*/ 1535104 w 1774962"/>
                    <a:gd name="connsiteY125" fmla="*/ 1430031 h 1774962"/>
                    <a:gd name="connsiteX126" fmla="*/ 1545424 w 1774962"/>
                    <a:gd name="connsiteY126" fmla="*/ 1444995 h 1774962"/>
                    <a:gd name="connsiteX127" fmla="*/ 1542844 w 1774962"/>
                    <a:gd name="connsiteY127" fmla="*/ 1489885 h 1774962"/>
                    <a:gd name="connsiteX128" fmla="*/ 1491246 w 1774962"/>
                    <a:gd name="connsiteY128" fmla="*/ 1542514 h 1774962"/>
                    <a:gd name="connsiteX129" fmla="*/ 1472155 w 1774962"/>
                    <a:gd name="connsiteY129" fmla="*/ 1544062 h 1774962"/>
                    <a:gd name="connsiteX130" fmla="*/ 1393726 w 1774962"/>
                    <a:gd name="connsiteY130" fmla="*/ 1491948 h 1774962"/>
                    <a:gd name="connsiteX131" fmla="*/ 1369992 w 1774962"/>
                    <a:gd name="connsiteY131" fmla="*/ 1466666 h 1774962"/>
                    <a:gd name="connsiteX132" fmla="*/ 1352964 w 1774962"/>
                    <a:gd name="connsiteY132" fmla="*/ 1464602 h 1774962"/>
                    <a:gd name="connsiteX133" fmla="*/ 1254413 w 1774962"/>
                    <a:gd name="connsiteY133" fmla="*/ 1532711 h 1774962"/>
                    <a:gd name="connsiteX134" fmla="*/ 1248737 w 1774962"/>
                    <a:gd name="connsiteY134" fmla="*/ 1544578 h 1774962"/>
                    <a:gd name="connsiteX135" fmla="*/ 1284339 w 1774962"/>
                    <a:gd name="connsiteY135" fmla="*/ 1662221 h 1774962"/>
                    <a:gd name="connsiteX136" fmla="*/ 1268860 w 1774962"/>
                    <a:gd name="connsiteY136" fmla="*/ 1693180 h 1774962"/>
                    <a:gd name="connsiteX137" fmla="*/ 1195591 w 1774962"/>
                    <a:gd name="connsiteY137" fmla="*/ 1724654 h 1774962"/>
                    <a:gd name="connsiteX138" fmla="*/ 1178564 w 1774962"/>
                    <a:gd name="connsiteY138" fmla="*/ 1719495 h 1774962"/>
                    <a:gd name="connsiteX139" fmla="*/ 1125418 w 1774962"/>
                    <a:gd name="connsiteY139" fmla="*/ 1640034 h 1774962"/>
                    <a:gd name="connsiteX140" fmla="*/ 1113035 w 1774962"/>
                    <a:gd name="connsiteY140" fmla="*/ 1606496 h 1774962"/>
                    <a:gd name="connsiteX141" fmla="*/ 1099619 w 1774962"/>
                    <a:gd name="connsiteY141" fmla="*/ 1599272 h 1774962"/>
                    <a:gd name="connsiteX142" fmla="*/ 979913 w 1774962"/>
                    <a:gd name="connsiteY142" fmla="*/ 1624555 h 1774962"/>
                    <a:gd name="connsiteX143" fmla="*/ 972173 w 1774962"/>
                    <a:gd name="connsiteY143" fmla="*/ 1634874 h 1774962"/>
                    <a:gd name="connsiteX144" fmla="*/ 957726 w 1774962"/>
                    <a:gd name="connsiteY144" fmla="*/ 1767481 h 1774962"/>
                    <a:gd name="connsiteX145" fmla="*/ 945858 w 1774962"/>
                    <a:gd name="connsiteY145" fmla="*/ 1777800 h 1774962"/>
                    <a:gd name="connsiteX146" fmla="*/ 895808 w 1774962"/>
                    <a:gd name="connsiteY146" fmla="*/ 1779864 h 1774962"/>
                    <a:gd name="connsiteX147" fmla="*/ 894776 w 1774962"/>
                    <a:gd name="connsiteY147" fmla="*/ 1775736 h 1774962"/>
                    <a:gd name="connsiteX148" fmla="*/ 890648 w 1774962"/>
                    <a:gd name="connsiteY148" fmla="*/ 1454798 h 1774962"/>
                    <a:gd name="connsiteX149" fmla="*/ 1452548 w 1774962"/>
                    <a:gd name="connsiteY149" fmla="*/ 884127 h 1774962"/>
                    <a:gd name="connsiteX150" fmla="*/ 881361 w 1774962"/>
                    <a:gd name="connsiteY150" fmla="*/ 322228 h 1774962"/>
                    <a:gd name="connsiteX151" fmla="*/ 320494 w 1774962"/>
                    <a:gd name="connsiteY151" fmla="*/ 893415 h 1774962"/>
                    <a:gd name="connsiteX152" fmla="*/ 890648 w 1774962"/>
                    <a:gd name="connsiteY152" fmla="*/ 1454798 h 17749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</a:cxnLst>
                  <a:rect l="l" t="t" r="r" b="b"/>
                  <a:pathLst>
                    <a:path w="1774962" h="1774962">
                      <a:moveTo>
                        <a:pt x="894776" y="1775736"/>
                      </a:moveTo>
                      <a:cubicBezTo>
                        <a:pt x="880845" y="1775736"/>
                        <a:pt x="866397" y="1775736"/>
                        <a:pt x="852466" y="1775736"/>
                      </a:cubicBezTo>
                      <a:cubicBezTo>
                        <a:pt x="844726" y="1775736"/>
                        <a:pt x="840599" y="1772640"/>
                        <a:pt x="839567" y="1764901"/>
                      </a:cubicBezTo>
                      <a:cubicBezTo>
                        <a:pt x="833375" y="1731878"/>
                        <a:pt x="826151" y="1699371"/>
                        <a:pt x="819960" y="1666349"/>
                      </a:cubicBezTo>
                      <a:cubicBezTo>
                        <a:pt x="817896" y="1656545"/>
                        <a:pt x="820992" y="1646742"/>
                        <a:pt x="822024" y="1636938"/>
                      </a:cubicBezTo>
                      <a:cubicBezTo>
                        <a:pt x="823056" y="1628682"/>
                        <a:pt x="820992" y="1624555"/>
                        <a:pt x="811704" y="1623523"/>
                      </a:cubicBezTo>
                      <a:cubicBezTo>
                        <a:pt x="772490" y="1619395"/>
                        <a:pt x="733275" y="1612171"/>
                        <a:pt x="695093" y="1601852"/>
                      </a:cubicBezTo>
                      <a:cubicBezTo>
                        <a:pt x="686837" y="1599788"/>
                        <a:pt x="682194" y="1602368"/>
                        <a:pt x="680130" y="1610623"/>
                      </a:cubicBezTo>
                      <a:cubicBezTo>
                        <a:pt x="669294" y="1655513"/>
                        <a:pt x="636788" y="1688020"/>
                        <a:pt x="615116" y="1727234"/>
                      </a:cubicBezTo>
                      <a:cubicBezTo>
                        <a:pt x="612537" y="1731878"/>
                        <a:pt x="608409" y="1731878"/>
                        <a:pt x="603765" y="1730330"/>
                      </a:cubicBezTo>
                      <a:cubicBezTo>
                        <a:pt x="572807" y="1720011"/>
                        <a:pt x="542364" y="1707627"/>
                        <a:pt x="512953" y="1694212"/>
                      </a:cubicBezTo>
                      <a:cubicBezTo>
                        <a:pt x="506761" y="1691632"/>
                        <a:pt x="506245" y="1686988"/>
                        <a:pt x="507277" y="1681828"/>
                      </a:cubicBezTo>
                      <a:cubicBezTo>
                        <a:pt x="513985" y="1648806"/>
                        <a:pt x="519661" y="1615783"/>
                        <a:pt x="527400" y="1583277"/>
                      </a:cubicBezTo>
                      <a:cubicBezTo>
                        <a:pt x="529980" y="1572441"/>
                        <a:pt x="536172" y="1562637"/>
                        <a:pt x="541848" y="1552834"/>
                      </a:cubicBezTo>
                      <a:cubicBezTo>
                        <a:pt x="545460" y="1546642"/>
                        <a:pt x="544428" y="1543030"/>
                        <a:pt x="537720" y="1539418"/>
                      </a:cubicBezTo>
                      <a:cubicBezTo>
                        <a:pt x="501601" y="1520327"/>
                        <a:pt x="467547" y="1497624"/>
                        <a:pt x="435041" y="1472857"/>
                      </a:cubicBezTo>
                      <a:cubicBezTo>
                        <a:pt x="429365" y="1468214"/>
                        <a:pt x="425237" y="1468214"/>
                        <a:pt x="420593" y="1474921"/>
                      </a:cubicBezTo>
                      <a:cubicBezTo>
                        <a:pt x="393762" y="1512588"/>
                        <a:pt x="350936" y="1531163"/>
                        <a:pt x="315334" y="1559026"/>
                      </a:cubicBezTo>
                      <a:cubicBezTo>
                        <a:pt x="310690" y="1562637"/>
                        <a:pt x="307078" y="1561090"/>
                        <a:pt x="302950" y="1557478"/>
                      </a:cubicBezTo>
                      <a:cubicBezTo>
                        <a:pt x="278699" y="1536323"/>
                        <a:pt x="255996" y="1513104"/>
                        <a:pt x="233809" y="1490401"/>
                      </a:cubicBezTo>
                      <a:cubicBezTo>
                        <a:pt x="229682" y="1485757"/>
                        <a:pt x="229165" y="1482145"/>
                        <a:pt x="232777" y="1476985"/>
                      </a:cubicBezTo>
                      <a:cubicBezTo>
                        <a:pt x="251352" y="1449122"/>
                        <a:pt x="269928" y="1421260"/>
                        <a:pt x="289019" y="1393397"/>
                      </a:cubicBezTo>
                      <a:cubicBezTo>
                        <a:pt x="295210" y="1384625"/>
                        <a:pt x="304498" y="1378949"/>
                        <a:pt x="312754" y="1371726"/>
                      </a:cubicBezTo>
                      <a:cubicBezTo>
                        <a:pt x="318946" y="1366566"/>
                        <a:pt x="319978" y="1361922"/>
                        <a:pt x="314818" y="1355731"/>
                      </a:cubicBezTo>
                      <a:cubicBezTo>
                        <a:pt x="289535" y="1324256"/>
                        <a:pt x="266316" y="1291233"/>
                        <a:pt x="246193" y="1255631"/>
                      </a:cubicBezTo>
                      <a:cubicBezTo>
                        <a:pt x="241549" y="1247375"/>
                        <a:pt x="236905" y="1248923"/>
                        <a:pt x="230713" y="1253051"/>
                      </a:cubicBezTo>
                      <a:cubicBezTo>
                        <a:pt x="191499" y="1277302"/>
                        <a:pt x="145577" y="1277818"/>
                        <a:pt x="102751" y="1289685"/>
                      </a:cubicBezTo>
                      <a:cubicBezTo>
                        <a:pt x="97075" y="1291233"/>
                        <a:pt x="93979" y="1288137"/>
                        <a:pt x="91916" y="1282978"/>
                      </a:cubicBezTo>
                      <a:cubicBezTo>
                        <a:pt x="77984" y="1254083"/>
                        <a:pt x="65085" y="1224156"/>
                        <a:pt x="53733" y="1194230"/>
                      </a:cubicBezTo>
                      <a:cubicBezTo>
                        <a:pt x="51669" y="1188038"/>
                        <a:pt x="53217" y="1184426"/>
                        <a:pt x="58377" y="1181330"/>
                      </a:cubicBezTo>
                      <a:cubicBezTo>
                        <a:pt x="86240" y="1162755"/>
                        <a:pt x="113587" y="1143664"/>
                        <a:pt x="142481" y="1125605"/>
                      </a:cubicBezTo>
                      <a:cubicBezTo>
                        <a:pt x="151769" y="1119929"/>
                        <a:pt x="163120" y="1117349"/>
                        <a:pt x="173956" y="1114253"/>
                      </a:cubicBezTo>
                      <a:cubicBezTo>
                        <a:pt x="180664" y="1112189"/>
                        <a:pt x="182727" y="1109093"/>
                        <a:pt x="180664" y="1101870"/>
                      </a:cubicBezTo>
                      <a:cubicBezTo>
                        <a:pt x="168796" y="1062139"/>
                        <a:pt x="160541" y="1021893"/>
                        <a:pt x="154865" y="981131"/>
                      </a:cubicBezTo>
                      <a:cubicBezTo>
                        <a:pt x="153833" y="974423"/>
                        <a:pt x="150737" y="972359"/>
                        <a:pt x="144029" y="973391"/>
                      </a:cubicBezTo>
                      <a:cubicBezTo>
                        <a:pt x="98107" y="981131"/>
                        <a:pt x="54765" y="963588"/>
                        <a:pt x="10391" y="958428"/>
                      </a:cubicBezTo>
                      <a:cubicBezTo>
                        <a:pt x="4715" y="957912"/>
                        <a:pt x="2652" y="954300"/>
                        <a:pt x="2135" y="948624"/>
                      </a:cubicBezTo>
                      <a:cubicBezTo>
                        <a:pt x="-960" y="916118"/>
                        <a:pt x="72" y="883611"/>
                        <a:pt x="588" y="850589"/>
                      </a:cubicBezTo>
                      <a:cubicBezTo>
                        <a:pt x="588" y="844397"/>
                        <a:pt x="4715" y="841817"/>
                        <a:pt x="10391" y="840785"/>
                      </a:cubicBezTo>
                      <a:cubicBezTo>
                        <a:pt x="43930" y="834077"/>
                        <a:pt x="76952" y="827370"/>
                        <a:pt x="110491" y="820662"/>
                      </a:cubicBezTo>
                      <a:cubicBezTo>
                        <a:pt x="120294" y="818598"/>
                        <a:pt x="130098" y="821694"/>
                        <a:pt x="139901" y="822726"/>
                      </a:cubicBezTo>
                      <a:cubicBezTo>
                        <a:pt x="148157" y="823758"/>
                        <a:pt x="152285" y="820662"/>
                        <a:pt x="153317" y="811890"/>
                      </a:cubicBezTo>
                      <a:cubicBezTo>
                        <a:pt x="157445" y="773192"/>
                        <a:pt x="164668" y="734494"/>
                        <a:pt x="174472" y="696827"/>
                      </a:cubicBezTo>
                      <a:cubicBezTo>
                        <a:pt x="177052" y="687024"/>
                        <a:pt x="173440" y="682380"/>
                        <a:pt x="164152" y="680316"/>
                      </a:cubicBezTo>
                      <a:cubicBezTo>
                        <a:pt x="120294" y="668965"/>
                        <a:pt x="87272" y="636974"/>
                        <a:pt x="49090" y="615819"/>
                      </a:cubicBezTo>
                      <a:cubicBezTo>
                        <a:pt x="44961" y="613755"/>
                        <a:pt x="44961" y="610143"/>
                        <a:pt x="45993" y="606015"/>
                      </a:cubicBezTo>
                      <a:cubicBezTo>
                        <a:pt x="56313" y="574541"/>
                        <a:pt x="69212" y="544098"/>
                        <a:pt x="82628" y="513655"/>
                      </a:cubicBezTo>
                      <a:cubicBezTo>
                        <a:pt x="85208" y="507980"/>
                        <a:pt x="89336" y="506948"/>
                        <a:pt x="93979" y="508496"/>
                      </a:cubicBezTo>
                      <a:cubicBezTo>
                        <a:pt x="137322" y="519847"/>
                        <a:pt x="183760" y="518815"/>
                        <a:pt x="224006" y="543066"/>
                      </a:cubicBezTo>
                      <a:cubicBezTo>
                        <a:pt x="230713" y="547194"/>
                        <a:pt x="233809" y="544614"/>
                        <a:pt x="236905" y="538938"/>
                      </a:cubicBezTo>
                      <a:cubicBezTo>
                        <a:pt x="255996" y="503336"/>
                        <a:pt x="278183" y="469281"/>
                        <a:pt x="302434" y="437291"/>
                      </a:cubicBezTo>
                      <a:cubicBezTo>
                        <a:pt x="305530" y="433163"/>
                        <a:pt x="310690" y="428519"/>
                        <a:pt x="302950" y="423359"/>
                      </a:cubicBezTo>
                      <a:cubicBezTo>
                        <a:pt x="273540" y="404268"/>
                        <a:pt x="258576" y="373826"/>
                        <a:pt x="238453" y="346995"/>
                      </a:cubicBezTo>
                      <a:cubicBezTo>
                        <a:pt x="234841" y="342351"/>
                        <a:pt x="232262" y="337707"/>
                        <a:pt x="228650" y="333063"/>
                      </a:cubicBezTo>
                      <a:cubicBezTo>
                        <a:pt x="212654" y="310360"/>
                        <a:pt x="212138" y="309844"/>
                        <a:pt x="230713" y="290237"/>
                      </a:cubicBezTo>
                      <a:cubicBezTo>
                        <a:pt x="248257" y="271662"/>
                        <a:pt x="266316" y="254119"/>
                        <a:pt x="283859" y="236060"/>
                      </a:cubicBezTo>
                      <a:cubicBezTo>
                        <a:pt x="289535" y="230384"/>
                        <a:pt x="294179" y="229868"/>
                        <a:pt x="300370" y="234512"/>
                      </a:cubicBezTo>
                      <a:cubicBezTo>
                        <a:pt x="327201" y="252571"/>
                        <a:pt x="354032" y="270114"/>
                        <a:pt x="380863" y="288173"/>
                      </a:cubicBezTo>
                      <a:cubicBezTo>
                        <a:pt x="390150" y="294365"/>
                        <a:pt x="396342" y="303137"/>
                        <a:pt x="403050" y="311392"/>
                      </a:cubicBezTo>
                      <a:cubicBezTo>
                        <a:pt x="408726" y="319132"/>
                        <a:pt x="413885" y="320680"/>
                        <a:pt x="422141" y="313972"/>
                      </a:cubicBezTo>
                      <a:cubicBezTo>
                        <a:pt x="452584" y="288689"/>
                        <a:pt x="485606" y="266502"/>
                        <a:pt x="519661" y="246895"/>
                      </a:cubicBezTo>
                      <a:cubicBezTo>
                        <a:pt x="524820" y="243799"/>
                        <a:pt x="529464" y="240703"/>
                        <a:pt x="524820" y="233996"/>
                      </a:cubicBezTo>
                      <a:cubicBezTo>
                        <a:pt x="502633" y="202005"/>
                        <a:pt x="501086" y="163823"/>
                        <a:pt x="492314" y="127704"/>
                      </a:cubicBezTo>
                      <a:cubicBezTo>
                        <a:pt x="484574" y="96230"/>
                        <a:pt x="485606" y="96746"/>
                        <a:pt x="514501" y="82298"/>
                      </a:cubicBezTo>
                      <a:cubicBezTo>
                        <a:pt x="535140" y="71979"/>
                        <a:pt x="557327" y="64239"/>
                        <a:pt x="578482" y="55468"/>
                      </a:cubicBezTo>
                      <a:cubicBezTo>
                        <a:pt x="586222" y="52372"/>
                        <a:pt x="590866" y="52888"/>
                        <a:pt x="595509" y="60111"/>
                      </a:cubicBezTo>
                      <a:cubicBezTo>
                        <a:pt x="613053" y="86942"/>
                        <a:pt x="630596" y="113257"/>
                        <a:pt x="648655" y="139572"/>
                      </a:cubicBezTo>
                      <a:cubicBezTo>
                        <a:pt x="655363" y="149375"/>
                        <a:pt x="657427" y="160727"/>
                        <a:pt x="661039" y="172078"/>
                      </a:cubicBezTo>
                      <a:cubicBezTo>
                        <a:pt x="663618" y="180334"/>
                        <a:pt x="667230" y="182914"/>
                        <a:pt x="675486" y="180334"/>
                      </a:cubicBezTo>
                      <a:cubicBezTo>
                        <a:pt x="713668" y="168983"/>
                        <a:pt x="752882" y="160727"/>
                        <a:pt x="792613" y="155567"/>
                      </a:cubicBezTo>
                      <a:cubicBezTo>
                        <a:pt x="800352" y="154535"/>
                        <a:pt x="802932" y="151439"/>
                        <a:pt x="801900" y="143700"/>
                      </a:cubicBezTo>
                      <a:cubicBezTo>
                        <a:pt x="795193" y="98294"/>
                        <a:pt x="811704" y="55468"/>
                        <a:pt x="816864" y="11094"/>
                      </a:cubicBezTo>
                      <a:cubicBezTo>
                        <a:pt x="817380" y="5934"/>
                        <a:pt x="820476" y="2838"/>
                        <a:pt x="826151" y="2322"/>
                      </a:cubicBezTo>
                      <a:cubicBezTo>
                        <a:pt x="859174" y="-1290"/>
                        <a:pt x="892196" y="258"/>
                        <a:pt x="925219" y="774"/>
                      </a:cubicBezTo>
                      <a:cubicBezTo>
                        <a:pt x="930895" y="774"/>
                        <a:pt x="933475" y="4902"/>
                        <a:pt x="934507" y="10062"/>
                      </a:cubicBezTo>
                      <a:cubicBezTo>
                        <a:pt x="941214" y="43600"/>
                        <a:pt x="948438" y="77139"/>
                        <a:pt x="954114" y="111193"/>
                      </a:cubicBezTo>
                      <a:cubicBezTo>
                        <a:pt x="955662" y="120481"/>
                        <a:pt x="953082" y="130800"/>
                        <a:pt x="952050" y="140604"/>
                      </a:cubicBezTo>
                      <a:cubicBezTo>
                        <a:pt x="951018" y="148343"/>
                        <a:pt x="954114" y="151955"/>
                        <a:pt x="962369" y="152987"/>
                      </a:cubicBezTo>
                      <a:cubicBezTo>
                        <a:pt x="1001584" y="157115"/>
                        <a:pt x="1040798" y="164339"/>
                        <a:pt x="1078980" y="174658"/>
                      </a:cubicBezTo>
                      <a:cubicBezTo>
                        <a:pt x="1085172" y="176206"/>
                        <a:pt x="1091364" y="176722"/>
                        <a:pt x="1093428" y="168467"/>
                      </a:cubicBezTo>
                      <a:cubicBezTo>
                        <a:pt x="1101683" y="130284"/>
                        <a:pt x="1127482" y="101390"/>
                        <a:pt x="1147089" y="69399"/>
                      </a:cubicBezTo>
                      <a:cubicBezTo>
                        <a:pt x="1162569" y="43084"/>
                        <a:pt x="1163601" y="43600"/>
                        <a:pt x="1192495" y="54436"/>
                      </a:cubicBezTo>
                      <a:cubicBezTo>
                        <a:pt x="1214682" y="62691"/>
                        <a:pt x="1236353" y="71979"/>
                        <a:pt x="1258024" y="81266"/>
                      </a:cubicBezTo>
                      <a:cubicBezTo>
                        <a:pt x="1265764" y="84362"/>
                        <a:pt x="1268860" y="88490"/>
                        <a:pt x="1267312" y="96746"/>
                      </a:cubicBezTo>
                      <a:cubicBezTo>
                        <a:pt x="1260604" y="128736"/>
                        <a:pt x="1254928" y="160727"/>
                        <a:pt x="1247705" y="192718"/>
                      </a:cubicBezTo>
                      <a:cubicBezTo>
                        <a:pt x="1245125" y="203553"/>
                        <a:pt x="1238417" y="213873"/>
                        <a:pt x="1233258" y="224192"/>
                      </a:cubicBezTo>
                      <a:cubicBezTo>
                        <a:pt x="1229646" y="230384"/>
                        <a:pt x="1230678" y="233996"/>
                        <a:pt x="1237385" y="237608"/>
                      </a:cubicBezTo>
                      <a:cubicBezTo>
                        <a:pt x="1273504" y="256699"/>
                        <a:pt x="1307558" y="279402"/>
                        <a:pt x="1340065" y="304169"/>
                      </a:cubicBezTo>
                      <a:cubicBezTo>
                        <a:pt x="1345741" y="308812"/>
                        <a:pt x="1349868" y="309328"/>
                        <a:pt x="1354512" y="302621"/>
                      </a:cubicBezTo>
                      <a:cubicBezTo>
                        <a:pt x="1381343" y="264954"/>
                        <a:pt x="1424169" y="246379"/>
                        <a:pt x="1459771" y="218516"/>
                      </a:cubicBezTo>
                      <a:cubicBezTo>
                        <a:pt x="1464415" y="214905"/>
                        <a:pt x="1468027" y="216452"/>
                        <a:pt x="1472155" y="220064"/>
                      </a:cubicBezTo>
                      <a:cubicBezTo>
                        <a:pt x="1496406" y="241219"/>
                        <a:pt x="1519109" y="264438"/>
                        <a:pt x="1541296" y="287657"/>
                      </a:cubicBezTo>
                      <a:cubicBezTo>
                        <a:pt x="1545424" y="292301"/>
                        <a:pt x="1545940" y="296429"/>
                        <a:pt x="1542328" y="301073"/>
                      </a:cubicBezTo>
                      <a:cubicBezTo>
                        <a:pt x="1523237" y="329452"/>
                        <a:pt x="1505177" y="357830"/>
                        <a:pt x="1485570" y="385693"/>
                      </a:cubicBezTo>
                      <a:cubicBezTo>
                        <a:pt x="1479895" y="393949"/>
                        <a:pt x="1470607" y="400140"/>
                        <a:pt x="1462868" y="406332"/>
                      </a:cubicBezTo>
                      <a:cubicBezTo>
                        <a:pt x="1456676" y="411492"/>
                        <a:pt x="1455644" y="416136"/>
                        <a:pt x="1460803" y="422327"/>
                      </a:cubicBezTo>
                      <a:cubicBezTo>
                        <a:pt x="1486086" y="453802"/>
                        <a:pt x="1509305" y="487341"/>
                        <a:pt x="1529428" y="522427"/>
                      </a:cubicBezTo>
                      <a:cubicBezTo>
                        <a:pt x="1534072" y="530167"/>
                        <a:pt x="1538716" y="529135"/>
                        <a:pt x="1544908" y="525007"/>
                      </a:cubicBezTo>
                      <a:cubicBezTo>
                        <a:pt x="1584122" y="500756"/>
                        <a:pt x="1630044" y="500240"/>
                        <a:pt x="1672870" y="488373"/>
                      </a:cubicBezTo>
                      <a:cubicBezTo>
                        <a:pt x="1678546" y="486825"/>
                        <a:pt x="1681642" y="489921"/>
                        <a:pt x="1683706" y="495080"/>
                      </a:cubicBezTo>
                      <a:cubicBezTo>
                        <a:pt x="1697637" y="523975"/>
                        <a:pt x="1710537" y="553902"/>
                        <a:pt x="1721888" y="583828"/>
                      </a:cubicBezTo>
                      <a:cubicBezTo>
                        <a:pt x="1723952" y="590020"/>
                        <a:pt x="1722404" y="593632"/>
                        <a:pt x="1717244" y="596728"/>
                      </a:cubicBezTo>
                      <a:cubicBezTo>
                        <a:pt x="1689381" y="615303"/>
                        <a:pt x="1662035" y="634394"/>
                        <a:pt x="1633140" y="652453"/>
                      </a:cubicBezTo>
                      <a:cubicBezTo>
                        <a:pt x="1623852" y="658129"/>
                        <a:pt x="1612501" y="660709"/>
                        <a:pt x="1601665" y="663805"/>
                      </a:cubicBezTo>
                      <a:cubicBezTo>
                        <a:pt x="1594958" y="665869"/>
                        <a:pt x="1592894" y="668965"/>
                        <a:pt x="1594958" y="676188"/>
                      </a:cubicBezTo>
                      <a:cubicBezTo>
                        <a:pt x="1606309" y="715403"/>
                        <a:pt x="1615081" y="755133"/>
                        <a:pt x="1620241" y="795895"/>
                      </a:cubicBezTo>
                      <a:cubicBezTo>
                        <a:pt x="1621272" y="803119"/>
                        <a:pt x="1624368" y="805699"/>
                        <a:pt x="1631076" y="804667"/>
                      </a:cubicBezTo>
                      <a:cubicBezTo>
                        <a:pt x="1676482" y="797959"/>
                        <a:pt x="1719308" y="814470"/>
                        <a:pt x="1763682" y="819630"/>
                      </a:cubicBezTo>
                      <a:cubicBezTo>
                        <a:pt x="1769874" y="820146"/>
                        <a:pt x="1772454" y="823758"/>
                        <a:pt x="1773486" y="829950"/>
                      </a:cubicBezTo>
                      <a:cubicBezTo>
                        <a:pt x="1776582" y="862456"/>
                        <a:pt x="1775034" y="895479"/>
                        <a:pt x="1775034" y="927985"/>
                      </a:cubicBezTo>
                      <a:cubicBezTo>
                        <a:pt x="1775034" y="933661"/>
                        <a:pt x="1771422" y="936241"/>
                        <a:pt x="1766262" y="937273"/>
                      </a:cubicBezTo>
                      <a:cubicBezTo>
                        <a:pt x="1732207" y="943981"/>
                        <a:pt x="1698153" y="951204"/>
                        <a:pt x="1663583" y="957396"/>
                      </a:cubicBezTo>
                      <a:cubicBezTo>
                        <a:pt x="1654811" y="958944"/>
                        <a:pt x="1645523" y="956364"/>
                        <a:pt x="1636752" y="955332"/>
                      </a:cubicBezTo>
                      <a:cubicBezTo>
                        <a:pt x="1627980" y="954300"/>
                        <a:pt x="1623336" y="956364"/>
                        <a:pt x="1622304" y="966684"/>
                      </a:cubicBezTo>
                      <a:cubicBezTo>
                        <a:pt x="1618177" y="1005382"/>
                        <a:pt x="1610953" y="1044080"/>
                        <a:pt x="1601149" y="1081746"/>
                      </a:cubicBezTo>
                      <a:cubicBezTo>
                        <a:pt x="1598569" y="1091034"/>
                        <a:pt x="1601665" y="1095678"/>
                        <a:pt x="1610437" y="1097742"/>
                      </a:cubicBezTo>
                      <a:cubicBezTo>
                        <a:pt x="1654811" y="1108577"/>
                        <a:pt x="1687318" y="1140568"/>
                        <a:pt x="1726016" y="1161723"/>
                      </a:cubicBezTo>
                      <a:cubicBezTo>
                        <a:pt x="1731176" y="1164819"/>
                        <a:pt x="1731176" y="1168947"/>
                        <a:pt x="1729112" y="1174107"/>
                      </a:cubicBezTo>
                      <a:cubicBezTo>
                        <a:pt x="1718792" y="1204549"/>
                        <a:pt x="1706409" y="1234476"/>
                        <a:pt x="1693509" y="1263887"/>
                      </a:cubicBezTo>
                      <a:cubicBezTo>
                        <a:pt x="1690929" y="1269562"/>
                        <a:pt x="1687318" y="1271626"/>
                        <a:pt x="1681126" y="1270078"/>
                      </a:cubicBezTo>
                      <a:cubicBezTo>
                        <a:pt x="1648103" y="1263371"/>
                        <a:pt x="1614565" y="1257179"/>
                        <a:pt x="1581542" y="1249955"/>
                      </a:cubicBezTo>
                      <a:cubicBezTo>
                        <a:pt x="1571223" y="1247375"/>
                        <a:pt x="1561935" y="1241184"/>
                        <a:pt x="1552647" y="1236024"/>
                      </a:cubicBezTo>
                      <a:cubicBezTo>
                        <a:pt x="1545940" y="1232412"/>
                        <a:pt x="1542328" y="1232928"/>
                        <a:pt x="1538200" y="1240152"/>
                      </a:cubicBezTo>
                      <a:cubicBezTo>
                        <a:pt x="1519109" y="1275238"/>
                        <a:pt x="1497954" y="1309293"/>
                        <a:pt x="1473187" y="1340767"/>
                      </a:cubicBezTo>
                      <a:cubicBezTo>
                        <a:pt x="1467511" y="1347991"/>
                        <a:pt x="1466479" y="1352635"/>
                        <a:pt x="1475251" y="1358310"/>
                      </a:cubicBezTo>
                      <a:cubicBezTo>
                        <a:pt x="1502598" y="1375854"/>
                        <a:pt x="1516013" y="1405264"/>
                        <a:pt x="1535104" y="1430031"/>
                      </a:cubicBezTo>
                      <a:cubicBezTo>
                        <a:pt x="1538716" y="1434675"/>
                        <a:pt x="1541812" y="1439835"/>
                        <a:pt x="1545424" y="1444995"/>
                      </a:cubicBezTo>
                      <a:cubicBezTo>
                        <a:pt x="1566063" y="1474921"/>
                        <a:pt x="1565031" y="1464602"/>
                        <a:pt x="1542844" y="1489885"/>
                      </a:cubicBezTo>
                      <a:cubicBezTo>
                        <a:pt x="1526849" y="1508460"/>
                        <a:pt x="1508273" y="1524971"/>
                        <a:pt x="1491246" y="1542514"/>
                      </a:cubicBezTo>
                      <a:cubicBezTo>
                        <a:pt x="1485054" y="1549222"/>
                        <a:pt x="1479895" y="1549222"/>
                        <a:pt x="1472155" y="1544062"/>
                      </a:cubicBezTo>
                      <a:cubicBezTo>
                        <a:pt x="1446356" y="1526519"/>
                        <a:pt x="1420041" y="1508976"/>
                        <a:pt x="1393726" y="1491948"/>
                      </a:cubicBezTo>
                      <a:cubicBezTo>
                        <a:pt x="1383923" y="1485241"/>
                        <a:pt x="1377215" y="1475437"/>
                        <a:pt x="1369992" y="1466666"/>
                      </a:cubicBezTo>
                      <a:cubicBezTo>
                        <a:pt x="1364316" y="1459958"/>
                        <a:pt x="1359672" y="1458926"/>
                        <a:pt x="1352964" y="1464602"/>
                      </a:cubicBezTo>
                      <a:cubicBezTo>
                        <a:pt x="1322005" y="1489885"/>
                        <a:pt x="1288983" y="1512588"/>
                        <a:pt x="1254413" y="1532711"/>
                      </a:cubicBezTo>
                      <a:cubicBezTo>
                        <a:pt x="1249769" y="1535291"/>
                        <a:pt x="1244609" y="1537871"/>
                        <a:pt x="1248737" y="1544578"/>
                      </a:cubicBezTo>
                      <a:cubicBezTo>
                        <a:pt x="1272472" y="1580181"/>
                        <a:pt x="1274020" y="1622491"/>
                        <a:pt x="1284339" y="1662221"/>
                      </a:cubicBezTo>
                      <a:cubicBezTo>
                        <a:pt x="1290531" y="1685440"/>
                        <a:pt x="1292079" y="1682344"/>
                        <a:pt x="1268860" y="1693180"/>
                      </a:cubicBezTo>
                      <a:cubicBezTo>
                        <a:pt x="1244609" y="1704531"/>
                        <a:pt x="1219842" y="1714335"/>
                        <a:pt x="1195591" y="1724654"/>
                      </a:cubicBezTo>
                      <a:cubicBezTo>
                        <a:pt x="1187851" y="1727750"/>
                        <a:pt x="1183208" y="1726718"/>
                        <a:pt x="1178564" y="1719495"/>
                      </a:cubicBezTo>
                      <a:cubicBezTo>
                        <a:pt x="1161021" y="1692664"/>
                        <a:pt x="1142962" y="1666865"/>
                        <a:pt x="1125418" y="1640034"/>
                      </a:cubicBezTo>
                      <a:cubicBezTo>
                        <a:pt x="1118711" y="1629715"/>
                        <a:pt x="1116131" y="1617847"/>
                        <a:pt x="1113035" y="1606496"/>
                      </a:cubicBezTo>
                      <a:cubicBezTo>
                        <a:pt x="1110971" y="1599272"/>
                        <a:pt x="1107359" y="1597208"/>
                        <a:pt x="1099619" y="1599272"/>
                      </a:cubicBezTo>
                      <a:cubicBezTo>
                        <a:pt x="1060405" y="1611139"/>
                        <a:pt x="1020675" y="1619395"/>
                        <a:pt x="979913" y="1624555"/>
                      </a:cubicBezTo>
                      <a:cubicBezTo>
                        <a:pt x="973205" y="1625587"/>
                        <a:pt x="971141" y="1628682"/>
                        <a:pt x="972173" y="1634874"/>
                      </a:cubicBezTo>
                      <a:cubicBezTo>
                        <a:pt x="979397" y="1680280"/>
                        <a:pt x="962885" y="1723106"/>
                        <a:pt x="957726" y="1767481"/>
                      </a:cubicBezTo>
                      <a:cubicBezTo>
                        <a:pt x="956694" y="1775220"/>
                        <a:pt x="952566" y="1777800"/>
                        <a:pt x="945858" y="1777800"/>
                      </a:cubicBezTo>
                      <a:cubicBezTo>
                        <a:pt x="929347" y="1778316"/>
                        <a:pt x="912320" y="1779348"/>
                        <a:pt x="895808" y="1779864"/>
                      </a:cubicBezTo>
                      <a:cubicBezTo>
                        <a:pt x="894776" y="1776252"/>
                        <a:pt x="894776" y="1776252"/>
                        <a:pt x="894776" y="1775736"/>
                      </a:cubicBezTo>
                      <a:close/>
                      <a:moveTo>
                        <a:pt x="890648" y="1454798"/>
                      </a:moveTo>
                      <a:cubicBezTo>
                        <a:pt x="1199203" y="1449638"/>
                        <a:pt x="1454096" y="1207645"/>
                        <a:pt x="1452548" y="884127"/>
                      </a:cubicBezTo>
                      <a:cubicBezTo>
                        <a:pt x="1451516" y="575057"/>
                        <a:pt x="1205395" y="320164"/>
                        <a:pt x="881361" y="322228"/>
                      </a:cubicBezTo>
                      <a:cubicBezTo>
                        <a:pt x="571775" y="324292"/>
                        <a:pt x="318429" y="570929"/>
                        <a:pt x="320494" y="893415"/>
                      </a:cubicBezTo>
                      <a:cubicBezTo>
                        <a:pt x="323073" y="1202485"/>
                        <a:pt x="569195" y="1452218"/>
                        <a:pt x="890648" y="1454798"/>
                      </a:cubicBezTo>
                      <a:close/>
                    </a:path>
                  </a:pathLst>
                </a:custGeom>
                <a:grpFill/>
                <a:ln w="515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" name="Freeform: Shape 33">
                  <a:extLst>
                    <a:ext uri="{FF2B5EF4-FFF2-40B4-BE49-F238E27FC236}">
                      <a16:creationId xmlns:a16="http://schemas.microsoft.com/office/drawing/2014/main" id="{CC131B02-5DBE-4634-A680-3DE71C853BD5}"/>
                    </a:ext>
                  </a:extLst>
                </p:cNvPr>
                <p:cNvSpPr/>
                <p:nvPr/>
              </p:nvSpPr>
              <p:spPr>
                <a:xfrm>
                  <a:off x="3733675" y="2339591"/>
                  <a:ext cx="835883" cy="835883"/>
                </a:xfrm>
                <a:custGeom>
                  <a:avLst/>
                  <a:gdLst>
                    <a:gd name="connsiteX0" fmla="*/ 836916 w 835883"/>
                    <a:gd name="connsiteY0" fmla="*/ 418458 h 835883"/>
                    <a:gd name="connsiteX1" fmla="*/ 418459 w 835883"/>
                    <a:gd name="connsiteY1" fmla="*/ 836399 h 835883"/>
                    <a:gd name="connsiteX2" fmla="*/ 1 w 835883"/>
                    <a:gd name="connsiteY2" fmla="*/ 417426 h 835883"/>
                    <a:gd name="connsiteX3" fmla="*/ 418975 w 835883"/>
                    <a:gd name="connsiteY3" fmla="*/ 0 h 835883"/>
                    <a:gd name="connsiteX4" fmla="*/ 836916 w 835883"/>
                    <a:gd name="connsiteY4" fmla="*/ 418458 h 8358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35883" h="835883">
                      <a:moveTo>
                        <a:pt x="836916" y="418458"/>
                      </a:moveTo>
                      <a:cubicBezTo>
                        <a:pt x="833821" y="651679"/>
                        <a:pt x="651165" y="836915"/>
                        <a:pt x="418459" y="836399"/>
                      </a:cubicBezTo>
                      <a:cubicBezTo>
                        <a:pt x="182657" y="836399"/>
                        <a:pt x="-515" y="649615"/>
                        <a:pt x="1" y="417426"/>
                      </a:cubicBezTo>
                      <a:cubicBezTo>
                        <a:pt x="517" y="181624"/>
                        <a:pt x="187301" y="0"/>
                        <a:pt x="418975" y="0"/>
                      </a:cubicBezTo>
                      <a:cubicBezTo>
                        <a:pt x="651680" y="516"/>
                        <a:pt x="833821" y="186268"/>
                        <a:pt x="836916" y="418458"/>
                      </a:cubicBezTo>
                      <a:close/>
                    </a:path>
                  </a:pathLst>
                </a:custGeom>
                <a:grpFill/>
                <a:ln w="515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0D8BF0D2-0FDC-4959-85DD-F748038440E1}"/>
                  </a:ext>
                </a:extLst>
              </p:cNvPr>
              <p:cNvSpPr/>
              <p:nvPr/>
            </p:nvSpPr>
            <p:spPr>
              <a:xfrm>
                <a:off x="1727363" y="4086481"/>
                <a:ext cx="683882" cy="686216"/>
              </a:xfrm>
              <a:custGeom>
                <a:avLst/>
                <a:gdLst>
                  <a:gd name="connsiteX0" fmla="*/ 817500 w 1511813"/>
                  <a:gd name="connsiteY0" fmla="*/ 1518710 h 1516973"/>
                  <a:gd name="connsiteX1" fmla="*/ 802537 w 1511813"/>
                  <a:gd name="connsiteY1" fmla="*/ 1507875 h 1516973"/>
                  <a:gd name="connsiteX2" fmla="*/ 780866 w 1511813"/>
                  <a:gd name="connsiteY2" fmla="*/ 1442862 h 1516973"/>
                  <a:gd name="connsiteX3" fmla="*/ 776738 w 1511813"/>
                  <a:gd name="connsiteY3" fmla="*/ 1385072 h 1516973"/>
                  <a:gd name="connsiteX4" fmla="*/ 760227 w 1511813"/>
                  <a:gd name="connsiteY4" fmla="*/ 1369593 h 1516973"/>
                  <a:gd name="connsiteX5" fmla="*/ 694698 w 1511813"/>
                  <a:gd name="connsiteY5" fmla="*/ 1366497 h 1516973"/>
                  <a:gd name="connsiteX6" fmla="*/ 676638 w 1511813"/>
                  <a:gd name="connsiteY6" fmla="*/ 1379912 h 1516973"/>
                  <a:gd name="connsiteX7" fmla="*/ 637940 w 1511813"/>
                  <a:gd name="connsiteY7" fmla="*/ 1501683 h 1516973"/>
                  <a:gd name="connsiteX8" fmla="*/ 622977 w 1511813"/>
                  <a:gd name="connsiteY8" fmla="*/ 1508907 h 1516973"/>
                  <a:gd name="connsiteX9" fmla="*/ 430517 w 1511813"/>
                  <a:gd name="connsiteY9" fmla="*/ 1447505 h 1516973"/>
                  <a:gd name="connsiteX10" fmla="*/ 422262 w 1511813"/>
                  <a:gd name="connsiteY10" fmla="*/ 1431510 h 1516973"/>
                  <a:gd name="connsiteX11" fmla="*/ 435677 w 1511813"/>
                  <a:gd name="connsiteY11" fmla="*/ 1364433 h 1516973"/>
                  <a:gd name="connsiteX12" fmla="*/ 461992 w 1511813"/>
                  <a:gd name="connsiteY12" fmla="*/ 1310255 h 1516973"/>
                  <a:gd name="connsiteX13" fmla="*/ 456316 w 1511813"/>
                  <a:gd name="connsiteY13" fmla="*/ 1290132 h 1516973"/>
                  <a:gd name="connsiteX14" fmla="*/ 395431 w 1511813"/>
                  <a:gd name="connsiteY14" fmla="*/ 1251434 h 1516973"/>
                  <a:gd name="connsiteX15" fmla="*/ 378919 w 1511813"/>
                  <a:gd name="connsiteY15" fmla="*/ 1254014 h 1516973"/>
                  <a:gd name="connsiteX16" fmla="*/ 283464 w 1511813"/>
                  <a:gd name="connsiteY16" fmla="*/ 1342246 h 1516973"/>
                  <a:gd name="connsiteX17" fmla="*/ 265920 w 1511813"/>
                  <a:gd name="connsiteY17" fmla="*/ 1341214 h 1516973"/>
                  <a:gd name="connsiteX18" fmla="*/ 130218 w 1511813"/>
                  <a:gd name="connsiteY18" fmla="*/ 1191580 h 1516973"/>
                  <a:gd name="connsiteX19" fmla="*/ 130734 w 1511813"/>
                  <a:gd name="connsiteY19" fmla="*/ 1174553 h 1516973"/>
                  <a:gd name="connsiteX20" fmla="*/ 177688 w 1511813"/>
                  <a:gd name="connsiteY20" fmla="*/ 1121408 h 1516973"/>
                  <a:gd name="connsiteX21" fmla="*/ 225674 w 1511813"/>
                  <a:gd name="connsiteY21" fmla="*/ 1089417 h 1516973"/>
                  <a:gd name="connsiteX22" fmla="*/ 230834 w 1511813"/>
                  <a:gd name="connsiteY22" fmla="*/ 1067230 h 1516973"/>
                  <a:gd name="connsiteX23" fmla="*/ 198327 w 1511813"/>
                  <a:gd name="connsiteY23" fmla="*/ 1004281 h 1516973"/>
                  <a:gd name="connsiteX24" fmla="*/ 183880 w 1511813"/>
                  <a:gd name="connsiteY24" fmla="*/ 998089 h 1516973"/>
                  <a:gd name="connsiteX25" fmla="*/ 67269 w 1511813"/>
                  <a:gd name="connsiteY25" fmla="*/ 1025952 h 1516973"/>
                  <a:gd name="connsiteX26" fmla="*/ 55918 w 1511813"/>
                  <a:gd name="connsiteY26" fmla="*/ 1027500 h 1516973"/>
                  <a:gd name="connsiteX27" fmla="*/ 41470 w 1511813"/>
                  <a:gd name="connsiteY27" fmla="*/ 1018212 h 1516973"/>
                  <a:gd name="connsiteX28" fmla="*/ 1224 w 1511813"/>
                  <a:gd name="connsiteY28" fmla="*/ 841748 h 1516973"/>
                  <a:gd name="connsiteX29" fmla="*/ 30635 w 1511813"/>
                  <a:gd name="connsiteY29" fmla="*/ 797374 h 1516973"/>
                  <a:gd name="connsiteX30" fmla="*/ 134862 w 1511813"/>
                  <a:gd name="connsiteY30" fmla="*/ 778799 h 1516973"/>
                  <a:gd name="connsiteX31" fmla="*/ 147246 w 1511813"/>
                  <a:gd name="connsiteY31" fmla="*/ 765899 h 1516973"/>
                  <a:gd name="connsiteX32" fmla="*/ 150342 w 1511813"/>
                  <a:gd name="connsiteY32" fmla="*/ 696242 h 1516973"/>
                  <a:gd name="connsiteX33" fmla="*/ 137442 w 1511813"/>
                  <a:gd name="connsiteY33" fmla="*/ 678699 h 1516973"/>
                  <a:gd name="connsiteX34" fmla="*/ 14639 w 1511813"/>
                  <a:gd name="connsiteY34" fmla="*/ 639485 h 1516973"/>
                  <a:gd name="connsiteX35" fmla="*/ 7932 w 1511813"/>
                  <a:gd name="connsiteY35" fmla="*/ 625037 h 1516973"/>
                  <a:gd name="connsiteX36" fmla="*/ 69333 w 1511813"/>
                  <a:gd name="connsiteY36" fmla="*/ 432578 h 1516973"/>
                  <a:gd name="connsiteX37" fmla="*/ 86360 w 1511813"/>
                  <a:gd name="connsiteY37" fmla="*/ 423806 h 1516973"/>
                  <a:gd name="connsiteX38" fmla="*/ 150858 w 1511813"/>
                  <a:gd name="connsiteY38" fmla="*/ 436706 h 1516973"/>
                  <a:gd name="connsiteX39" fmla="*/ 206583 w 1511813"/>
                  <a:gd name="connsiteY39" fmla="*/ 463536 h 1516973"/>
                  <a:gd name="connsiteX40" fmla="*/ 227738 w 1511813"/>
                  <a:gd name="connsiteY40" fmla="*/ 457345 h 1516973"/>
                  <a:gd name="connsiteX41" fmla="*/ 266952 w 1511813"/>
                  <a:gd name="connsiteY41" fmla="*/ 396459 h 1516973"/>
                  <a:gd name="connsiteX42" fmla="*/ 264373 w 1511813"/>
                  <a:gd name="connsiteY42" fmla="*/ 380980 h 1516973"/>
                  <a:gd name="connsiteX43" fmla="*/ 175108 w 1511813"/>
                  <a:gd name="connsiteY43" fmla="*/ 284492 h 1516973"/>
                  <a:gd name="connsiteX44" fmla="*/ 176140 w 1511813"/>
                  <a:gd name="connsiteY44" fmla="*/ 267981 h 1516973"/>
                  <a:gd name="connsiteX45" fmla="*/ 325258 w 1511813"/>
                  <a:gd name="connsiteY45" fmla="*/ 132279 h 1516973"/>
                  <a:gd name="connsiteX46" fmla="*/ 343317 w 1511813"/>
                  <a:gd name="connsiteY46" fmla="*/ 132795 h 1516973"/>
                  <a:gd name="connsiteX47" fmla="*/ 395431 w 1511813"/>
                  <a:gd name="connsiteY47" fmla="*/ 178717 h 1516973"/>
                  <a:gd name="connsiteX48" fmla="*/ 426389 w 1511813"/>
                  <a:gd name="connsiteY48" fmla="*/ 224639 h 1516973"/>
                  <a:gd name="connsiteX49" fmla="*/ 451156 w 1511813"/>
                  <a:gd name="connsiteY49" fmla="*/ 231347 h 1516973"/>
                  <a:gd name="connsiteX50" fmla="*/ 512042 w 1511813"/>
                  <a:gd name="connsiteY50" fmla="*/ 200388 h 1516973"/>
                  <a:gd name="connsiteX51" fmla="*/ 518233 w 1511813"/>
                  <a:gd name="connsiteY51" fmla="*/ 183877 h 1516973"/>
                  <a:gd name="connsiteX52" fmla="*/ 491403 w 1511813"/>
                  <a:gd name="connsiteY52" fmla="*/ 69846 h 1516973"/>
                  <a:gd name="connsiteX53" fmla="*/ 489855 w 1511813"/>
                  <a:gd name="connsiteY53" fmla="*/ 58494 h 1516973"/>
                  <a:gd name="connsiteX54" fmla="*/ 499658 w 1511813"/>
                  <a:gd name="connsiteY54" fmla="*/ 43015 h 1516973"/>
                  <a:gd name="connsiteX55" fmla="*/ 695730 w 1511813"/>
                  <a:gd name="connsiteY55" fmla="*/ 189 h 1516973"/>
                  <a:gd name="connsiteX56" fmla="*/ 713273 w 1511813"/>
                  <a:gd name="connsiteY56" fmla="*/ 12056 h 1516973"/>
                  <a:gd name="connsiteX57" fmla="*/ 721012 w 1511813"/>
                  <a:gd name="connsiteY57" fmla="*/ 35275 h 1516973"/>
                  <a:gd name="connsiteX58" fmla="*/ 738556 w 1511813"/>
                  <a:gd name="connsiteY58" fmla="*/ 134343 h 1516973"/>
                  <a:gd name="connsiteX59" fmla="*/ 753519 w 1511813"/>
                  <a:gd name="connsiteY59" fmla="*/ 148790 h 1516973"/>
                  <a:gd name="connsiteX60" fmla="*/ 820596 w 1511813"/>
                  <a:gd name="connsiteY60" fmla="*/ 151886 h 1516973"/>
                  <a:gd name="connsiteX61" fmla="*/ 838655 w 1511813"/>
                  <a:gd name="connsiteY61" fmla="*/ 138471 h 1516973"/>
                  <a:gd name="connsiteX62" fmla="*/ 877354 w 1511813"/>
                  <a:gd name="connsiteY62" fmla="*/ 16700 h 1516973"/>
                  <a:gd name="connsiteX63" fmla="*/ 892317 w 1511813"/>
                  <a:gd name="connsiteY63" fmla="*/ 9476 h 1516973"/>
                  <a:gd name="connsiteX64" fmla="*/ 1084777 w 1511813"/>
                  <a:gd name="connsiteY64" fmla="*/ 70878 h 1516973"/>
                  <a:gd name="connsiteX65" fmla="*/ 1093032 w 1511813"/>
                  <a:gd name="connsiteY65" fmla="*/ 86873 h 1516973"/>
                  <a:gd name="connsiteX66" fmla="*/ 1079617 w 1511813"/>
                  <a:gd name="connsiteY66" fmla="*/ 152402 h 1516973"/>
                  <a:gd name="connsiteX67" fmla="*/ 1053302 w 1511813"/>
                  <a:gd name="connsiteY67" fmla="*/ 206580 h 1516973"/>
                  <a:gd name="connsiteX68" fmla="*/ 1060010 w 1511813"/>
                  <a:gd name="connsiteY68" fmla="*/ 228251 h 1516973"/>
                  <a:gd name="connsiteX69" fmla="*/ 1118315 w 1511813"/>
                  <a:gd name="connsiteY69" fmla="*/ 265917 h 1516973"/>
                  <a:gd name="connsiteX70" fmla="*/ 1136374 w 1511813"/>
                  <a:gd name="connsiteY70" fmla="*/ 262821 h 1516973"/>
                  <a:gd name="connsiteX71" fmla="*/ 1232346 w 1511813"/>
                  <a:gd name="connsiteY71" fmla="*/ 174589 h 1516973"/>
                  <a:gd name="connsiteX72" fmla="*/ 1247825 w 1511813"/>
                  <a:gd name="connsiteY72" fmla="*/ 175621 h 1516973"/>
                  <a:gd name="connsiteX73" fmla="*/ 1384559 w 1511813"/>
                  <a:gd name="connsiteY73" fmla="*/ 325770 h 1516973"/>
                  <a:gd name="connsiteX74" fmla="*/ 1384043 w 1511813"/>
                  <a:gd name="connsiteY74" fmla="*/ 342798 h 1516973"/>
                  <a:gd name="connsiteX75" fmla="*/ 1336057 w 1511813"/>
                  <a:gd name="connsiteY75" fmla="*/ 396975 h 1516973"/>
                  <a:gd name="connsiteX76" fmla="*/ 1291167 w 1511813"/>
                  <a:gd name="connsiteY76" fmla="*/ 426902 h 1516973"/>
                  <a:gd name="connsiteX77" fmla="*/ 1284976 w 1511813"/>
                  <a:gd name="connsiteY77" fmla="*/ 451153 h 1516973"/>
                  <a:gd name="connsiteX78" fmla="*/ 1316450 w 1511813"/>
                  <a:gd name="connsiteY78" fmla="*/ 513070 h 1516973"/>
                  <a:gd name="connsiteX79" fmla="*/ 1330898 w 1511813"/>
                  <a:gd name="connsiteY79" fmla="*/ 519262 h 1516973"/>
                  <a:gd name="connsiteX80" fmla="*/ 1447509 w 1511813"/>
                  <a:gd name="connsiteY80" fmla="*/ 491399 h 1516973"/>
                  <a:gd name="connsiteX81" fmla="*/ 1458860 w 1511813"/>
                  <a:gd name="connsiteY81" fmla="*/ 489851 h 1516973"/>
                  <a:gd name="connsiteX82" fmla="*/ 1473307 w 1511813"/>
                  <a:gd name="connsiteY82" fmla="*/ 499139 h 1516973"/>
                  <a:gd name="connsiteX83" fmla="*/ 1513554 w 1511813"/>
                  <a:gd name="connsiteY83" fmla="*/ 675603 h 1516973"/>
                  <a:gd name="connsiteX84" fmla="*/ 1514070 w 1511813"/>
                  <a:gd name="connsiteY84" fmla="*/ 679215 h 1516973"/>
                  <a:gd name="connsiteX85" fmla="*/ 1490335 w 1511813"/>
                  <a:gd name="connsiteY85" fmla="*/ 717397 h 1516973"/>
                  <a:gd name="connsiteX86" fmla="*/ 1379916 w 1511813"/>
                  <a:gd name="connsiteY86" fmla="*/ 738036 h 1516973"/>
                  <a:gd name="connsiteX87" fmla="*/ 1367532 w 1511813"/>
                  <a:gd name="connsiteY87" fmla="*/ 749904 h 1516973"/>
                  <a:gd name="connsiteX88" fmla="*/ 1363920 w 1511813"/>
                  <a:gd name="connsiteY88" fmla="*/ 822141 h 1516973"/>
                  <a:gd name="connsiteX89" fmla="*/ 1375788 w 1511813"/>
                  <a:gd name="connsiteY89" fmla="*/ 838136 h 1516973"/>
                  <a:gd name="connsiteX90" fmla="*/ 1498590 w 1511813"/>
                  <a:gd name="connsiteY90" fmla="*/ 876834 h 1516973"/>
                  <a:gd name="connsiteX91" fmla="*/ 1506330 w 1511813"/>
                  <a:gd name="connsiteY91" fmla="*/ 891798 h 1516973"/>
                  <a:gd name="connsiteX92" fmla="*/ 1444413 w 1511813"/>
                  <a:gd name="connsiteY92" fmla="*/ 1085289 h 1516973"/>
                  <a:gd name="connsiteX93" fmla="*/ 1429449 w 1511813"/>
                  <a:gd name="connsiteY93" fmla="*/ 1093029 h 1516973"/>
                  <a:gd name="connsiteX94" fmla="*/ 1306647 w 1511813"/>
                  <a:gd name="connsiteY94" fmla="*/ 1052783 h 1516973"/>
                  <a:gd name="connsiteX95" fmla="*/ 1287556 w 1511813"/>
                  <a:gd name="connsiteY95" fmla="*/ 1057942 h 1516973"/>
                  <a:gd name="connsiteX96" fmla="*/ 1248857 w 1511813"/>
                  <a:gd name="connsiteY96" fmla="*/ 1118828 h 1516973"/>
                  <a:gd name="connsiteX97" fmla="*/ 1250405 w 1511813"/>
                  <a:gd name="connsiteY97" fmla="*/ 1135339 h 1516973"/>
                  <a:gd name="connsiteX98" fmla="*/ 1339153 w 1511813"/>
                  <a:gd name="connsiteY98" fmla="*/ 1230795 h 1516973"/>
                  <a:gd name="connsiteX99" fmla="*/ 1337605 w 1511813"/>
                  <a:gd name="connsiteY99" fmla="*/ 1249370 h 1516973"/>
                  <a:gd name="connsiteX100" fmla="*/ 1189004 w 1511813"/>
                  <a:gd name="connsiteY100" fmla="*/ 1384040 h 1516973"/>
                  <a:gd name="connsiteX101" fmla="*/ 1170945 w 1511813"/>
                  <a:gd name="connsiteY101" fmla="*/ 1383524 h 1516973"/>
                  <a:gd name="connsiteX102" fmla="*/ 1118831 w 1511813"/>
                  <a:gd name="connsiteY102" fmla="*/ 1337602 h 1516973"/>
                  <a:gd name="connsiteX103" fmla="*/ 1086840 w 1511813"/>
                  <a:gd name="connsiteY103" fmla="*/ 1289616 h 1516973"/>
                  <a:gd name="connsiteX104" fmla="*/ 1064137 w 1511813"/>
                  <a:gd name="connsiteY104" fmla="*/ 1284456 h 1516973"/>
                  <a:gd name="connsiteX105" fmla="*/ 1002220 w 1511813"/>
                  <a:gd name="connsiteY105" fmla="*/ 1316447 h 1516973"/>
                  <a:gd name="connsiteX106" fmla="*/ 996028 w 1511813"/>
                  <a:gd name="connsiteY106" fmla="*/ 1332958 h 1516973"/>
                  <a:gd name="connsiteX107" fmla="*/ 1022859 w 1511813"/>
                  <a:gd name="connsiteY107" fmla="*/ 1446989 h 1516973"/>
                  <a:gd name="connsiteX108" fmla="*/ 1024407 w 1511813"/>
                  <a:gd name="connsiteY108" fmla="*/ 1459889 h 1516973"/>
                  <a:gd name="connsiteX109" fmla="*/ 1015636 w 1511813"/>
                  <a:gd name="connsiteY109" fmla="*/ 1473304 h 1516973"/>
                  <a:gd name="connsiteX110" fmla="*/ 817500 w 1511813"/>
                  <a:gd name="connsiteY110" fmla="*/ 1518710 h 1516973"/>
                  <a:gd name="connsiteX111" fmla="*/ 758163 w 1511813"/>
                  <a:gd name="connsiteY111" fmla="*/ 1148238 h 1516973"/>
                  <a:gd name="connsiteX112" fmla="*/ 1145146 w 1511813"/>
                  <a:gd name="connsiteY112" fmla="*/ 758675 h 1516973"/>
                  <a:gd name="connsiteX113" fmla="*/ 757131 w 1511813"/>
                  <a:gd name="connsiteY113" fmla="*/ 371176 h 1516973"/>
                  <a:gd name="connsiteX114" fmla="*/ 368600 w 1511813"/>
                  <a:gd name="connsiteY114" fmla="*/ 759707 h 1516973"/>
                  <a:gd name="connsiteX115" fmla="*/ 758163 w 1511813"/>
                  <a:gd name="connsiteY115" fmla="*/ 1148238 h 1516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</a:cxnLst>
                <a:rect l="l" t="t" r="r" b="b"/>
                <a:pathLst>
                  <a:path w="1511813" h="1516973">
                    <a:moveTo>
                      <a:pt x="817500" y="1518710"/>
                    </a:moveTo>
                    <a:cubicBezTo>
                      <a:pt x="809245" y="1520774"/>
                      <a:pt x="805633" y="1516130"/>
                      <a:pt x="802537" y="1507875"/>
                    </a:cubicBezTo>
                    <a:cubicBezTo>
                      <a:pt x="795829" y="1486204"/>
                      <a:pt x="788090" y="1464532"/>
                      <a:pt x="780866" y="1442862"/>
                    </a:cubicBezTo>
                    <a:cubicBezTo>
                      <a:pt x="774674" y="1424286"/>
                      <a:pt x="777770" y="1404679"/>
                      <a:pt x="776738" y="1385072"/>
                    </a:cubicBezTo>
                    <a:cubicBezTo>
                      <a:pt x="776222" y="1369593"/>
                      <a:pt x="775706" y="1370109"/>
                      <a:pt x="760227" y="1369593"/>
                    </a:cubicBezTo>
                    <a:cubicBezTo>
                      <a:pt x="738556" y="1369593"/>
                      <a:pt x="716369" y="1368045"/>
                      <a:pt x="694698" y="1366497"/>
                    </a:cubicBezTo>
                    <a:cubicBezTo>
                      <a:pt x="683346" y="1365465"/>
                      <a:pt x="676638" y="1365981"/>
                      <a:pt x="676638" y="1379912"/>
                    </a:cubicBezTo>
                    <a:cubicBezTo>
                      <a:pt x="676638" y="1424286"/>
                      <a:pt x="655483" y="1462469"/>
                      <a:pt x="637940" y="1501683"/>
                    </a:cubicBezTo>
                    <a:cubicBezTo>
                      <a:pt x="634844" y="1508907"/>
                      <a:pt x="630716" y="1510454"/>
                      <a:pt x="622977" y="1508907"/>
                    </a:cubicBezTo>
                    <a:cubicBezTo>
                      <a:pt x="556416" y="1496523"/>
                      <a:pt x="492434" y="1475368"/>
                      <a:pt x="430517" y="1447505"/>
                    </a:cubicBezTo>
                    <a:cubicBezTo>
                      <a:pt x="423294" y="1443893"/>
                      <a:pt x="420198" y="1440282"/>
                      <a:pt x="422262" y="1431510"/>
                    </a:cubicBezTo>
                    <a:cubicBezTo>
                      <a:pt x="427421" y="1409323"/>
                      <a:pt x="431033" y="1386620"/>
                      <a:pt x="435677" y="1364433"/>
                    </a:cubicBezTo>
                    <a:cubicBezTo>
                      <a:pt x="439805" y="1344310"/>
                      <a:pt x="452704" y="1327798"/>
                      <a:pt x="461992" y="1310255"/>
                    </a:cubicBezTo>
                    <a:cubicBezTo>
                      <a:pt x="467152" y="1300452"/>
                      <a:pt x="466120" y="1295808"/>
                      <a:pt x="456316" y="1290132"/>
                    </a:cubicBezTo>
                    <a:cubicBezTo>
                      <a:pt x="435677" y="1278265"/>
                      <a:pt x="415554" y="1264849"/>
                      <a:pt x="395431" y="1251434"/>
                    </a:cubicBezTo>
                    <a:cubicBezTo>
                      <a:pt x="388207" y="1246274"/>
                      <a:pt x="383563" y="1246274"/>
                      <a:pt x="378919" y="1254014"/>
                    </a:cubicBezTo>
                    <a:cubicBezTo>
                      <a:pt x="356216" y="1293228"/>
                      <a:pt x="319066" y="1317479"/>
                      <a:pt x="283464" y="1342246"/>
                    </a:cubicBezTo>
                    <a:cubicBezTo>
                      <a:pt x="276240" y="1346890"/>
                      <a:pt x="272112" y="1346374"/>
                      <a:pt x="265920" y="1341214"/>
                    </a:cubicBezTo>
                    <a:cubicBezTo>
                      <a:pt x="214323" y="1297356"/>
                      <a:pt x="169433" y="1246790"/>
                      <a:pt x="130218" y="1191580"/>
                    </a:cubicBezTo>
                    <a:cubicBezTo>
                      <a:pt x="125575" y="1185389"/>
                      <a:pt x="125059" y="1180745"/>
                      <a:pt x="130734" y="1174553"/>
                    </a:cubicBezTo>
                    <a:cubicBezTo>
                      <a:pt x="146730" y="1157010"/>
                      <a:pt x="161177" y="1138435"/>
                      <a:pt x="177688" y="1121408"/>
                    </a:cubicBezTo>
                    <a:cubicBezTo>
                      <a:pt x="191104" y="1107476"/>
                      <a:pt x="209163" y="1099221"/>
                      <a:pt x="225674" y="1089417"/>
                    </a:cubicBezTo>
                    <a:cubicBezTo>
                      <a:pt x="236510" y="1083225"/>
                      <a:pt x="237026" y="1078065"/>
                      <a:pt x="230834" y="1067230"/>
                    </a:cubicBezTo>
                    <a:cubicBezTo>
                      <a:pt x="218967" y="1047107"/>
                      <a:pt x="208647" y="1025436"/>
                      <a:pt x="198327" y="1004281"/>
                    </a:cubicBezTo>
                    <a:cubicBezTo>
                      <a:pt x="194716" y="997057"/>
                      <a:pt x="192136" y="993445"/>
                      <a:pt x="183880" y="998089"/>
                    </a:cubicBezTo>
                    <a:cubicBezTo>
                      <a:pt x="147246" y="1017180"/>
                      <a:pt x="108031" y="1024920"/>
                      <a:pt x="67269" y="1025952"/>
                    </a:cubicBezTo>
                    <a:cubicBezTo>
                      <a:pt x="63657" y="1025952"/>
                      <a:pt x="59529" y="1026984"/>
                      <a:pt x="55918" y="1027500"/>
                    </a:cubicBezTo>
                    <a:cubicBezTo>
                      <a:pt x="48694" y="1028532"/>
                      <a:pt x="44050" y="1025952"/>
                      <a:pt x="41470" y="1018212"/>
                    </a:cubicBezTo>
                    <a:cubicBezTo>
                      <a:pt x="21347" y="960939"/>
                      <a:pt x="6384" y="902117"/>
                      <a:pt x="1224" y="841748"/>
                    </a:cubicBezTo>
                    <a:cubicBezTo>
                      <a:pt x="-1872" y="808725"/>
                      <a:pt x="-1356" y="809241"/>
                      <a:pt x="30635" y="797374"/>
                    </a:cubicBezTo>
                    <a:cubicBezTo>
                      <a:pt x="64173" y="784474"/>
                      <a:pt x="98744" y="775703"/>
                      <a:pt x="134862" y="778799"/>
                    </a:cubicBezTo>
                    <a:cubicBezTo>
                      <a:pt x="144150" y="779315"/>
                      <a:pt x="147246" y="775187"/>
                      <a:pt x="147246" y="765899"/>
                    </a:cubicBezTo>
                    <a:cubicBezTo>
                      <a:pt x="147246" y="742680"/>
                      <a:pt x="148278" y="719461"/>
                      <a:pt x="150342" y="696242"/>
                    </a:cubicBezTo>
                    <a:cubicBezTo>
                      <a:pt x="151373" y="685923"/>
                      <a:pt x="150858" y="678699"/>
                      <a:pt x="137442" y="678699"/>
                    </a:cubicBezTo>
                    <a:cubicBezTo>
                      <a:pt x="92552" y="678699"/>
                      <a:pt x="53854" y="657544"/>
                      <a:pt x="14639" y="639485"/>
                    </a:cubicBezTo>
                    <a:cubicBezTo>
                      <a:pt x="7932" y="636389"/>
                      <a:pt x="6384" y="632261"/>
                      <a:pt x="7932" y="625037"/>
                    </a:cubicBezTo>
                    <a:cubicBezTo>
                      <a:pt x="20315" y="558476"/>
                      <a:pt x="40954" y="494495"/>
                      <a:pt x="69333" y="432578"/>
                    </a:cubicBezTo>
                    <a:cubicBezTo>
                      <a:pt x="72945" y="424838"/>
                      <a:pt x="77073" y="421742"/>
                      <a:pt x="86360" y="423806"/>
                    </a:cubicBezTo>
                    <a:cubicBezTo>
                      <a:pt x="107515" y="428450"/>
                      <a:pt x="129186" y="432578"/>
                      <a:pt x="150858" y="436706"/>
                    </a:cubicBezTo>
                    <a:cubicBezTo>
                      <a:pt x="171497" y="440833"/>
                      <a:pt x="188008" y="453733"/>
                      <a:pt x="206583" y="463536"/>
                    </a:cubicBezTo>
                    <a:cubicBezTo>
                      <a:pt x="216903" y="468696"/>
                      <a:pt x="221546" y="467664"/>
                      <a:pt x="227738" y="457345"/>
                    </a:cubicBezTo>
                    <a:cubicBezTo>
                      <a:pt x="239606" y="436706"/>
                      <a:pt x="253021" y="416582"/>
                      <a:pt x="266952" y="396459"/>
                    </a:cubicBezTo>
                    <a:cubicBezTo>
                      <a:pt x="271596" y="389752"/>
                      <a:pt x="271596" y="385108"/>
                      <a:pt x="264373" y="380980"/>
                    </a:cubicBezTo>
                    <a:cubicBezTo>
                      <a:pt x="225158" y="357761"/>
                      <a:pt x="200391" y="320611"/>
                      <a:pt x="175108" y="284492"/>
                    </a:cubicBezTo>
                    <a:cubicBezTo>
                      <a:pt x="170465" y="277785"/>
                      <a:pt x="170981" y="273657"/>
                      <a:pt x="176140" y="267981"/>
                    </a:cubicBezTo>
                    <a:cubicBezTo>
                      <a:pt x="219998" y="216383"/>
                      <a:pt x="270048" y="171493"/>
                      <a:pt x="325258" y="132279"/>
                    </a:cubicBezTo>
                    <a:cubicBezTo>
                      <a:pt x="331966" y="127635"/>
                      <a:pt x="336609" y="126603"/>
                      <a:pt x="343317" y="132795"/>
                    </a:cubicBezTo>
                    <a:cubicBezTo>
                      <a:pt x="360344" y="148274"/>
                      <a:pt x="378404" y="162722"/>
                      <a:pt x="395431" y="178717"/>
                    </a:cubicBezTo>
                    <a:cubicBezTo>
                      <a:pt x="409362" y="191616"/>
                      <a:pt x="416070" y="209160"/>
                      <a:pt x="426389" y="224639"/>
                    </a:cubicBezTo>
                    <a:cubicBezTo>
                      <a:pt x="437741" y="241666"/>
                      <a:pt x="435161" y="240634"/>
                      <a:pt x="451156" y="231347"/>
                    </a:cubicBezTo>
                    <a:cubicBezTo>
                      <a:pt x="470763" y="219995"/>
                      <a:pt x="491403" y="209676"/>
                      <a:pt x="512042" y="200388"/>
                    </a:cubicBezTo>
                    <a:cubicBezTo>
                      <a:pt x="521329" y="196260"/>
                      <a:pt x="522361" y="192132"/>
                      <a:pt x="518233" y="183877"/>
                    </a:cubicBezTo>
                    <a:cubicBezTo>
                      <a:pt x="499142" y="148274"/>
                      <a:pt x="492434" y="109576"/>
                      <a:pt x="491403" y="69846"/>
                    </a:cubicBezTo>
                    <a:cubicBezTo>
                      <a:pt x="491403" y="66234"/>
                      <a:pt x="490371" y="62106"/>
                      <a:pt x="489855" y="58494"/>
                    </a:cubicBezTo>
                    <a:cubicBezTo>
                      <a:pt x="488307" y="50239"/>
                      <a:pt x="491403" y="46111"/>
                      <a:pt x="499658" y="43015"/>
                    </a:cubicBezTo>
                    <a:cubicBezTo>
                      <a:pt x="563123" y="20312"/>
                      <a:pt x="628653" y="6380"/>
                      <a:pt x="695730" y="189"/>
                    </a:cubicBezTo>
                    <a:cubicBezTo>
                      <a:pt x="706049" y="-843"/>
                      <a:pt x="710693" y="2253"/>
                      <a:pt x="713273" y="12056"/>
                    </a:cubicBezTo>
                    <a:cubicBezTo>
                      <a:pt x="715337" y="19796"/>
                      <a:pt x="717917" y="27536"/>
                      <a:pt x="721012" y="35275"/>
                    </a:cubicBezTo>
                    <a:cubicBezTo>
                      <a:pt x="734428" y="67266"/>
                      <a:pt x="741136" y="99772"/>
                      <a:pt x="738556" y="134343"/>
                    </a:cubicBezTo>
                    <a:cubicBezTo>
                      <a:pt x="737524" y="145694"/>
                      <a:pt x="742168" y="148790"/>
                      <a:pt x="753519" y="148790"/>
                    </a:cubicBezTo>
                    <a:cubicBezTo>
                      <a:pt x="775706" y="148274"/>
                      <a:pt x="797893" y="149822"/>
                      <a:pt x="820596" y="151886"/>
                    </a:cubicBezTo>
                    <a:cubicBezTo>
                      <a:pt x="831948" y="152918"/>
                      <a:pt x="838655" y="152402"/>
                      <a:pt x="838655" y="138471"/>
                    </a:cubicBezTo>
                    <a:cubicBezTo>
                      <a:pt x="838655" y="94097"/>
                      <a:pt x="859810" y="55914"/>
                      <a:pt x="877354" y="16700"/>
                    </a:cubicBezTo>
                    <a:cubicBezTo>
                      <a:pt x="880449" y="9476"/>
                      <a:pt x="885093" y="7928"/>
                      <a:pt x="892317" y="9476"/>
                    </a:cubicBezTo>
                    <a:cubicBezTo>
                      <a:pt x="958878" y="21860"/>
                      <a:pt x="1022859" y="42499"/>
                      <a:pt x="1084777" y="70878"/>
                    </a:cubicBezTo>
                    <a:cubicBezTo>
                      <a:pt x="1092000" y="74489"/>
                      <a:pt x="1095096" y="78617"/>
                      <a:pt x="1093032" y="86873"/>
                    </a:cubicBezTo>
                    <a:cubicBezTo>
                      <a:pt x="1088388" y="108544"/>
                      <a:pt x="1084261" y="130731"/>
                      <a:pt x="1079617" y="152402"/>
                    </a:cubicBezTo>
                    <a:cubicBezTo>
                      <a:pt x="1075489" y="172525"/>
                      <a:pt x="1062590" y="189036"/>
                      <a:pt x="1053302" y="206580"/>
                    </a:cubicBezTo>
                    <a:cubicBezTo>
                      <a:pt x="1047626" y="217415"/>
                      <a:pt x="1048658" y="222575"/>
                      <a:pt x="1060010" y="228251"/>
                    </a:cubicBezTo>
                    <a:cubicBezTo>
                      <a:pt x="1080133" y="239602"/>
                      <a:pt x="1099740" y="252502"/>
                      <a:pt x="1118315" y="265917"/>
                    </a:cubicBezTo>
                    <a:cubicBezTo>
                      <a:pt x="1126571" y="272109"/>
                      <a:pt x="1131214" y="271593"/>
                      <a:pt x="1136374" y="262821"/>
                    </a:cubicBezTo>
                    <a:cubicBezTo>
                      <a:pt x="1159077" y="223607"/>
                      <a:pt x="1196744" y="199872"/>
                      <a:pt x="1232346" y="174589"/>
                    </a:cubicBezTo>
                    <a:cubicBezTo>
                      <a:pt x="1238538" y="170461"/>
                      <a:pt x="1242666" y="170977"/>
                      <a:pt x="1247825" y="175621"/>
                    </a:cubicBezTo>
                    <a:cubicBezTo>
                      <a:pt x="1299939" y="219995"/>
                      <a:pt x="1345345" y="270045"/>
                      <a:pt x="1384559" y="325770"/>
                    </a:cubicBezTo>
                    <a:cubicBezTo>
                      <a:pt x="1389203" y="331962"/>
                      <a:pt x="1389719" y="336606"/>
                      <a:pt x="1384043" y="342798"/>
                    </a:cubicBezTo>
                    <a:cubicBezTo>
                      <a:pt x="1368048" y="360857"/>
                      <a:pt x="1352569" y="379432"/>
                      <a:pt x="1336057" y="396975"/>
                    </a:cubicBezTo>
                    <a:cubicBezTo>
                      <a:pt x="1323674" y="409875"/>
                      <a:pt x="1306131" y="417098"/>
                      <a:pt x="1291167" y="426902"/>
                    </a:cubicBezTo>
                    <a:cubicBezTo>
                      <a:pt x="1276720" y="436706"/>
                      <a:pt x="1276720" y="436190"/>
                      <a:pt x="1284976" y="451153"/>
                    </a:cubicBezTo>
                    <a:cubicBezTo>
                      <a:pt x="1295811" y="471792"/>
                      <a:pt x="1306647" y="492431"/>
                      <a:pt x="1316450" y="513070"/>
                    </a:cubicBezTo>
                    <a:cubicBezTo>
                      <a:pt x="1320062" y="520294"/>
                      <a:pt x="1323158" y="523390"/>
                      <a:pt x="1330898" y="519262"/>
                    </a:cubicBezTo>
                    <a:cubicBezTo>
                      <a:pt x="1367532" y="500171"/>
                      <a:pt x="1406746" y="492431"/>
                      <a:pt x="1447509" y="491399"/>
                    </a:cubicBezTo>
                    <a:cubicBezTo>
                      <a:pt x="1451120" y="491399"/>
                      <a:pt x="1455248" y="490367"/>
                      <a:pt x="1458860" y="489851"/>
                    </a:cubicBezTo>
                    <a:cubicBezTo>
                      <a:pt x="1466600" y="488819"/>
                      <a:pt x="1470728" y="491399"/>
                      <a:pt x="1473307" y="499139"/>
                    </a:cubicBezTo>
                    <a:cubicBezTo>
                      <a:pt x="1493431" y="556412"/>
                      <a:pt x="1508394" y="615234"/>
                      <a:pt x="1513554" y="675603"/>
                    </a:cubicBezTo>
                    <a:cubicBezTo>
                      <a:pt x="1513554" y="676635"/>
                      <a:pt x="1513554" y="678183"/>
                      <a:pt x="1514070" y="679215"/>
                    </a:cubicBezTo>
                    <a:cubicBezTo>
                      <a:pt x="1518713" y="714301"/>
                      <a:pt x="1519745" y="706046"/>
                      <a:pt x="1490335" y="717397"/>
                    </a:cubicBezTo>
                    <a:cubicBezTo>
                      <a:pt x="1454732" y="730813"/>
                      <a:pt x="1418614" y="741648"/>
                      <a:pt x="1379916" y="738036"/>
                    </a:cubicBezTo>
                    <a:cubicBezTo>
                      <a:pt x="1371144" y="737004"/>
                      <a:pt x="1368048" y="740616"/>
                      <a:pt x="1367532" y="749904"/>
                    </a:cubicBezTo>
                    <a:cubicBezTo>
                      <a:pt x="1367016" y="774155"/>
                      <a:pt x="1365984" y="797890"/>
                      <a:pt x="1363920" y="822141"/>
                    </a:cubicBezTo>
                    <a:cubicBezTo>
                      <a:pt x="1363404" y="831944"/>
                      <a:pt x="1363920" y="838136"/>
                      <a:pt x="1375788" y="838136"/>
                    </a:cubicBezTo>
                    <a:cubicBezTo>
                      <a:pt x="1420678" y="838136"/>
                      <a:pt x="1459376" y="858775"/>
                      <a:pt x="1498590" y="876834"/>
                    </a:cubicBezTo>
                    <a:cubicBezTo>
                      <a:pt x="1505298" y="879930"/>
                      <a:pt x="1507878" y="883542"/>
                      <a:pt x="1506330" y="891798"/>
                    </a:cubicBezTo>
                    <a:cubicBezTo>
                      <a:pt x="1493947" y="958875"/>
                      <a:pt x="1472791" y="1023372"/>
                      <a:pt x="1444413" y="1085289"/>
                    </a:cubicBezTo>
                    <a:cubicBezTo>
                      <a:pt x="1441317" y="1092513"/>
                      <a:pt x="1437189" y="1094577"/>
                      <a:pt x="1429449" y="1093029"/>
                    </a:cubicBezTo>
                    <a:cubicBezTo>
                      <a:pt x="1386623" y="1085289"/>
                      <a:pt x="1343797" y="1078581"/>
                      <a:pt x="1306647" y="1052783"/>
                    </a:cubicBezTo>
                    <a:cubicBezTo>
                      <a:pt x="1297875" y="1046591"/>
                      <a:pt x="1293231" y="1048655"/>
                      <a:pt x="1287556" y="1057942"/>
                    </a:cubicBezTo>
                    <a:cubicBezTo>
                      <a:pt x="1275688" y="1078581"/>
                      <a:pt x="1262273" y="1098705"/>
                      <a:pt x="1248857" y="1118828"/>
                    </a:cubicBezTo>
                    <a:cubicBezTo>
                      <a:pt x="1244214" y="1125535"/>
                      <a:pt x="1242150" y="1130179"/>
                      <a:pt x="1250405" y="1135339"/>
                    </a:cubicBezTo>
                    <a:cubicBezTo>
                      <a:pt x="1289620" y="1158558"/>
                      <a:pt x="1313871" y="1194676"/>
                      <a:pt x="1339153" y="1230795"/>
                    </a:cubicBezTo>
                    <a:cubicBezTo>
                      <a:pt x="1344313" y="1238018"/>
                      <a:pt x="1343797" y="1242662"/>
                      <a:pt x="1337605" y="1249370"/>
                    </a:cubicBezTo>
                    <a:cubicBezTo>
                      <a:pt x="1293747" y="1300968"/>
                      <a:pt x="1244214" y="1345342"/>
                      <a:pt x="1189004" y="1384040"/>
                    </a:cubicBezTo>
                    <a:cubicBezTo>
                      <a:pt x="1182296" y="1388684"/>
                      <a:pt x="1177652" y="1389716"/>
                      <a:pt x="1170945" y="1383524"/>
                    </a:cubicBezTo>
                    <a:cubicBezTo>
                      <a:pt x="1153918" y="1368045"/>
                      <a:pt x="1135858" y="1353597"/>
                      <a:pt x="1118831" y="1337602"/>
                    </a:cubicBezTo>
                    <a:cubicBezTo>
                      <a:pt x="1104384" y="1324187"/>
                      <a:pt x="1096644" y="1306128"/>
                      <a:pt x="1086840" y="1289616"/>
                    </a:cubicBezTo>
                    <a:cubicBezTo>
                      <a:pt x="1080133" y="1278265"/>
                      <a:pt x="1074973" y="1277749"/>
                      <a:pt x="1064137" y="1284456"/>
                    </a:cubicBezTo>
                    <a:cubicBezTo>
                      <a:pt x="1044530" y="1296324"/>
                      <a:pt x="1023375" y="1306643"/>
                      <a:pt x="1002220" y="1316447"/>
                    </a:cubicBezTo>
                    <a:cubicBezTo>
                      <a:pt x="993449" y="1320575"/>
                      <a:pt x="991385" y="1324703"/>
                      <a:pt x="996028" y="1332958"/>
                    </a:cubicBezTo>
                    <a:cubicBezTo>
                      <a:pt x="1015120" y="1368561"/>
                      <a:pt x="1021827" y="1407259"/>
                      <a:pt x="1022859" y="1446989"/>
                    </a:cubicBezTo>
                    <a:cubicBezTo>
                      <a:pt x="1022859" y="1451117"/>
                      <a:pt x="1023891" y="1455245"/>
                      <a:pt x="1024407" y="1459889"/>
                    </a:cubicBezTo>
                    <a:cubicBezTo>
                      <a:pt x="1025439" y="1466596"/>
                      <a:pt x="1022859" y="1470724"/>
                      <a:pt x="1015636" y="1473304"/>
                    </a:cubicBezTo>
                    <a:cubicBezTo>
                      <a:pt x="970745" y="1493943"/>
                      <a:pt x="870646" y="1516130"/>
                      <a:pt x="817500" y="1518710"/>
                    </a:cubicBezTo>
                    <a:close/>
                    <a:moveTo>
                      <a:pt x="758163" y="1148238"/>
                    </a:moveTo>
                    <a:cubicBezTo>
                      <a:pt x="974357" y="1144627"/>
                      <a:pt x="1145146" y="976418"/>
                      <a:pt x="1145146" y="758675"/>
                    </a:cubicBezTo>
                    <a:cubicBezTo>
                      <a:pt x="1145146" y="542481"/>
                      <a:pt x="974357" y="371176"/>
                      <a:pt x="757131" y="371176"/>
                    </a:cubicBezTo>
                    <a:cubicBezTo>
                      <a:pt x="539904" y="371176"/>
                      <a:pt x="368600" y="542481"/>
                      <a:pt x="368600" y="759707"/>
                    </a:cubicBezTo>
                    <a:cubicBezTo>
                      <a:pt x="369116" y="977966"/>
                      <a:pt x="541452" y="1145659"/>
                      <a:pt x="758163" y="1148238"/>
                    </a:cubicBezTo>
                    <a:close/>
                  </a:path>
                </a:pathLst>
              </a:custGeom>
              <a:grpFill/>
              <a:ln w="51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3C9083CC-CC13-4BCC-8521-7079F8EBE42B}"/>
                </a:ext>
              </a:extLst>
            </p:cNvPr>
            <p:cNvGrpSpPr/>
            <p:nvPr/>
          </p:nvGrpSpPr>
          <p:grpSpPr>
            <a:xfrm>
              <a:off x="6486650" y="2648852"/>
              <a:ext cx="2745260" cy="2471860"/>
              <a:chOff x="6486650" y="2648852"/>
              <a:chExt cx="2745260" cy="2471860"/>
            </a:xfrm>
            <a:grpFill/>
          </p:grpSpPr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7CC45CD8-C56F-467E-BEF3-DF307BE9C4B4}"/>
                  </a:ext>
                </a:extLst>
              </p:cNvPr>
              <p:cNvSpPr/>
              <p:nvPr/>
            </p:nvSpPr>
            <p:spPr>
              <a:xfrm>
                <a:off x="6486650" y="3806165"/>
                <a:ext cx="1318090" cy="1314547"/>
              </a:xfrm>
              <a:custGeom>
                <a:avLst/>
                <a:gdLst>
                  <a:gd name="connsiteX0" fmla="*/ 0 w 1919435"/>
                  <a:gd name="connsiteY0" fmla="*/ 987194 h 1914275"/>
                  <a:gd name="connsiteX1" fmla="*/ 37667 w 1919435"/>
                  <a:gd name="connsiteY1" fmla="*/ 959846 h 1914275"/>
                  <a:gd name="connsiteX2" fmla="*/ 169757 w 1919435"/>
                  <a:gd name="connsiteY2" fmla="*/ 922696 h 1914275"/>
                  <a:gd name="connsiteX3" fmla="*/ 215163 w 1919435"/>
                  <a:gd name="connsiteY3" fmla="*/ 872130 h 1914275"/>
                  <a:gd name="connsiteX4" fmla="*/ 217743 w 1919435"/>
                  <a:gd name="connsiteY4" fmla="*/ 850459 h 1914275"/>
                  <a:gd name="connsiteX5" fmla="*/ 189364 w 1919435"/>
                  <a:gd name="connsiteY5" fmla="*/ 797830 h 1914275"/>
                  <a:gd name="connsiteX6" fmla="*/ 69657 w 1919435"/>
                  <a:gd name="connsiteY6" fmla="*/ 727657 h 1914275"/>
                  <a:gd name="connsiteX7" fmla="*/ 43858 w 1919435"/>
                  <a:gd name="connsiteY7" fmla="*/ 664708 h 1914275"/>
                  <a:gd name="connsiteX8" fmla="*/ 46438 w 1919435"/>
                  <a:gd name="connsiteY8" fmla="*/ 655936 h 1914275"/>
                  <a:gd name="connsiteX9" fmla="*/ 114547 w 1919435"/>
                  <a:gd name="connsiteY9" fmla="*/ 608982 h 1914275"/>
                  <a:gd name="connsiteX10" fmla="*/ 241478 w 1919435"/>
                  <a:gd name="connsiteY10" fmla="*/ 623429 h 1914275"/>
                  <a:gd name="connsiteX11" fmla="*/ 306491 w 1919435"/>
                  <a:gd name="connsiteY11" fmla="*/ 593503 h 1914275"/>
                  <a:gd name="connsiteX12" fmla="*/ 301331 w 1919435"/>
                  <a:gd name="connsiteY12" fmla="*/ 505271 h 1914275"/>
                  <a:gd name="connsiteX13" fmla="*/ 222386 w 1919435"/>
                  <a:gd name="connsiteY13" fmla="*/ 400527 h 1914275"/>
                  <a:gd name="connsiteX14" fmla="*/ 222386 w 1919435"/>
                  <a:gd name="connsiteY14" fmla="*/ 342222 h 1914275"/>
                  <a:gd name="connsiteX15" fmla="*/ 248185 w 1919435"/>
                  <a:gd name="connsiteY15" fmla="*/ 313327 h 1914275"/>
                  <a:gd name="connsiteX16" fmla="*/ 303395 w 1919435"/>
                  <a:gd name="connsiteY16" fmla="*/ 307135 h 1914275"/>
                  <a:gd name="connsiteX17" fmla="*/ 420522 w 1919435"/>
                  <a:gd name="connsiteY17" fmla="*/ 373180 h 1914275"/>
                  <a:gd name="connsiteX18" fmla="*/ 525265 w 1919435"/>
                  <a:gd name="connsiteY18" fmla="*/ 343770 h 1914275"/>
                  <a:gd name="connsiteX19" fmla="*/ 527845 w 1919435"/>
                  <a:gd name="connsiteY19" fmla="*/ 298364 h 1914275"/>
                  <a:gd name="connsiteX20" fmla="*/ 493791 w 1919435"/>
                  <a:gd name="connsiteY20" fmla="*/ 166789 h 1914275"/>
                  <a:gd name="connsiteX21" fmla="*/ 518557 w 1919435"/>
                  <a:gd name="connsiteY21" fmla="*/ 105904 h 1914275"/>
                  <a:gd name="connsiteX22" fmla="*/ 537649 w 1919435"/>
                  <a:gd name="connsiteY22" fmla="*/ 95585 h 1914275"/>
                  <a:gd name="connsiteX23" fmla="*/ 608853 w 1919435"/>
                  <a:gd name="connsiteY23" fmla="*/ 113128 h 1914275"/>
                  <a:gd name="connsiteX24" fmla="*/ 690894 w 1919435"/>
                  <a:gd name="connsiteY24" fmla="*/ 217355 h 1914275"/>
                  <a:gd name="connsiteX25" fmla="*/ 802861 w 1919435"/>
                  <a:gd name="connsiteY25" fmla="*/ 216839 h 1914275"/>
                  <a:gd name="connsiteX26" fmla="*/ 816277 w 1919435"/>
                  <a:gd name="connsiteY26" fmla="*/ 169369 h 1914275"/>
                  <a:gd name="connsiteX27" fmla="*/ 832788 w 1919435"/>
                  <a:gd name="connsiteY27" fmla="*/ 48631 h 1914275"/>
                  <a:gd name="connsiteX28" fmla="*/ 877677 w 1919435"/>
                  <a:gd name="connsiteY28" fmla="*/ 2193 h 1914275"/>
                  <a:gd name="connsiteX29" fmla="*/ 917924 w 1919435"/>
                  <a:gd name="connsiteY29" fmla="*/ 645 h 1914275"/>
                  <a:gd name="connsiteX30" fmla="*/ 956106 w 1919435"/>
                  <a:gd name="connsiteY30" fmla="*/ 31603 h 1914275"/>
                  <a:gd name="connsiteX31" fmla="*/ 993772 w 1919435"/>
                  <a:gd name="connsiteY31" fmla="*/ 163693 h 1914275"/>
                  <a:gd name="connsiteX32" fmla="*/ 1089745 w 1919435"/>
                  <a:gd name="connsiteY32" fmla="*/ 217871 h 1914275"/>
                  <a:gd name="connsiteX33" fmla="*/ 1120703 w 1919435"/>
                  <a:gd name="connsiteY33" fmla="*/ 191040 h 1914275"/>
                  <a:gd name="connsiteX34" fmla="*/ 1192940 w 1919435"/>
                  <a:gd name="connsiteY34" fmla="*/ 68754 h 1914275"/>
                  <a:gd name="connsiteX35" fmla="*/ 1251245 w 1919435"/>
                  <a:gd name="connsiteY35" fmla="*/ 44503 h 1914275"/>
                  <a:gd name="connsiteX36" fmla="*/ 1309035 w 1919435"/>
                  <a:gd name="connsiteY36" fmla="*/ 137895 h 1914275"/>
                  <a:gd name="connsiteX37" fmla="*/ 1294587 w 1919435"/>
                  <a:gd name="connsiteY37" fmla="*/ 255538 h 1914275"/>
                  <a:gd name="connsiteX38" fmla="*/ 1294587 w 1919435"/>
                  <a:gd name="connsiteY38" fmla="*/ 267921 h 1914275"/>
                  <a:gd name="connsiteX39" fmla="*/ 1399331 w 1919435"/>
                  <a:gd name="connsiteY39" fmla="*/ 314359 h 1914275"/>
                  <a:gd name="connsiteX40" fmla="*/ 1514394 w 1919435"/>
                  <a:gd name="connsiteY40" fmla="*/ 228191 h 1914275"/>
                  <a:gd name="connsiteX41" fmla="*/ 1584050 w 1919435"/>
                  <a:gd name="connsiteY41" fmla="*/ 229223 h 1914275"/>
                  <a:gd name="connsiteX42" fmla="*/ 1594886 w 1919435"/>
                  <a:gd name="connsiteY42" fmla="*/ 238510 h 1914275"/>
                  <a:gd name="connsiteX43" fmla="*/ 1606754 w 1919435"/>
                  <a:gd name="connsiteY43" fmla="*/ 317971 h 1914275"/>
                  <a:gd name="connsiteX44" fmla="*/ 1543288 w 1919435"/>
                  <a:gd name="connsiteY44" fmla="*/ 430970 h 1914275"/>
                  <a:gd name="connsiteX45" fmla="*/ 1552060 w 1919435"/>
                  <a:gd name="connsiteY45" fmla="*/ 504239 h 1914275"/>
                  <a:gd name="connsiteX46" fmla="*/ 1619137 w 1919435"/>
                  <a:gd name="connsiteY46" fmla="*/ 531069 h 1914275"/>
                  <a:gd name="connsiteX47" fmla="*/ 1754839 w 1919435"/>
                  <a:gd name="connsiteY47" fmla="*/ 495467 h 1914275"/>
                  <a:gd name="connsiteX48" fmla="*/ 1812629 w 1919435"/>
                  <a:gd name="connsiteY48" fmla="*/ 517654 h 1914275"/>
                  <a:gd name="connsiteX49" fmla="*/ 1830172 w 1919435"/>
                  <a:gd name="connsiteY49" fmla="*/ 552225 h 1914275"/>
                  <a:gd name="connsiteX50" fmla="*/ 1815724 w 1919435"/>
                  <a:gd name="connsiteY50" fmla="*/ 603306 h 1914275"/>
                  <a:gd name="connsiteX51" fmla="*/ 1699630 w 1919435"/>
                  <a:gd name="connsiteY51" fmla="*/ 695666 h 1914275"/>
                  <a:gd name="connsiteX52" fmla="*/ 1678990 w 1919435"/>
                  <a:gd name="connsiteY52" fmla="*/ 751908 h 1914275"/>
                  <a:gd name="connsiteX53" fmla="*/ 1685182 w 1919435"/>
                  <a:gd name="connsiteY53" fmla="*/ 774611 h 1914275"/>
                  <a:gd name="connsiteX54" fmla="*/ 1732652 w 1919435"/>
                  <a:gd name="connsiteY54" fmla="*/ 815373 h 1914275"/>
                  <a:gd name="connsiteX55" fmla="*/ 1872998 w 1919435"/>
                  <a:gd name="connsiteY55" fmla="*/ 834464 h 1914275"/>
                  <a:gd name="connsiteX56" fmla="*/ 1918404 w 1919435"/>
                  <a:gd name="connsiteY56" fmla="*/ 879354 h 1914275"/>
                  <a:gd name="connsiteX57" fmla="*/ 1919952 w 1919435"/>
                  <a:gd name="connsiteY57" fmla="*/ 919600 h 1914275"/>
                  <a:gd name="connsiteX58" fmla="*/ 1886930 w 1919435"/>
                  <a:gd name="connsiteY58" fmla="*/ 958299 h 1914275"/>
                  <a:gd name="connsiteX59" fmla="*/ 1754839 w 1919435"/>
                  <a:gd name="connsiteY59" fmla="*/ 995965 h 1914275"/>
                  <a:gd name="connsiteX60" fmla="*/ 1701178 w 1919435"/>
                  <a:gd name="connsiteY60" fmla="*/ 1085229 h 1914275"/>
                  <a:gd name="connsiteX61" fmla="*/ 1728524 w 1919435"/>
                  <a:gd name="connsiteY61" fmla="*/ 1121348 h 1914275"/>
                  <a:gd name="connsiteX62" fmla="*/ 1849779 w 1919435"/>
                  <a:gd name="connsiteY62" fmla="*/ 1192552 h 1914275"/>
                  <a:gd name="connsiteX63" fmla="*/ 1876094 w 1919435"/>
                  <a:gd name="connsiteY63" fmla="*/ 1253954 h 1914275"/>
                  <a:gd name="connsiteX64" fmla="*/ 1875062 w 1919435"/>
                  <a:gd name="connsiteY64" fmla="*/ 1260145 h 1914275"/>
                  <a:gd name="connsiteX65" fmla="*/ 1802309 w 1919435"/>
                  <a:gd name="connsiteY65" fmla="*/ 1312259 h 1914275"/>
                  <a:gd name="connsiteX66" fmla="*/ 1675379 w 1919435"/>
                  <a:gd name="connsiteY66" fmla="*/ 1296264 h 1914275"/>
                  <a:gd name="connsiteX67" fmla="*/ 1611398 w 1919435"/>
                  <a:gd name="connsiteY67" fmla="*/ 1329286 h 1914275"/>
                  <a:gd name="connsiteX68" fmla="*/ 1610365 w 1919435"/>
                  <a:gd name="connsiteY68" fmla="*/ 1405651 h 1914275"/>
                  <a:gd name="connsiteX69" fmla="*/ 1692406 w 1919435"/>
                  <a:gd name="connsiteY69" fmla="*/ 1514006 h 1914275"/>
                  <a:gd name="connsiteX70" fmla="*/ 1692406 w 1919435"/>
                  <a:gd name="connsiteY70" fmla="*/ 1584695 h 1914275"/>
                  <a:gd name="connsiteX71" fmla="*/ 1689310 w 1919435"/>
                  <a:gd name="connsiteY71" fmla="*/ 1588307 h 1914275"/>
                  <a:gd name="connsiteX72" fmla="*/ 1600562 w 1919435"/>
                  <a:gd name="connsiteY72" fmla="*/ 1605850 h 1914275"/>
                  <a:gd name="connsiteX73" fmla="*/ 1490659 w 1919435"/>
                  <a:gd name="connsiteY73" fmla="*/ 1543933 h 1914275"/>
                  <a:gd name="connsiteX74" fmla="*/ 1415326 w 1919435"/>
                  <a:gd name="connsiteY74" fmla="*/ 1554769 h 1914275"/>
                  <a:gd name="connsiteX75" fmla="*/ 1391075 w 1919435"/>
                  <a:gd name="connsiteY75" fmla="*/ 1622877 h 1914275"/>
                  <a:gd name="connsiteX76" fmla="*/ 1426677 w 1919435"/>
                  <a:gd name="connsiteY76" fmla="*/ 1760128 h 1914275"/>
                  <a:gd name="connsiteX77" fmla="*/ 1406554 w 1919435"/>
                  <a:gd name="connsiteY77" fmla="*/ 1811725 h 1914275"/>
                  <a:gd name="connsiteX78" fmla="*/ 1370436 w 1919435"/>
                  <a:gd name="connsiteY78" fmla="*/ 1830300 h 1914275"/>
                  <a:gd name="connsiteX79" fmla="*/ 1316258 w 1919435"/>
                  <a:gd name="connsiteY79" fmla="*/ 1815337 h 1914275"/>
                  <a:gd name="connsiteX80" fmla="*/ 1231122 w 1919435"/>
                  <a:gd name="connsiteY80" fmla="*/ 1707498 h 1914275"/>
                  <a:gd name="connsiteX81" fmla="*/ 1121219 w 1919435"/>
                  <a:gd name="connsiteY81" fmla="*/ 1698210 h 1914275"/>
                  <a:gd name="connsiteX82" fmla="*/ 1106771 w 1919435"/>
                  <a:gd name="connsiteY82" fmla="*/ 1727105 h 1914275"/>
                  <a:gd name="connsiteX83" fmla="*/ 1087165 w 1919435"/>
                  <a:gd name="connsiteY83" fmla="*/ 1868999 h 1914275"/>
                  <a:gd name="connsiteX84" fmla="*/ 1050014 w 1919435"/>
                  <a:gd name="connsiteY84" fmla="*/ 1919049 h 1914275"/>
                  <a:gd name="connsiteX85" fmla="*/ 987581 w 1919435"/>
                  <a:gd name="connsiteY85" fmla="*/ 1919049 h 1914275"/>
                  <a:gd name="connsiteX86" fmla="*/ 960234 w 1919435"/>
                  <a:gd name="connsiteY86" fmla="*/ 1880866 h 1914275"/>
                  <a:gd name="connsiteX87" fmla="*/ 921535 w 1919435"/>
                  <a:gd name="connsiteY87" fmla="*/ 1744132 h 1914275"/>
                  <a:gd name="connsiteX88" fmla="*/ 875614 w 1919435"/>
                  <a:gd name="connsiteY88" fmla="*/ 1703886 h 1914275"/>
                  <a:gd name="connsiteX89" fmla="*/ 847751 w 1919435"/>
                  <a:gd name="connsiteY89" fmla="*/ 1700790 h 1914275"/>
                  <a:gd name="connsiteX90" fmla="*/ 800281 w 1919435"/>
                  <a:gd name="connsiteY90" fmla="*/ 1727105 h 1914275"/>
                  <a:gd name="connsiteX91" fmla="*/ 788414 w 1919435"/>
                  <a:gd name="connsiteY91" fmla="*/ 1747228 h 1914275"/>
                  <a:gd name="connsiteX92" fmla="*/ 723401 w 1919435"/>
                  <a:gd name="connsiteY92" fmla="*/ 1857131 h 1914275"/>
                  <a:gd name="connsiteX93" fmla="*/ 674383 w 1919435"/>
                  <a:gd name="connsiteY93" fmla="*/ 1877254 h 1914275"/>
                  <a:gd name="connsiteX94" fmla="*/ 634652 w 1919435"/>
                  <a:gd name="connsiteY94" fmla="*/ 1863839 h 1914275"/>
                  <a:gd name="connsiteX95" fmla="*/ 607822 w 1919435"/>
                  <a:gd name="connsiteY95" fmla="*/ 1813789 h 1914275"/>
                  <a:gd name="connsiteX96" fmla="*/ 624848 w 1919435"/>
                  <a:gd name="connsiteY96" fmla="*/ 1672927 h 1914275"/>
                  <a:gd name="connsiteX97" fmla="*/ 586150 w 1919435"/>
                  <a:gd name="connsiteY97" fmla="*/ 1607398 h 1914275"/>
                  <a:gd name="connsiteX98" fmla="*/ 514430 w 1919435"/>
                  <a:gd name="connsiteY98" fmla="*/ 1611010 h 1914275"/>
                  <a:gd name="connsiteX99" fmla="*/ 413814 w 1919435"/>
                  <a:gd name="connsiteY99" fmla="*/ 1687375 h 1914275"/>
                  <a:gd name="connsiteX100" fmla="*/ 324550 w 1919435"/>
                  <a:gd name="connsiteY100" fmla="*/ 1682215 h 1914275"/>
                  <a:gd name="connsiteX101" fmla="*/ 316810 w 1919435"/>
                  <a:gd name="connsiteY101" fmla="*/ 1674475 h 1914275"/>
                  <a:gd name="connsiteX102" fmla="*/ 309071 w 1919435"/>
                  <a:gd name="connsiteY102" fmla="*/ 1612558 h 1914275"/>
                  <a:gd name="connsiteX103" fmla="*/ 376148 w 1919435"/>
                  <a:gd name="connsiteY103" fmla="*/ 1492851 h 1914275"/>
                  <a:gd name="connsiteX104" fmla="*/ 387499 w 1919435"/>
                  <a:gd name="connsiteY104" fmla="*/ 1456217 h 1914275"/>
                  <a:gd name="connsiteX105" fmla="*/ 297203 w 1919435"/>
                  <a:gd name="connsiteY105" fmla="*/ 1391720 h 1914275"/>
                  <a:gd name="connsiteX106" fmla="*/ 158405 w 1919435"/>
                  <a:gd name="connsiteY106" fmla="*/ 1427838 h 1914275"/>
                  <a:gd name="connsiteX107" fmla="*/ 114031 w 1919435"/>
                  <a:gd name="connsiteY107" fmla="*/ 1412875 h 1914275"/>
                  <a:gd name="connsiteX108" fmla="*/ 91844 w 1919435"/>
                  <a:gd name="connsiteY108" fmla="*/ 1373660 h 1914275"/>
                  <a:gd name="connsiteX109" fmla="*/ 106808 w 1919435"/>
                  <a:gd name="connsiteY109" fmla="*/ 1315871 h 1914275"/>
                  <a:gd name="connsiteX110" fmla="*/ 209487 w 1919435"/>
                  <a:gd name="connsiteY110" fmla="*/ 1234347 h 1914275"/>
                  <a:gd name="connsiteX111" fmla="*/ 236834 w 1919435"/>
                  <a:gd name="connsiteY111" fmla="*/ 1151274 h 1914275"/>
                  <a:gd name="connsiteX112" fmla="*/ 181624 w 1919435"/>
                  <a:gd name="connsiteY112" fmla="*/ 1104836 h 1914275"/>
                  <a:gd name="connsiteX113" fmla="*/ 52114 w 1919435"/>
                  <a:gd name="connsiteY113" fmla="*/ 1087293 h 1914275"/>
                  <a:gd name="connsiteX114" fmla="*/ 1032 w 1919435"/>
                  <a:gd name="connsiteY114" fmla="*/ 1051175 h 1914275"/>
                  <a:gd name="connsiteX115" fmla="*/ 0 w 1919435"/>
                  <a:gd name="connsiteY115" fmla="*/ 987194 h 1914275"/>
                  <a:gd name="connsiteX116" fmla="*/ 1198616 w 1919435"/>
                  <a:gd name="connsiteY116" fmla="*/ 960879 h 1914275"/>
                  <a:gd name="connsiteX117" fmla="*/ 958686 w 1919435"/>
                  <a:gd name="connsiteY117" fmla="*/ 720949 h 1914275"/>
                  <a:gd name="connsiteX118" fmla="*/ 720304 w 1919435"/>
                  <a:gd name="connsiteY118" fmla="*/ 959331 h 1914275"/>
                  <a:gd name="connsiteX119" fmla="*/ 957654 w 1919435"/>
                  <a:gd name="connsiteY119" fmla="*/ 1198744 h 1914275"/>
                  <a:gd name="connsiteX120" fmla="*/ 1198616 w 1919435"/>
                  <a:gd name="connsiteY120" fmla="*/ 960879 h 1914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</a:cxnLst>
                <a:rect l="l" t="t" r="r" b="b"/>
                <a:pathLst>
                  <a:path w="1919435" h="1914275">
                    <a:moveTo>
                      <a:pt x="0" y="987194"/>
                    </a:moveTo>
                    <a:cubicBezTo>
                      <a:pt x="8256" y="971714"/>
                      <a:pt x="21155" y="963975"/>
                      <a:pt x="37667" y="959846"/>
                    </a:cubicBezTo>
                    <a:cubicBezTo>
                      <a:pt x="82041" y="947979"/>
                      <a:pt x="125383" y="934564"/>
                      <a:pt x="169757" y="922696"/>
                    </a:cubicBezTo>
                    <a:cubicBezTo>
                      <a:pt x="196587" y="915473"/>
                      <a:pt x="212583" y="900509"/>
                      <a:pt x="215163" y="872130"/>
                    </a:cubicBezTo>
                    <a:cubicBezTo>
                      <a:pt x="215679" y="864907"/>
                      <a:pt x="216710" y="857683"/>
                      <a:pt x="217743" y="850459"/>
                    </a:cubicBezTo>
                    <a:cubicBezTo>
                      <a:pt x="220323" y="826209"/>
                      <a:pt x="209487" y="809697"/>
                      <a:pt x="189364" y="797830"/>
                    </a:cubicBezTo>
                    <a:cubicBezTo>
                      <a:pt x="149118" y="774611"/>
                      <a:pt x="109388" y="750876"/>
                      <a:pt x="69657" y="727657"/>
                    </a:cubicBezTo>
                    <a:cubicBezTo>
                      <a:pt x="40246" y="710629"/>
                      <a:pt x="35087" y="697730"/>
                      <a:pt x="43858" y="664708"/>
                    </a:cubicBezTo>
                    <a:cubicBezTo>
                      <a:pt x="44890" y="661612"/>
                      <a:pt x="45406" y="658516"/>
                      <a:pt x="46438" y="655936"/>
                    </a:cubicBezTo>
                    <a:cubicBezTo>
                      <a:pt x="59337" y="613110"/>
                      <a:pt x="70689" y="604854"/>
                      <a:pt x="114547" y="608982"/>
                    </a:cubicBezTo>
                    <a:cubicBezTo>
                      <a:pt x="156857" y="613110"/>
                      <a:pt x="199167" y="617754"/>
                      <a:pt x="241478" y="623429"/>
                    </a:cubicBezTo>
                    <a:cubicBezTo>
                      <a:pt x="275016" y="627557"/>
                      <a:pt x="289463" y="621881"/>
                      <a:pt x="306491" y="593503"/>
                    </a:cubicBezTo>
                    <a:cubicBezTo>
                      <a:pt x="330741" y="554288"/>
                      <a:pt x="329710" y="541905"/>
                      <a:pt x="301331" y="505271"/>
                    </a:cubicBezTo>
                    <a:cubicBezTo>
                      <a:pt x="274500" y="470700"/>
                      <a:pt x="248185" y="435614"/>
                      <a:pt x="222386" y="400527"/>
                    </a:cubicBezTo>
                    <a:cubicBezTo>
                      <a:pt x="206907" y="379888"/>
                      <a:pt x="206907" y="362861"/>
                      <a:pt x="222386" y="342222"/>
                    </a:cubicBezTo>
                    <a:cubicBezTo>
                      <a:pt x="230126" y="331902"/>
                      <a:pt x="238382" y="321583"/>
                      <a:pt x="248185" y="313327"/>
                    </a:cubicBezTo>
                    <a:cubicBezTo>
                      <a:pt x="267792" y="296816"/>
                      <a:pt x="281208" y="294752"/>
                      <a:pt x="303395" y="307135"/>
                    </a:cubicBezTo>
                    <a:cubicBezTo>
                      <a:pt x="342609" y="328806"/>
                      <a:pt x="382856" y="348929"/>
                      <a:pt x="420522" y="373180"/>
                    </a:cubicBezTo>
                    <a:cubicBezTo>
                      <a:pt x="463864" y="401043"/>
                      <a:pt x="493791" y="382468"/>
                      <a:pt x="525265" y="343770"/>
                    </a:cubicBezTo>
                    <a:cubicBezTo>
                      <a:pt x="535585" y="330870"/>
                      <a:pt x="531973" y="313843"/>
                      <a:pt x="527845" y="298364"/>
                    </a:cubicBezTo>
                    <a:cubicBezTo>
                      <a:pt x="516493" y="254506"/>
                      <a:pt x="505142" y="210647"/>
                      <a:pt x="493791" y="166789"/>
                    </a:cubicBezTo>
                    <a:cubicBezTo>
                      <a:pt x="485535" y="135315"/>
                      <a:pt x="490694" y="122415"/>
                      <a:pt x="518557" y="105904"/>
                    </a:cubicBezTo>
                    <a:cubicBezTo>
                      <a:pt x="524749" y="102292"/>
                      <a:pt x="530941" y="98680"/>
                      <a:pt x="537649" y="95585"/>
                    </a:cubicBezTo>
                    <a:cubicBezTo>
                      <a:pt x="571187" y="80105"/>
                      <a:pt x="586150" y="83717"/>
                      <a:pt x="608853" y="113128"/>
                    </a:cubicBezTo>
                    <a:cubicBezTo>
                      <a:pt x="636200" y="147698"/>
                      <a:pt x="663547" y="182785"/>
                      <a:pt x="690894" y="217355"/>
                    </a:cubicBezTo>
                    <a:cubicBezTo>
                      <a:pt x="716693" y="249346"/>
                      <a:pt x="777062" y="249346"/>
                      <a:pt x="802861" y="216839"/>
                    </a:cubicBezTo>
                    <a:cubicBezTo>
                      <a:pt x="813697" y="202908"/>
                      <a:pt x="813697" y="185365"/>
                      <a:pt x="816277" y="169369"/>
                    </a:cubicBezTo>
                    <a:cubicBezTo>
                      <a:pt x="822468" y="129123"/>
                      <a:pt x="827628" y="88877"/>
                      <a:pt x="832788" y="48631"/>
                    </a:cubicBezTo>
                    <a:cubicBezTo>
                      <a:pt x="836916" y="16640"/>
                      <a:pt x="845687" y="7868"/>
                      <a:pt x="877677" y="2193"/>
                    </a:cubicBezTo>
                    <a:cubicBezTo>
                      <a:pt x="891093" y="-387"/>
                      <a:pt x="904509" y="-387"/>
                      <a:pt x="917924" y="645"/>
                    </a:cubicBezTo>
                    <a:cubicBezTo>
                      <a:pt x="937531" y="1677"/>
                      <a:pt x="950947" y="11996"/>
                      <a:pt x="956106" y="31603"/>
                    </a:cubicBezTo>
                    <a:cubicBezTo>
                      <a:pt x="968490" y="75461"/>
                      <a:pt x="981389" y="119835"/>
                      <a:pt x="993772" y="163693"/>
                    </a:cubicBezTo>
                    <a:cubicBezTo>
                      <a:pt x="1006672" y="208584"/>
                      <a:pt x="1043822" y="229739"/>
                      <a:pt x="1089745" y="217871"/>
                    </a:cubicBezTo>
                    <a:cubicBezTo>
                      <a:pt x="1104707" y="214259"/>
                      <a:pt x="1113479" y="203424"/>
                      <a:pt x="1120703" y="191040"/>
                    </a:cubicBezTo>
                    <a:cubicBezTo>
                      <a:pt x="1144438" y="150278"/>
                      <a:pt x="1168689" y="109516"/>
                      <a:pt x="1192940" y="68754"/>
                    </a:cubicBezTo>
                    <a:cubicBezTo>
                      <a:pt x="1208419" y="42439"/>
                      <a:pt x="1221835" y="36763"/>
                      <a:pt x="1251245" y="44503"/>
                    </a:cubicBezTo>
                    <a:cubicBezTo>
                      <a:pt x="1310067" y="59466"/>
                      <a:pt x="1317806" y="72366"/>
                      <a:pt x="1309035" y="137895"/>
                    </a:cubicBezTo>
                    <a:cubicBezTo>
                      <a:pt x="1303875" y="177109"/>
                      <a:pt x="1299231" y="216323"/>
                      <a:pt x="1294587" y="255538"/>
                    </a:cubicBezTo>
                    <a:cubicBezTo>
                      <a:pt x="1294071" y="259665"/>
                      <a:pt x="1294071" y="263793"/>
                      <a:pt x="1294587" y="267921"/>
                    </a:cubicBezTo>
                    <a:cubicBezTo>
                      <a:pt x="1301295" y="309715"/>
                      <a:pt x="1364760" y="338610"/>
                      <a:pt x="1399331" y="314359"/>
                    </a:cubicBezTo>
                    <a:cubicBezTo>
                      <a:pt x="1438545" y="286496"/>
                      <a:pt x="1476211" y="257085"/>
                      <a:pt x="1514394" y="228191"/>
                    </a:cubicBezTo>
                    <a:cubicBezTo>
                      <a:pt x="1542256" y="207036"/>
                      <a:pt x="1556188" y="207552"/>
                      <a:pt x="1584050" y="229223"/>
                    </a:cubicBezTo>
                    <a:cubicBezTo>
                      <a:pt x="1587663" y="232319"/>
                      <a:pt x="1591274" y="234898"/>
                      <a:pt x="1594886" y="238510"/>
                    </a:cubicBezTo>
                    <a:cubicBezTo>
                      <a:pt x="1627393" y="269469"/>
                      <a:pt x="1628941" y="278757"/>
                      <a:pt x="1606754" y="317971"/>
                    </a:cubicBezTo>
                    <a:cubicBezTo>
                      <a:pt x="1585599" y="355637"/>
                      <a:pt x="1565475" y="393819"/>
                      <a:pt x="1543288" y="430970"/>
                    </a:cubicBezTo>
                    <a:cubicBezTo>
                      <a:pt x="1527293" y="458317"/>
                      <a:pt x="1534517" y="481020"/>
                      <a:pt x="1552060" y="504239"/>
                    </a:cubicBezTo>
                    <a:cubicBezTo>
                      <a:pt x="1569604" y="527458"/>
                      <a:pt x="1589726" y="538809"/>
                      <a:pt x="1619137" y="531069"/>
                    </a:cubicBezTo>
                    <a:cubicBezTo>
                      <a:pt x="1664543" y="519202"/>
                      <a:pt x="1709949" y="507850"/>
                      <a:pt x="1754839" y="495467"/>
                    </a:cubicBezTo>
                    <a:cubicBezTo>
                      <a:pt x="1783734" y="487727"/>
                      <a:pt x="1796634" y="492371"/>
                      <a:pt x="1812629" y="517654"/>
                    </a:cubicBezTo>
                    <a:cubicBezTo>
                      <a:pt x="1819853" y="528490"/>
                      <a:pt x="1826044" y="539841"/>
                      <a:pt x="1830172" y="552225"/>
                    </a:cubicBezTo>
                    <a:cubicBezTo>
                      <a:pt x="1837912" y="574412"/>
                      <a:pt x="1834299" y="588343"/>
                      <a:pt x="1815724" y="603306"/>
                    </a:cubicBezTo>
                    <a:cubicBezTo>
                      <a:pt x="1777026" y="634265"/>
                      <a:pt x="1738844" y="665224"/>
                      <a:pt x="1699630" y="695666"/>
                    </a:cubicBezTo>
                    <a:cubicBezTo>
                      <a:pt x="1680022" y="710629"/>
                      <a:pt x="1674862" y="729205"/>
                      <a:pt x="1678990" y="751908"/>
                    </a:cubicBezTo>
                    <a:cubicBezTo>
                      <a:pt x="1680539" y="759647"/>
                      <a:pt x="1683119" y="766871"/>
                      <a:pt x="1685182" y="774611"/>
                    </a:cubicBezTo>
                    <a:cubicBezTo>
                      <a:pt x="1691890" y="798862"/>
                      <a:pt x="1707885" y="812277"/>
                      <a:pt x="1732652" y="815373"/>
                    </a:cubicBezTo>
                    <a:cubicBezTo>
                      <a:pt x="1779606" y="821565"/>
                      <a:pt x="1826560" y="828272"/>
                      <a:pt x="1872998" y="834464"/>
                    </a:cubicBezTo>
                    <a:cubicBezTo>
                      <a:pt x="1900861" y="838076"/>
                      <a:pt x="1915308" y="851491"/>
                      <a:pt x="1918404" y="879354"/>
                    </a:cubicBezTo>
                    <a:cubicBezTo>
                      <a:pt x="1919952" y="892770"/>
                      <a:pt x="1921500" y="906185"/>
                      <a:pt x="1919952" y="919600"/>
                    </a:cubicBezTo>
                    <a:cubicBezTo>
                      <a:pt x="1917372" y="940755"/>
                      <a:pt x="1906536" y="952623"/>
                      <a:pt x="1886930" y="958299"/>
                    </a:cubicBezTo>
                    <a:cubicBezTo>
                      <a:pt x="1843071" y="970682"/>
                      <a:pt x="1798697" y="983065"/>
                      <a:pt x="1754839" y="995965"/>
                    </a:cubicBezTo>
                    <a:cubicBezTo>
                      <a:pt x="1712013" y="1008348"/>
                      <a:pt x="1692406" y="1040855"/>
                      <a:pt x="1701178" y="1085229"/>
                    </a:cubicBezTo>
                    <a:cubicBezTo>
                      <a:pt x="1704273" y="1102256"/>
                      <a:pt x="1714077" y="1113092"/>
                      <a:pt x="1728524" y="1121348"/>
                    </a:cubicBezTo>
                    <a:cubicBezTo>
                      <a:pt x="1768771" y="1145083"/>
                      <a:pt x="1809016" y="1168817"/>
                      <a:pt x="1849779" y="1192552"/>
                    </a:cubicBezTo>
                    <a:cubicBezTo>
                      <a:pt x="1879706" y="1210096"/>
                      <a:pt x="1884350" y="1220415"/>
                      <a:pt x="1876094" y="1253954"/>
                    </a:cubicBezTo>
                    <a:cubicBezTo>
                      <a:pt x="1875578" y="1256018"/>
                      <a:pt x="1875578" y="1258082"/>
                      <a:pt x="1875062" y="1260145"/>
                    </a:cubicBezTo>
                    <a:cubicBezTo>
                      <a:pt x="1862678" y="1300908"/>
                      <a:pt x="1848747" y="1321031"/>
                      <a:pt x="1802309" y="1312259"/>
                    </a:cubicBezTo>
                    <a:cubicBezTo>
                      <a:pt x="1760515" y="1304003"/>
                      <a:pt x="1717689" y="1302456"/>
                      <a:pt x="1675379" y="1296264"/>
                    </a:cubicBezTo>
                    <a:cubicBezTo>
                      <a:pt x="1645452" y="1292136"/>
                      <a:pt x="1625845" y="1304003"/>
                      <a:pt x="1611398" y="1329286"/>
                    </a:cubicBezTo>
                    <a:cubicBezTo>
                      <a:pt x="1596434" y="1355085"/>
                      <a:pt x="1589726" y="1379336"/>
                      <a:pt x="1610365" y="1405651"/>
                    </a:cubicBezTo>
                    <a:cubicBezTo>
                      <a:pt x="1638228" y="1441254"/>
                      <a:pt x="1665059" y="1477888"/>
                      <a:pt x="1692406" y="1514006"/>
                    </a:cubicBezTo>
                    <a:cubicBezTo>
                      <a:pt x="1715109" y="1543417"/>
                      <a:pt x="1715109" y="1555285"/>
                      <a:pt x="1692406" y="1584695"/>
                    </a:cubicBezTo>
                    <a:cubicBezTo>
                      <a:pt x="1691374" y="1585727"/>
                      <a:pt x="1690342" y="1587275"/>
                      <a:pt x="1689310" y="1588307"/>
                    </a:cubicBezTo>
                    <a:cubicBezTo>
                      <a:pt x="1659383" y="1620298"/>
                      <a:pt x="1647516" y="1634229"/>
                      <a:pt x="1600562" y="1605850"/>
                    </a:cubicBezTo>
                    <a:cubicBezTo>
                      <a:pt x="1564444" y="1584179"/>
                      <a:pt x="1526261" y="1565604"/>
                      <a:pt x="1490659" y="1543933"/>
                    </a:cubicBezTo>
                    <a:cubicBezTo>
                      <a:pt x="1461248" y="1526390"/>
                      <a:pt x="1438545" y="1536709"/>
                      <a:pt x="1415326" y="1554769"/>
                    </a:cubicBezTo>
                    <a:cubicBezTo>
                      <a:pt x="1392107" y="1572312"/>
                      <a:pt x="1382819" y="1593467"/>
                      <a:pt x="1391075" y="1622877"/>
                    </a:cubicBezTo>
                    <a:cubicBezTo>
                      <a:pt x="1403974" y="1668284"/>
                      <a:pt x="1415326" y="1714205"/>
                      <a:pt x="1426677" y="1760128"/>
                    </a:cubicBezTo>
                    <a:cubicBezTo>
                      <a:pt x="1432870" y="1784894"/>
                      <a:pt x="1427710" y="1798310"/>
                      <a:pt x="1406554" y="1811725"/>
                    </a:cubicBezTo>
                    <a:cubicBezTo>
                      <a:pt x="1395203" y="1818949"/>
                      <a:pt x="1383335" y="1825657"/>
                      <a:pt x="1370436" y="1830300"/>
                    </a:cubicBezTo>
                    <a:cubicBezTo>
                      <a:pt x="1347733" y="1838556"/>
                      <a:pt x="1331222" y="1834428"/>
                      <a:pt x="1316258" y="1815337"/>
                    </a:cubicBezTo>
                    <a:cubicBezTo>
                      <a:pt x="1287879" y="1779735"/>
                      <a:pt x="1259501" y="1743616"/>
                      <a:pt x="1231122" y="1707498"/>
                    </a:cubicBezTo>
                    <a:cubicBezTo>
                      <a:pt x="1203775" y="1673443"/>
                      <a:pt x="1154242" y="1668800"/>
                      <a:pt x="1121219" y="1698210"/>
                    </a:cubicBezTo>
                    <a:cubicBezTo>
                      <a:pt x="1112447" y="1705950"/>
                      <a:pt x="1108320" y="1715753"/>
                      <a:pt x="1106771" y="1727105"/>
                    </a:cubicBezTo>
                    <a:cubicBezTo>
                      <a:pt x="1100064" y="1774575"/>
                      <a:pt x="1092324" y="1821529"/>
                      <a:pt x="1087165" y="1868999"/>
                    </a:cubicBezTo>
                    <a:cubicBezTo>
                      <a:pt x="1084068" y="1893766"/>
                      <a:pt x="1074265" y="1911309"/>
                      <a:pt x="1050014" y="1919049"/>
                    </a:cubicBezTo>
                    <a:cubicBezTo>
                      <a:pt x="1029375" y="1919049"/>
                      <a:pt x="1008220" y="1919049"/>
                      <a:pt x="987581" y="1919049"/>
                    </a:cubicBezTo>
                    <a:cubicBezTo>
                      <a:pt x="973133" y="1910277"/>
                      <a:pt x="964878" y="1897377"/>
                      <a:pt x="960234" y="1880866"/>
                    </a:cubicBezTo>
                    <a:cubicBezTo>
                      <a:pt x="947851" y="1835460"/>
                      <a:pt x="933919" y="1790054"/>
                      <a:pt x="921535" y="1744132"/>
                    </a:cubicBezTo>
                    <a:cubicBezTo>
                      <a:pt x="914828" y="1719881"/>
                      <a:pt x="899865" y="1706982"/>
                      <a:pt x="875614" y="1703886"/>
                    </a:cubicBezTo>
                    <a:cubicBezTo>
                      <a:pt x="866326" y="1702854"/>
                      <a:pt x="857038" y="1701306"/>
                      <a:pt x="847751" y="1700790"/>
                    </a:cubicBezTo>
                    <a:cubicBezTo>
                      <a:pt x="826080" y="1699242"/>
                      <a:pt x="811117" y="1709046"/>
                      <a:pt x="800281" y="1727105"/>
                    </a:cubicBezTo>
                    <a:cubicBezTo>
                      <a:pt x="796153" y="1733813"/>
                      <a:pt x="792541" y="1740520"/>
                      <a:pt x="788414" y="1747228"/>
                    </a:cubicBezTo>
                    <a:cubicBezTo>
                      <a:pt x="766742" y="1783862"/>
                      <a:pt x="745587" y="1821013"/>
                      <a:pt x="723401" y="1857131"/>
                    </a:cubicBezTo>
                    <a:cubicBezTo>
                      <a:pt x="711533" y="1877254"/>
                      <a:pt x="697085" y="1882414"/>
                      <a:pt x="674383" y="1877254"/>
                    </a:cubicBezTo>
                    <a:cubicBezTo>
                      <a:pt x="660451" y="1874158"/>
                      <a:pt x="647552" y="1869515"/>
                      <a:pt x="634652" y="1863839"/>
                    </a:cubicBezTo>
                    <a:cubicBezTo>
                      <a:pt x="611949" y="1853003"/>
                      <a:pt x="604726" y="1839072"/>
                      <a:pt x="607822" y="1813789"/>
                    </a:cubicBezTo>
                    <a:cubicBezTo>
                      <a:pt x="613497" y="1766835"/>
                      <a:pt x="618141" y="1719881"/>
                      <a:pt x="624848" y="1672927"/>
                    </a:cubicBezTo>
                    <a:cubicBezTo>
                      <a:pt x="629492" y="1639905"/>
                      <a:pt x="611949" y="1621846"/>
                      <a:pt x="586150" y="1607398"/>
                    </a:cubicBezTo>
                    <a:cubicBezTo>
                      <a:pt x="560868" y="1593467"/>
                      <a:pt x="538165" y="1591403"/>
                      <a:pt x="514430" y="1611010"/>
                    </a:cubicBezTo>
                    <a:cubicBezTo>
                      <a:pt x="481407" y="1637325"/>
                      <a:pt x="446836" y="1661576"/>
                      <a:pt x="413814" y="1687375"/>
                    </a:cubicBezTo>
                    <a:cubicBezTo>
                      <a:pt x="380276" y="1713690"/>
                      <a:pt x="365828" y="1719365"/>
                      <a:pt x="324550" y="1682215"/>
                    </a:cubicBezTo>
                    <a:cubicBezTo>
                      <a:pt x="321970" y="1679635"/>
                      <a:pt x="319390" y="1677055"/>
                      <a:pt x="316810" y="1674475"/>
                    </a:cubicBezTo>
                    <a:cubicBezTo>
                      <a:pt x="296687" y="1653836"/>
                      <a:pt x="294623" y="1637841"/>
                      <a:pt x="309071" y="1612558"/>
                    </a:cubicBezTo>
                    <a:cubicBezTo>
                      <a:pt x="331258" y="1572828"/>
                      <a:pt x="353960" y="1532581"/>
                      <a:pt x="376148" y="1492851"/>
                    </a:cubicBezTo>
                    <a:cubicBezTo>
                      <a:pt x="382339" y="1481500"/>
                      <a:pt x="389047" y="1470148"/>
                      <a:pt x="387499" y="1456217"/>
                    </a:cubicBezTo>
                    <a:cubicBezTo>
                      <a:pt x="383887" y="1414423"/>
                      <a:pt x="337449" y="1381400"/>
                      <a:pt x="297203" y="1391720"/>
                    </a:cubicBezTo>
                    <a:cubicBezTo>
                      <a:pt x="250765" y="1403587"/>
                      <a:pt x="204327" y="1415455"/>
                      <a:pt x="158405" y="1427838"/>
                    </a:cubicBezTo>
                    <a:cubicBezTo>
                      <a:pt x="139830" y="1432998"/>
                      <a:pt x="125899" y="1427322"/>
                      <a:pt x="114031" y="1412875"/>
                    </a:cubicBezTo>
                    <a:cubicBezTo>
                      <a:pt x="104228" y="1401007"/>
                      <a:pt x="98036" y="1387592"/>
                      <a:pt x="91844" y="1373660"/>
                    </a:cubicBezTo>
                    <a:cubicBezTo>
                      <a:pt x="81525" y="1349409"/>
                      <a:pt x="86169" y="1331866"/>
                      <a:pt x="106808" y="1315871"/>
                    </a:cubicBezTo>
                    <a:cubicBezTo>
                      <a:pt x="140862" y="1288524"/>
                      <a:pt x="175432" y="1261693"/>
                      <a:pt x="209487" y="1234347"/>
                    </a:cubicBezTo>
                    <a:cubicBezTo>
                      <a:pt x="245605" y="1206484"/>
                      <a:pt x="248701" y="1194616"/>
                      <a:pt x="236834" y="1151274"/>
                    </a:cubicBezTo>
                    <a:cubicBezTo>
                      <a:pt x="228578" y="1122896"/>
                      <a:pt x="211551" y="1107932"/>
                      <a:pt x="181624" y="1104836"/>
                    </a:cubicBezTo>
                    <a:cubicBezTo>
                      <a:pt x="138282" y="1100192"/>
                      <a:pt x="95456" y="1091937"/>
                      <a:pt x="52114" y="1087293"/>
                    </a:cubicBezTo>
                    <a:cubicBezTo>
                      <a:pt x="27347" y="1084713"/>
                      <a:pt x="9804" y="1074910"/>
                      <a:pt x="1032" y="1051175"/>
                    </a:cubicBezTo>
                    <a:cubicBezTo>
                      <a:pt x="0" y="1028988"/>
                      <a:pt x="0" y="1008348"/>
                      <a:pt x="0" y="987194"/>
                    </a:cubicBezTo>
                    <a:close/>
                    <a:moveTo>
                      <a:pt x="1198616" y="960879"/>
                    </a:moveTo>
                    <a:cubicBezTo>
                      <a:pt x="1200163" y="838592"/>
                      <a:pt x="1104192" y="720433"/>
                      <a:pt x="958686" y="720949"/>
                    </a:cubicBezTo>
                    <a:cubicBezTo>
                      <a:pt x="824016" y="721465"/>
                      <a:pt x="720821" y="824145"/>
                      <a:pt x="720304" y="959331"/>
                    </a:cubicBezTo>
                    <a:cubicBezTo>
                      <a:pt x="719788" y="1096581"/>
                      <a:pt x="827628" y="1197712"/>
                      <a:pt x="957654" y="1198744"/>
                    </a:cubicBezTo>
                    <a:cubicBezTo>
                      <a:pt x="1090776" y="1199776"/>
                      <a:pt x="1198100" y="1092969"/>
                      <a:pt x="1198616" y="960879"/>
                    </a:cubicBezTo>
                    <a:close/>
                  </a:path>
                </a:pathLst>
              </a:custGeom>
              <a:grpFill/>
              <a:ln w="51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A74DC46F-EE01-49F6-894A-71B37D0AC15C}"/>
                  </a:ext>
                </a:extLst>
              </p:cNvPr>
              <p:cNvGrpSpPr/>
              <p:nvPr/>
            </p:nvGrpSpPr>
            <p:grpSpPr>
              <a:xfrm>
                <a:off x="7392963" y="2648852"/>
                <a:ext cx="1838947" cy="1835405"/>
                <a:chOff x="7167947" y="1624190"/>
                <a:chExt cx="2677922" cy="2672763"/>
              </a:xfrm>
              <a:grpFill/>
            </p:grpSpPr>
            <p:sp>
              <p:nvSpPr>
                <p:cNvPr id="28" name="Freeform: Shape 27">
                  <a:extLst>
                    <a:ext uri="{FF2B5EF4-FFF2-40B4-BE49-F238E27FC236}">
                      <a16:creationId xmlns:a16="http://schemas.microsoft.com/office/drawing/2014/main" id="{1AB69D80-C161-41AB-A5DD-3B118793A012}"/>
                    </a:ext>
                  </a:extLst>
                </p:cNvPr>
                <p:cNvSpPr/>
                <p:nvPr/>
              </p:nvSpPr>
              <p:spPr>
                <a:xfrm>
                  <a:off x="7167947" y="1624190"/>
                  <a:ext cx="2677922" cy="2672763"/>
                </a:xfrm>
                <a:custGeom>
                  <a:avLst/>
                  <a:gdLst>
                    <a:gd name="connsiteX0" fmla="*/ 2538684 w 2677922"/>
                    <a:gd name="connsiteY0" fmla="*/ 1897505 h 2672762"/>
                    <a:gd name="connsiteX1" fmla="*/ 2456643 w 2677922"/>
                    <a:gd name="connsiteY1" fmla="*/ 1879446 h 2672762"/>
                    <a:gd name="connsiteX2" fmla="*/ 2389566 w 2677922"/>
                    <a:gd name="connsiteY2" fmla="*/ 1863966 h 2672762"/>
                    <a:gd name="connsiteX3" fmla="*/ 2354479 w 2677922"/>
                    <a:gd name="connsiteY3" fmla="*/ 1874802 h 2672762"/>
                    <a:gd name="connsiteX4" fmla="*/ 2312170 w 2677922"/>
                    <a:gd name="connsiteY4" fmla="*/ 1950651 h 2672762"/>
                    <a:gd name="connsiteX5" fmla="*/ 2322489 w 2677922"/>
                    <a:gd name="connsiteY5" fmla="*/ 1983157 h 2672762"/>
                    <a:gd name="connsiteX6" fmla="*/ 2412785 w 2677922"/>
                    <a:gd name="connsiteY6" fmla="*/ 2080161 h 2672762"/>
                    <a:gd name="connsiteX7" fmla="*/ 2418461 w 2677922"/>
                    <a:gd name="connsiteY7" fmla="*/ 2146722 h 2672762"/>
                    <a:gd name="connsiteX8" fmla="*/ 2414849 w 2677922"/>
                    <a:gd name="connsiteY8" fmla="*/ 2151882 h 2672762"/>
                    <a:gd name="connsiteX9" fmla="*/ 2324037 w 2677922"/>
                    <a:gd name="connsiteY9" fmla="*/ 2174585 h 2672762"/>
                    <a:gd name="connsiteX10" fmla="*/ 2219294 w 2677922"/>
                    <a:gd name="connsiteY10" fmla="*/ 2118859 h 2672762"/>
                    <a:gd name="connsiteX11" fmla="*/ 2178531 w 2677922"/>
                    <a:gd name="connsiteY11" fmla="*/ 2120407 h 2672762"/>
                    <a:gd name="connsiteX12" fmla="*/ 2125386 w 2677922"/>
                    <a:gd name="connsiteY12" fmla="*/ 2172521 h 2672762"/>
                    <a:gd name="connsiteX13" fmla="*/ 2122806 w 2677922"/>
                    <a:gd name="connsiteY13" fmla="*/ 2217411 h 2672762"/>
                    <a:gd name="connsiteX14" fmla="*/ 2184723 w 2677922"/>
                    <a:gd name="connsiteY14" fmla="*/ 2334538 h 2672762"/>
                    <a:gd name="connsiteX15" fmla="*/ 2174404 w 2677922"/>
                    <a:gd name="connsiteY15" fmla="*/ 2395423 h 2672762"/>
                    <a:gd name="connsiteX16" fmla="*/ 2164084 w 2677922"/>
                    <a:gd name="connsiteY16" fmla="*/ 2404711 h 2672762"/>
                    <a:gd name="connsiteX17" fmla="*/ 2075336 w 2677922"/>
                    <a:gd name="connsiteY17" fmla="*/ 2401615 h 2672762"/>
                    <a:gd name="connsiteX18" fmla="*/ 1988652 w 2677922"/>
                    <a:gd name="connsiteY18" fmla="*/ 2320606 h 2672762"/>
                    <a:gd name="connsiteX19" fmla="*/ 1944277 w 2677922"/>
                    <a:gd name="connsiteY19" fmla="*/ 2311835 h 2672762"/>
                    <a:gd name="connsiteX20" fmla="*/ 1883392 w 2677922"/>
                    <a:gd name="connsiteY20" fmla="*/ 2346405 h 2672762"/>
                    <a:gd name="connsiteX21" fmla="*/ 1868429 w 2677922"/>
                    <a:gd name="connsiteY21" fmla="*/ 2391811 h 2672762"/>
                    <a:gd name="connsiteX22" fmla="*/ 1899388 w 2677922"/>
                    <a:gd name="connsiteY22" fmla="*/ 2526997 h 2672762"/>
                    <a:gd name="connsiteX23" fmla="*/ 1879264 w 2677922"/>
                    <a:gd name="connsiteY23" fmla="*/ 2571887 h 2672762"/>
                    <a:gd name="connsiteX24" fmla="*/ 1841082 w 2677922"/>
                    <a:gd name="connsiteY24" fmla="*/ 2588915 h 2672762"/>
                    <a:gd name="connsiteX25" fmla="*/ 1782777 w 2677922"/>
                    <a:gd name="connsiteY25" fmla="*/ 2568276 h 2672762"/>
                    <a:gd name="connsiteX26" fmla="*/ 1715184 w 2677922"/>
                    <a:gd name="connsiteY26" fmla="*/ 2459404 h 2672762"/>
                    <a:gd name="connsiteX27" fmla="*/ 1664618 w 2677922"/>
                    <a:gd name="connsiteY27" fmla="*/ 2435669 h 2672762"/>
                    <a:gd name="connsiteX28" fmla="*/ 1610440 w 2677922"/>
                    <a:gd name="connsiteY28" fmla="*/ 2450117 h 2672762"/>
                    <a:gd name="connsiteX29" fmla="*/ 1577418 w 2677922"/>
                    <a:gd name="connsiteY29" fmla="*/ 2495007 h 2672762"/>
                    <a:gd name="connsiteX30" fmla="*/ 1573806 w 2677922"/>
                    <a:gd name="connsiteY30" fmla="*/ 2616777 h 2672762"/>
                    <a:gd name="connsiteX31" fmla="*/ 1526852 w 2677922"/>
                    <a:gd name="connsiteY31" fmla="*/ 2672503 h 2672762"/>
                    <a:gd name="connsiteX32" fmla="*/ 1497441 w 2677922"/>
                    <a:gd name="connsiteY32" fmla="*/ 2676115 h 2672762"/>
                    <a:gd name="connsiteX33" fmla="*/ 1449972 w 2677922"/>
                    <a:gd name="connsiteY33" fmla="*/ 2644124 h 2672762"/>
                    <a:gd name="connsiteX34" fmla="*/ 1410241 w 2677922"/>
                    <a:gd name="connsiteY34" fmla="*/ 2514614 h 2672762"/>
                    <a:gd name="connsiteX35" fmla="*/ 1373091 w 2677922"/>
                    <a:gd name="connsiteY35" fmla="*/ 2482623 h 2672762"/>
                    <a:gd name="connsiteX36" fmla="*/ 1304982 w 2677922"/>
                    <a:gd name="connsiteY36" fmla="*/ 2483139 h 2672762"/>
                    <a:gd name="connsiteX37" fmla="*/ 1271959 w 2677922"/>
                    <a:gd name="connsiteY37" fmla="*/ 2511518 h 2672762"/>
                    <a:gd name="connsiteX38" fmla="*/ 1234293 w 2677922"/>
                    <a:gd name="connsiteY38" fmla="*/ 2633805 h 2672762"/>
                    <a:gd name="connsiteX39" fmla="*/ 1170828 w 2677922"/>
                    <a:gd name="connsiteY39" fmla="*/ 2674567 h 2672762"/>
                    <a:gd name="connsiteX40" fmla="*/ 1106847 w 2677922"/>
                    <a:gd name="connsiteY40" fmla="*/ 2602330 h 2672762"/>
                    <a:gd name="connsiteX41" fmla="*/ 1103751 w 2677922"/>
                    <a:gd name="connsiteY41" fmla="*/ 2491395 h 2672762"/>
                    <a:gd name="connsiteX42" fmla="*/ 1080532 w 2677922"/>
                    <a:gd name="connsiteY42" fmla="*/ 2454244 h 2672762"/>
                    <a:gd name="connsiteX43" fmla="*/ 1005199 w 2677922"/>
                    <a:gd name="connsiteY43" fmla="*/ 2435153 h 2672762"/>
                    <a:gd name="connsiteX44" fmla="*/ 969080 w 2677922"/>
                    <a:gd name="connsiteY44" fmla="*/ 2454244 h 2672762"/>
                    <a:gd name="connsiteX45" fmla="*/ 900456 w 2677922"/>
                    <a:gd name="connsiteY45" fmla="*/ 2564148 h 2672762"/>
                    <a:gd name="connsiteX46" fmla="*/ 836474 w 2677922"/>
                    <a:gd name="connsiteY46" fmla="*/ 2587367 h 2672762"/>
                    <a:gd name="connsiteX47" fmla="*/ 831830 w 2677922"/>
                    <a:gd name="connsiteY47" fmla="*/ 2585819 h 2672762"/>
                    <a:gd name="connsiteX48" fmla="*/ 785392 w 2677922"/>
                    <a:gd name="connsiteY48" fmla="*/ 2504810 h 2672762"/>
                    <a:gd name="connsiteX49" fmla="*/ 811707 w 2677922"/>
                    <a:gd name="connsiteY49" fmla="*/ 2390779 h 2672762"/>
                    <a:gd name="connsiteX50" fmla="*/ 794680 w 2677922"/>
                    <a:gd name="connsiteY50" fmla="*/ 2344341 h 2672762"/>
                    <a:gd name="connsiteX51" fmla="*/ 739470 w 2677922"/>
                    <a:gd name="connsiteY51" fmla="*/ 2312351 h 2672762"/>
                    <a:gd name="connsiteX52" fmla="*/ 689421 w 2677922"/>
                    <a:gd name="connsiteY52" fmla="*/ 2321638 h 2672762"/>
                    <a:gd name="connsiteX53" fmla="*/ 596029 w 2677922"/>
                    <a:gd name="connsiteY53" fmla="*/ 2408838 h 2672762"/>
                    <a:gd name="connsiteX54" fmla="*/ 530500 w 2677922"/>
                    <a:gd name="connsiteY54" fmla="*/ 2415030 h 2672762"/>
                    <a:gd name="connsiteX55" fmla="*/ 521212 w 2677922"/>
                    <a:gd name="connsiteY55" fmla="*/ 2408838 h 2672762"/>
                    <a:gd name="connsiteX56" fmla="*/ 500573 w 2677922"/>
                    <a:gd name="connsiteY56" fmla="*/ 2322670 h 2672762"/>
                    <a:gd name="connsiteX57" fmla="*/ 556298 w 2677922"/>
                    <a:gd name="connsiteY57" fmla="*/ 2217927 h 2672762"/>
                    <a:gd name="connsiteX58" fmla="*/ 552171 w 2677922"/>
                    <a:gd name="connsiteY58" fmla="*/ 2168909 h 2672762"/>
                    <a:gd name="connsiteX59" fmla="*/ 505733 w 2677922"/>
                    <a:gd name="connsiteY59" fmla="*/ 2122987 h 2672762"/>
                    <a:gd name="connsiteX60" fmla="*/ 457747 w 2677922"/>
                    <a:gd name="connsiteY60" fmla="*/ 2119375 h 2672762"/>
                    <a:gd name="connsiteX61" fmla="*/ 341652 w 2677922"/>
                    <a:gd name="connsiteY61" fmla="*/ 2180777 h 2672762"/>
                    <a:gd name="connsiteX62" fmla="*/ 278187 w 2677922"/>
                    <a:gd name="connsiteY62" fmla="*/ 2168909 h 2672762"/>
                    <a:gd name="connsiteX63" fmla="*/ 274059 w 2677922"/>
                    <a:gd name="connsiteY63" fmla="*/ 2164265 h 2672762"/>
                    <a:gd name="connsiteX64" fmla="*/ 276639 w 2677922"/>
                    <a:gd name="connsiteY64" fmla="*/ 2069325 h 2672762"/>
                    <a:gd name="connsiteX65" fmla="*/ 354551 w 2677922"/>
                    <a:gd name="connsiteY65" fmla="*/ 1986253 h 2672762"/>
                    <a:gd name="connsiteX66" fmla="*/ 363839 w 2677922"/>
                    <a:gd name="connsiteY66" fmla="*/ 1940847 h 2672762"/>
                    <a:gd name="connsiteX67" fmla="*/ 328237 w 2677922"/>
                    <a:gd name="connsiteY67" fmla="*/ 1878930 h 2672762"/>
                    <a:gd name="connsiteX68" fmla="*/ 283347 w 2677922"/>
                    <a:gd name="connsiteY68" fmla="*/ 1866030 h 2672762"/>
                    <a:gd name="connsiteX69" fmla="*/ 170864 w 2677922"/>
                    <a:gd name="connsiteY69" fmla="*/ 1891829 h 2672762"/>
                    <a:gd name="connsiteX70" fmla="*/ 155900 w 2677922"/>
                    <a:gd name="connsiteY70" fmla="*/ 1895441 h 2672762"/>
                    <a:gd name="connsiteX71" fmla="*/ 100175 w 2677922"/>
                    <a:gd name="connsiteY71" fmla="*/ 1868094 h 2672762"/>
                    <a:gd name="connsiteX72" fmla="*/ 87275 w 2677922"/>
                    <a:gd name="connsiteY72" fmla="*/ 1838168 h 2672762"/>
                    <a:gd name="connsiteX73" fmla="*/ 107915 w 2677922"/>
                    <a:gd name="connsiteY73" fmla="*/ 1779862 h 2672762"/>
                    <a:gd name="connsiteX74" fmla="*/ 213690 w 2677922"/>
                    <a:gd name="connsiteY74" fmla="*/ 1713817 h 2672762"/>
                    <a:gd name="connsiteX75" fmla="*/ 238972 w 2677922"/>
                    <a:gd name="connsiteY75" fmla="*/ 1654480 h 2672762"/>
                    <a:gd name="connsiteX76" fmla="*/ 222977 w 2677922"/>
                    <a:gd name="connsiteY76" fmla="*/ 1600818 h 2672762"/>
                    <a:gd name="connsiteX77" fmla="*/ 184279 w 2677922"/>
                    <a:gd name="connsiteY77" fmla="*/ 1575019 h 2672762"/>
                    <a:gd name="connsiteX78" fmla="*/ 59413 w 2677922"/>
                    <a:gd name="connsiteY78" fmla="*/ 1571407 h 2672762"/>
                    <a:gd name="connsiteX79" fmla="*/ 3687 w 2677922"/>
                    <a:gd name="connsiteY79" fmla="*/ 1524453 h 2672762"/>
                    <a:gd name="connsiteX80" fmla="*/ 1623 w 2677922"/>
                    <a:gd name="connsiteY80" fmla="*/ 1513618 h 2672762"/>
                    <a:gd name="connsiteX81" fmla="*/ 48577 w 2677922"/>
                    <a:gd name="connsiteY81" fmla="*/ 1442413 h 2672762"/>
                    <a:gd name="connsiteX82" fmla="*/ 160544 w 2677922"/>
                    <a:gd name="connsiteY82" fmla="*/ 1408358 h 2672762"/>
                    <a:gd name="connsiteX83" fmla="*/ 194083 w 2677922"/>
                    <a:gd name="connsiteY83" fmla="*/ 1370692 h 2672762"/>
                    <a:gd name="connsiteX84" fmla="*/ 192534 w 2677922"/>
                    <a:gd name="connsiteY84" fmla="*/ 1298971 h 2672762"/>
                    <a:gd name="connsiteX85" fmla="*/ 166220 w 2677922"/>
                    <a:gd name="connsiteY85" fmla="*/ 1269560 h 2672762"/>
                    <a:gd name="connsiteX86" fmla="*/ 47029 w 2677922"/>
                    <a:gd name="connsiteY86" fmla="*/ 1232926 h 2672762"/>
                    <a:gd name="connsiteX87" fmla="*/ 1623 w 2677922"/>
                    <a:gd name="connsiteY87" fmla="*/ 1166881 h 2672762"/>
                    <a:gd name="connsiteX88" fmla="*/ 6267 w 2677922"/>
                    <a:gd name="connsiteY88" fmla="*/ 1139534 h 2672762"/>
                    <a:gd name="connsiteX89" fmla="*/ 49093 w 2677922"/>
                    <a:gd name="connsiteY89" fmla="*/ 1105480 h 2672762"/>
                    <a:gd name="connsiteX90" fmla="*/ 164672 w 2677922"/>
                    <a:gd name="connsiteY90" fmla="*/ 1101868 h 2672762"/>
                    <a:gd name="connsiteX91" fmla="*/ 181699 w 2677922"/>
                    <a:gd name="connsiteY91" fmla="*/ 1101352 h 2672762"/>
                    <a:gd name="connsiteX92" fmla="*/ 227621 w 2677922"/>
                    <a:gd name="connsiteY92" fmla="*/ 1065233 h 2672762"/>
                    <a:gd name="connsiteX93" fmla="*/ 241036 w 2677922"/>
                    <a:gd name="connsiteY93" fmla="*/ 1014152 h 2672762"/>
                    <a:gd name="connsiteX94" fmla="*/ 219366 w 2677922"/>
                    <a:gd name="connsiteY94" fmla="*/ 965650 h 2672762"/>
                    <a:gd name="connsiteX95" fmla="*/ 113590 w 2677922"/>
                    <a:gd name="connsiteY95" fmla="*/ 899605 h 2672762"/>
                    <a:gd name="connsiteX96" fmla="*/ 89855 w 2677922"/>
                    <a:gd name="connsiteY96" fmla="*/ 832012 h 2672762"/>
                    <a:gd name="connsiteX97" fmla="*/ 104818 w 2677922"/>
                    <a:gd name="connsiteY97" fmla="*/ 799505 h 2672762"/>
                    <a:gd name="connsiteX98" fmla="*/ 151256 w 2677922"/>
                    <a:gd name="connsiteY98" fmla="*/ 779898 h 2672762"/>
                    <a:gd name="connsiteX99" fmla="*/ 283347 w 2677922"/>
                    <a:gd name="connsiteY99" fmla="*/ 810341 h 2672762"/>
                    <a:gd name="connsiteX100" fmla="*/ 331332 w 2677922"/>
                    <a:gd name="connsiteY100" fmla="*/ 794345 h 2672762"/>
                    <a:gd name="connsiteX101" fmla="*/ 363839 w 2677922"/>
                    <a:gd name="connsiteY101" fmla="*/ 737588 h 2672762"/>
                    <a:gd name="connsiteX102" fmla="*/ 354551 w 2677922"/>
                    <a:gd name="connsiteY102" fmla="*/ 689086 h 2672762"/>
                    <a:gd name="connsiteX103" fmla="*/ 266835 w 2677922"/>
                    <a:gd name="connsiteY103" fmla="*/ 595694 h 2672762"/>
                    <a:gd name="connsiteX104" fmla="*/ 261675 w 2677922"/>
                    <a:gd name="connsiteY104" fmla="*/ 529133 h 2672762"/>
                    <a:gd name="connsiteX105" fmla="*/ 270447 w 2677922"/>
                    <a:gd name="connsiteY105" fmla="*/ 516233 h 2672762"/>
                    <a:gd name="connsiteX106" fmla="*/ 349907 w 2677922"/>
                    <a:gd name="connsiteY106" fmla="*/ 498690 h 2672762"/>
                    <a:gd name="connsiteX107" fmla="*/ 457231 w 2677922"/>
                    <a:gd name="connsiteY107" fmla="*/ 555964 h 2672762"/>
                    <a:gd name="connsiteX108" fmla="*/ 507797 w 2677922"/>
                    <a:gd name="connsiteY108" fmla="*/ 551320 h 2672762"/>
                    <a:gd name="connsiteX109" fmla="*/ 551139 w 2677922"/>
                    <a:gd name="connsiteY109" fmla="*/ 508494 h 2672762"/>
                    <a:gd name="connsiteX110" fmla="*/ 556815 w 2677922"/>
                    <a:gd name="connsiteY110" fmla="*/ 456896 h 2672762"/>
                    <a:gd name="connsiteX111" fmla="*/ 494381 w 2677922"/>
                    <a:gd name="connsiteY111" fmla="*/ 339769 h 2672762"/>
                    <a:gd name="connsiteX112" fmla="*/ 505217 w 2677922"/>
                    <a:gd name="connsiteY112" fmla="*/ 280432 h 2672762"/>
                    <a:gd name="connsiteX113" fmla="*/ 537723 w 2677922"/>
                    <a:gd name="connsiteY113" fmla="*/ 256181 h 2672762"/>
                    <a:gd name="connsiteX114" fmla="*/ 590353 w 2677922"/>
                    <a:gd name="connsiteY114" fmla="*/ 261857 h 2672762"/>
                    <a:gd name="connsiteX115" fmla="*/ 679617 w 2677922"/>
                    <a:gd name="connsiteY115" fmla="*/ 344929 h 2672762"/>
                    <a:gd name="connsiteX116" fmla="*/ 754950 w 2677922"/>
                    <a:gd name="connsiteY116" fmla="*/ 355765 h 2672762"/>
                    <a:gd name="connsiteX117" fmla="*/ 797260 w 2677922"/>
                    <a:gd name="connsiteY117" fmla="*/ 329450 h 2672762"/>
                    <a:gd name="connsiteX118" fmla="*/ 811707 w 2677922"/>
                    <a:gd name="connsiteY118" fmla="*/ 285076 h 2672762"/>
                    <a:gd name="connsiteX119" fmla="*/ 781781 w 2677922"/>
                    <a:gd name="connsiteY119" fmla="*/ 156081 h 2672762"/>
                    <a:gd name="connsiteX120" fmla="*/ 807064 w 2677922"/>
                    <a:gd name="connsiteY120" fmla="*/ 100872 h 2672762"/>
                    <a:gd name="connsiteX121" fmla="*/ 841634 w 2677922"/>
                    <a:gd name="connsiteY121" fmla="*/ 86424 h 2672762"/>
                    <a:gd name="connsiteX122" fmla="*/ 896328 w 2677922"/>
                    <a:gd name="connsiteY122" fmla="*/ 106031 h 2672762"/>
                    <a:gd name="connsiteX123" fmla="*/ 965469 w 2677922"/>
                    <a:gd name="connsiteY123" fmla="*/ 217483 h 2672762"/>
                    <a:gd name="connsiteX124" fmla="*/ 1013455 w 2677922"/>
                    <a:gd name="connsiteY124" fmla="*/ 240702 h 2672762"/>
                    <a:gd name="connsiteX125" fmla="*/ 1077952 w 2677922"/>
                    <a:gd name="connsiteY125" fmla="*/ 222642 h 2672762"/>
                    <a:gd name="connsiteX126" fmla="*/ 1101687 w 2677922"/>
                    <a:gd name="connsiteY126" fmla="*/ 188072 h 2672762"/>
                    <a:gd name="connsiteX127" fmla="*/ 1106847 w 2677922"/>
                    <a:gd name="connsiteY127" fmla="*/ 53918 h 2672762"/>
                    <a:gd name="connsiteX128" fmla="*/ 1145029 w 2677922"/>
                    <a:gd name="connsiteY128" fmla="*/ 4900 h 2672762"/>
                    <a:gd name="connsiteX129" fmla="*/ 1158960 w 2677922"/>
                    <a:gd name="connsiteY129" fmla="*/ 1804 h 2672762"/>
                    <a:gd name="connsiteX130" fmla="*/ 1235841 w 2677922"/>
                    <a:gd name="connsiteY130" fmla="*/ 48758 h 2672762"/>
                    <a:gd name="connsiteX131" fmla="*/ 1269895 w 2677922"/>
                    <a:gd name="connsiteY131" fmla="*/ 162273 h 2672762"/>
                    <a:gd name="connsiteX132" fmla="*/ 1303434 w 2677922"/>
                    <a:gd name="connsiteY132" fmla="*/ 192716 h 2672762"/>
                    <a:gd name="connsiteX133" fmla="*/ 1376702 w 2677922"/>
                    <a:gd name="connsiteY133" fmla="*/ 192716 h 2672762"/>
                    <a:gd name="connsiteX134" fmla="*/ 1409209 w 2677922"/>
                    <a:gd name="connsiteY134" fmla="*/ 163305 h 2672762"/>
                    <a:gd name="connsiteX135" fmla="*/ 1447392 w 2677922"/>
                    <a:gd name="connsiteY135" fmla="*/ 37922 h 2672762"/>
                    <a:gd name="connsiteX136" fmla="*/ 1499505 w 2677922"/>
                    <a:gd name="connsiteY136" fmla="*/ 256 h 2672762"/>
                    <a:gd name="connsiteX137" fmla="*/ 1513436 w 2677922"/>
                    <a:gd name="connsiteY137" fmla="*/ 772 h 2672762"/>
                    <a:gd name="connsiteX138" fmla="*/ 1573290 w 2677922"/>
                    <a:gd name="connsiteY138" fmla="*/ 65269 h 2672762"/>
                    <a:gd name="connsiteX139" fmla="*/ 1576902 w 2677922"/>
                    <a:gd name="connsiteY139" fmla="*/ 185492 h 2672762"/>
                    <a:gd name="connsiteX140" fmla="*/ 1598057 w 2677922"/>
                    <a:gd name="connsiteY140" fmla="*/ 220578 h 2672762"/>
                    <a:gd name="connsiteX141" fmla="*/ 1674422 w 2677922"/>
                    <a:gd name="connsiteY141" fmla="*/ 240702 h 2672762"/>
                    <a:gd name="connsiteX142" fmla="*/ 1710540 w 2677922"/>
                    <a:gd name="connsiteY142" fmla="*/ 221610 h 2672762"/>
                    <a:gd name="connsiteX143" fmla="*/ 1779165 w 2677922"/>
                    <a:gd name="connsiteY143" fmla="*/ 111707 h 2672762"/>
                    <a:gd name="connsiteX144" fmla="*/ 1845726 w 2677922"/>
                    <a:gd name="connsiteY144" fmla="*/ 88488 h 2672762"/>
                    <a:gd name="connsiteX145" fmla="*/ 1857594 w 2677922"/>
                    <a:gd name="connsiteY145" fmla="*/ 92616 h 2672762"/>
                    <a:gd name="connsiteX146" fmla="*/ 1895260 w 2677922"/>
                    <a:gd name="connsiteY146" fmla="*/ 166401 h 2672762"/>
                    <a:gd name="connsiteX147" fmla="*/ 1868429 w 2677922"/>
                    <a:gd name="connsiteY147" fmla="*/ 281980 h 2672762"/>
                    <a:gd name="connsiteX148" fmla="*/ 1887004 w 2677922"/>
                    <a:gd name="connsiteY148" fmla="*/ 332030 h 2672762"/>
                    <a:gd name="connsiteX149" fmla="*/ 1946857 w 2677922"/>
                    <a:gd name="connsiteY149" fmla="*/ 365052 h 2672762"/>
                    <a:gd name="connsiteX150" fmla="*/ 1986588 w 2677922"/>
                    <a:gd name="connsiteY150" fmla="*/ 355765 h 2672762"/>
                    <a:gd name="connsiteX151" fmla="*/ 2081528 w 2677922"/>
                    <a:gd name="connsiteY151" fmla="*/ 267532 h 2672762"/>
                    <a:gd name="connsiteX152" fmla="*/ 2151701 w 2677922"/>
                    <a:gd name="connsiteY152" fmla="*/ 261857 h 2672762"/>
                    <a:gd name="connsiteX153" fmla="*/ 2155312 w 2677922"/>
                    <a:gd name="connsiteY153" fmla="*/ 264437 h 2672762"/>
                    <a:gd name="connsiteX154" fmla="*/ 2177500 w 2677922"/>
                    <a:gd name="connsiteY154" fmla="*/ 353701 h 2672762"/>
                    <a:gd name="connsiteX155" fmla="*/ 2122290 w 2677922"/>
                    <a:gd name="connsiteY155" fmla="*/ 456896 h 2672762"/>
                    <a:gd name="connsiteX156" fmla="*/ 2126934 w 2677922"/>
                    <a:gd name="connsiteY156" fmla="*/ 505914 h 2672762"/>
                    <a:gd name="connsiteX157" fmla="*/ 2173372 w 2677922"/>
                    <a:gd name="connsiteY157" fmla="*/ 551836 h 2672762"/>
                    <a:gd name="connsiteX158" fmla="*/ 2219810 w 2677922"/>
                    <a:gd name="connsiteY158" fmla="*/ 555964 h 2672762"/>
                    <a:gd name="connsiteX159" fmla="*/ 2336937 w 2677922"/>
                    <a:gd name="connsiteY159" fmla="*/ 494046 h 2672762"/>
                    <a:gd name="connsiteX160" fmla="*/ 2400917 w 2677922"/>
                    <a:gd name="connsiteY160" fmla="*/ 507462 h 2672762"/>
                    <a:gd name="connsiteX161" fmla="*/ 2420525 w 2677922"/>
                    <a:gd name="connsiteY161" fmla="*/ 533777 h 2672762"/>
                    <a:gd name="connsiteX162" fmla="*/ 2415365 w 2677922"/>
                    <a:gd name="connsiteY162" fmla="*/ 591566 h 2672762"/>
                    <a:gd name="connsiteX163" fmla="*/ 2321973 w 2677922"/>
                    <a:gd name="connsiteY163" fmla="*/ 692182 h 2672762"/>
                    <a:gd name="connsiteX164" fmla="*/ 2313718 w 2677922"/>
                    <a:gd name="connsiteY164" fmla="*/ 733460 h 2672762"/>
                    <a:gd name="connsiteX165" fmla="*/ 2349320 w 2677922"/>
                    <a:gd name="connsiteY165" fmla="*/ 795377 h 2672762"/>
                    <a:gd name="connsiteX166" fmla="*/ 2394726 w 2677922"/>
                    <a:gd name="connsiteY166" fmla="*/ 810341 h 2672762"/>
                    <a:gd name="connsiteX167" fmla="*/ 2526816 w 2677922"/>
                    <a:gd name="connsiteY167" fmla="*/ 780414 h 2672762"/>
                    <a:gd name="connsiteX168" fmla="*/ 2575834 w 2677922"/>
                    <a:gd name="connsiteY168" fmla="*/ 803117 h 2672762"/>
                    <a:gd name="connsiteX169" fmla="*/ 2591313 w 2677922"/>
                    <a:gd name="connsiteY169" fmla="*/ 838719 h 2672762"/>
                    <a:gd name="connsiteX170" fmla="*/ 2570158 w 2677922"/>
                    <a:gd name="connsiteY170" fmla="*/ 896509 h 2672762"/>
                    <a:gd name="connsiteX171" fmla="*/ 2461287 w 2677922"/>
                    <a:gd name="connsiteY171" fmla="*/ 964102 h 2672762"/>
                    <a:gd name="connsiteX172" fmla="*/ 2438068 w 2677922"/>
                    <a:gd name="connsiteY172" fmla="*/ 1014668 h 2672762"/>
                    <a:gd name="connsiteX173" fmla="*/ 2454063 w 2677922"/>
                    <a:gd name="connsiteY173" fmla="*/ 1073489 h 2672762"/>
                    <a:gd name="connsiteX174" fmla="*/ 2492762 w 2677922"/>
                    <a:gd name="connsiteY174" fmla="*/ 1100836 h 2672762"/>
                    <a:gd name="connsiteX175" fmla="*/ 2628464 w 2677922"/>
                    <a:gd name="connsiteY175" fmla="*/ 1105996 h 2672762"/>
                    <a:gd name="connsiteX176" fmla="*/ 2672322 w 2677922"/>
                    <a:gd name="connsiteY176" fmla="*/ 1140566 h 2672762"/>
                    <a:gd name="connsiteX177" fmla="*/ 2677998 w 2677922"/>
                    <a:gd name="connsiteY177" fmla="*/ 1182360 h 2672762"/>
                    <a:gd name="connsiteX178" fmla="*/ 2644459 w 2677922"/>
                    <a:gd name="connsiteY178" fmla="*/ 1229830 h 2672762"/>
                    <a:gd name="connsiteX179" fmla="*/ 2522172 w 2677922"/>
                    <a:gd name="connsiteY179" fmla="*/ 1267497 h 2672762"/>
                    <a:gd name="connsiteX180" fmla="*/ 2483990 w 2677922"/>
                    <a:gd name="connsiteY180" fmla="*/ 1315998 h 2672762"/>
                    <a:gd name="connsiteX181" fmla="*/ 2486570 w 2677922"/>
                    <a:gd name="connsiteY181" fmla="*/ 1379980 h 2672762"/>
                    <a:gd name="connsiteX182" fmla="*/ 2512885 w 2677922"/>
                    <a:gd name="connsiteY182" fmla="*/ 1407842 h 2672762"/>
                    <a:gd name="connsiteX183" fmla="*/ 2641363 w 2677922"/>
                    <a:gd name="connsiteY183" fmla="*/ 1447057 h 2672762"/>
                    <a:gd name="connsiteX184" fmla="*/ 2677998 w 2677922"/>
                    <a:gd name="connsiteY184" fmla="*/ 1498138 h 2672762"/>
                    <a:gd name="connsiteX185" fmla="*/ 2677998 w 2677922"/>
                    <a:gd name="connsiteY185" fmla="*/ 1507426 h 2672762"/>
                    <a:gd name="connsiteX186" fmla="*/ 2611952 w 2677922"/>
                    <a:gd name="connsiteY186" fmla="*/ 1572955 h 2672762"/>
                    <a:gd name="connsiteX187" fmla="*/ 2490182 w 2677922"/>
                    <a:gd name="connsiteY187" fmla="*/ 1576567 h 2672762"/>
                    <a:gd name="connsiteX188" fmla="*/ 2457675 w 2677922"/>
                    <a:gd name="connsiteY188" fmla="*/ 1596690 h 2672762"/>
                    <a:gd name="connsiteX189" fmla="*/ 2437036 w 2677922"/>
                    <a:gd name="connsiteY189" fmla="*/ 1673055 h 2672762"/>
                    <a:gd name="connsiteX190" fmla="*/ 2457159 w 2677922"/>
                    <a:gd name="connsiteY190" fmla="*/ 1710205 h 2672762"/>
                    <a:gd name="connsiteX191" fmla="*/ 2564483 w 2677922"/>
                    <a:gd name="connsiteY191" fmla="*/ 1777282 h 2672762"/>
                    <a:gd name="connsiteX192" fmla="*/ 2588733 w 2677922"/>
                    <a:gd name="connsiteY192" fmla="*/ 1845907 h 2672762"/>
                    <a:gd name="connsiteX193" fmla="*/ 2571706 w 2677922"/>
                    <a:gd name="connsiteY193" fmla="*/ 1880994 h 2672762"/>
                    <a:gd name="connsiteX194" fmla="*/ 2538684 w 2677922"/>
                    <a:gd name="connsiteY194" fmla="*/ 1897505 h 2672762"/>
                    <a:gd name="connsiteX195" fmla="*/ 1338521 w 2677922"/>
                    <a:gd name="connsiteY195" fmla="*/ 2312867 h 2672762"/>
                    <a:gd name="connsiteX196" fmla="*/ 2316814 w 2677922"/>
                    <a:gd name="connsiteY196" fmla="*/ 1335605 h 2672762"/>
                    <a:gd name="connsiteX197" fmla="*/ 1340068 w 2677922"/>
                    <a:gd name="connsiteY197" fmla="*/ 359376 h 2672762"/>
                    <a:gd name="connsiteX198" fmla="*/ 361775 w 2677922"/>
                    <a:gd name="connsiteY198" fmla="*/ 1331994 h 2672762"/>
                    <a:gd name="connsiteX199" fmla="*/ 1338521 w 2677922"/>
                    <a:gd name="connsiteY199" fmla="*/ 2312867 h 26727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</a:cxnLst>
                  <a:rect l="l" t="t" r="r" b="b"/>
                  <a:pathLst>
                    <a:path w="2677922" h="2672762">
                      <a:moveTo>
                        <a:pt x="2538684" y="1897505"/>
                      </a:moveTo>
                      <a:cubicBezTo>
                        <a:pt x="2511337" y="1891313"/>
                        <a:pt x="2483990" y="1885121"/>
                        <a:pt x="2456643" y="1879446"/>
                      </a:cubicBezTo>
                      <a:cubicBezTo>
                        <a:pt x="2434456" y="1874286"/>
                        <a:pt x="2411753" y="1869642"/>
                        <a:pt x="2389566" y="1863966"/>
                      </a:cubicBezTo>
                      <a:cubicBezTo>
                        <a:pt x="2375119" y="1860354"/>
                        <a:pt x="2363767" y="1864482"/>
                        <a:pt x="2354479" y="1874802"/>
                      </a:cubicBezTo>
                      <a:cubicBezTo>
                        <a:pt x="2335389" y="1896989"/>
                        <a:pt x="2320425" y="1922272"/>
                        <a:pt x="2312170" y="1950651"/>
                      </a:cubicBezTo>
                      <a:cubicBezTo>
                        <a:pt x="2308042" y="1964066"/>
                        <a:pt x="2314234" y="1973869"/>
                        <a:pt x="2322489" y="1983157"/>
                      </a:cubicBezTo>
                      <a:cubicBezTo>
                        <a:pt x="2352416" y="2015664"/>
                        <a:pt x="2382858" y="2048170"/>
                        <a:pt x="2412785" y="2080161"/>
                      </a:cubicBezTo>
                      <a:cubicBezTo>
                        <a:pt x="2435488" y="2104412"/>
                        <a:pt x="2436520" y="2118859"/>
                        <a:pt x="2418461" y="2146722"/>
                      </a:cubicBezTo>
                      <a:cubicBezTo>
                        <a:pt x="2417429" y="2148270"/>
                        <a:pt x="2416397" y="2150334"/>
                        <a:pt x="2414849" y="2151882"/>
                      </a:cubicBezTo>
                      <a:cubicBezTo>
                        <a:pt x="2380795" y="2197804"/>
                        <a:pt x="2365831" y="2198320"/>
                        <a:pt x="2324037" y="2174585"/>
                      </a:cubicBezTo>
                      <a:cubicBezTo>
                        <a:pt x="2289982" y="2154978"/>
                        <a:pt x="2253864" y="2137434"/>
                        <a:pt x="2219294" y="2118859"/>
                      </a:cubicBezTo>
                      <a:cubicBezTo>
                        <a:pt x="2204846" y="2111120"/>
                        <a:pt x="2191431" y="2111120"/>
                        <a:pt x="2178531" y="2120407"/>
                      </a:cubicBezTo>
                      <a:cubicBezTo>
                        <a:pt x="2157892" y="2134855"/>
                        <a:pt x="2140349" y="2152398"/>
                        <a:pt x="2125386" y="2172521"/>
                      </a:cubicBezTo>
                      <a:cubicBezTo>
                        <a:pt x="2114550" y="2186968"/>
                        <a:pt x="2114034" y="2201416"/>
                        <a:pt x="2122806" y="2217411"/>
                      </a:cubicBezTo>
                      <a:cubicBezTo>
                        <a:pt x="2143961" y="2256109"/>
                        <a:pt x="2164600" y="2295323"/>
                        <a:pt x="2184723" y="2334538"/>
                      </a:cubicBezTo>
                      <a:cubicBezTo>
                        <a:pt x="2198655" y="2361885"/>
                        <a:pt x="2196591" y="2374268"/>
                        <a:pt x="2174404" y="2395423"/>
                      </a:cubicBezTo>
                      <a:cubicBezTo>
                        <a:pt x="2170792" y="2398519"/>
                        <a:pt x="2167696" y="2402131"/>
                        <a:pt x="2164084" y="2404711"/>
                      </a:cubicBezTo>
                      <a:cubicBezTo>
                        <a:pt x="2131062" y="2428962"/>
                        <a:pt x="2114034" y="2440829"/>
                        <a:pt x="2075336" y="2401615"/>
                      </a:cubicBezTo>
                      <a:cubicBezTo>
                        <a:pt x="2047473" y="2373236"/>
                        <a:pt x="2017547" y="2347953"/>
                        <a:pt x="1988652" y="2320606"/>
                      </a:cubicBezTo>
                      <a:cubicBezTo>
                        <a:pt x="1975236" y="2307707"/>
                        <a:pt x="1960789" y="2305127"/>
                        <a:pt x="1944277" y="2311835"/>
                      </a:cubicBezTo>
                      <a:cubicBezTo>
                        <a:pt x="1922607" y="2320606"/>
                        <a:pt x="1901968" y="2331958"/>
                        <a:pt x="1883392" y="2346405"/>
                      </a:cubicBezTo>
                      <a:cubicBezTo>
                        <a:pt x="1867913" y="2358273"/>
                        <a:pt x="1863785" y="2373236"/>
                        <a:pt x="1868429" y="2391811"/>
                      </a:cubicBezTo>
                      <a:cubicBezTo>
                        <a:pt x="1879264" y="2436701"/>
                        <a:pt x="1889584" y="2482107"/>
                        <a:pt x="1899388" y="2526997"/>
                      </a:cubicBezTo>
                      <a:cubicBezTo>
                        <a:pt x="1903516" y="2546604"/>
                        <a:pt x="1896808" y="2561568"/>
                        <a:pt x="1879264" y="2571887"/>
                      </a:cubicBezTo>
                      <a:cubicBezTo>
                        <a:pt x="1867397" y="2579111"/>
                        <a:pt x="1854498" y="2584787"/>
                        <a:pt x="1841082" y="2588915"/>
                      </a:cubicBezTo>
                      <a:cubicBezTo>
                        <a:pt x="1813736" y="2597686"/>
                        <a:pt x="1798256" y="2592526"/>
                        <a:pt x="1782777" y="2568276"/>
                      </a:cubicBezTo>
                      <a:cubicBezTo>
                        <a:pt x="1760074" y="2532157"/>
                        <a:pt x="1736855" y="2496555"/>
                        <a:pt x="1715184" y="2459404"/>
                      </a:cubicBezTo>
                      <a:cubicBezTo>
                        <a:pt x="1703316" y="2439281"/>
                        <a:pt x="1687837" y="2431542"/>
                        <a:pt x="1664618" y="2435669"/>
                      </a:cubicBezTo>
                      <a:cubicBezTo>
                        <a:pt x="1646043" y="2439281"/>
                        <a:pt x="1627984" y="2443925"/>
                        <a:pt x="1610440" y="2450117"/>
                      </a:cubicBezTo>
                      <a:cubicBezTo>
                        <a:pt x="1586190" y="2458888"/>
                        <a:pt x="1578450" y="2469208"/>
                        <a:pt x="1577418" y="2495007"/>
                      </a:cubicBezTo>
                      <a:cubicBezTo>
                        <a:pt x="1575870" y="2535769"/>
                        <a:pt x="1574838" y="2576015"/>
                        <a:pt x="1573806" y="2616777"/>
                      </a:cubicBezTo>
                      <a:cubicBezTo>
                        <a:pt x="1572774" y="2653928"/>
                        <a:pt x="1563487" y="2665795"/>
                        <a:pt x="1526852" y="2672503"/>
                      </a:cubicBezTo>
                      <a:cubicBezTo>
                        <a:pt x="1517049" y="2674567"/>
                        <a:pt x="1507245" y="2675599"/>
                        <a:pt x="1497441" y="2676115"/>
                      </a:cubicBezTo>
                      <a:cubicBezTo>
                        <a:pt x="1473191" y="2677663"/>
                        <a:pt x="1457711" y="2667859"/>
                        <a:pt x="1449972" y="2644124"/>
                      </a:cubicBezTo>
                      <a:cubicBezTo>
                        <a:pt x="1436040" y="2600782"/>
                        <a:pt x="1422624" y="2557956"/>
                        <a:pt x="1410241" y="2514614"/>
                      </a:cubicBezTo>
                      <a:cubicBezTo>
                        <a:pt x="1404565" y="2495007"/>
                        <a:pt x="1392698" y="2485719"/>
                        <a:pt x="1373091" y="2482623"/>
                      </a:cubicBezTo>
                      <a:cubicBezTo>
                        <a:pt x="1350388" y="2479527"/>
                        <a:pt x="1327685" y="2479527"/>
                        <a:pt x="1304982" y="2483139"/>
                      </a:cubicBezTo>
                      <a:cubicBezTo>
                        <a:pt x="1287955" y="2485719"/>
                        <a:pt x="1277119" y="2494491"/>
                        <a:pt x="1271959" y="2511518"/>
                      </a:cubicBezTo>
                      <a:cubicBezTo>
                        <a:pt x="1260092" y="2552280"/>
                        <a:pt x="1247192" y="2593042"/>
                        <a:pt x="1234293" y="2633805"/>
                      </a:cubicBezTo>
                      <a:cubicBezTo>
                        <a:pt x="1222941" y="2670439"/>
                        <a:pt x="1208494" y="2679727"/>
                        <a:pt x="1170828" y="2674567"/>
                      </a:cubicBezTo>
                      <a:cubicBezTo>
                        <a:pt x="1114070" y="2666827"/>
                        <a:pt x="1107362" y="2659087"/>
                        <a:pt x="1106847" y="2602330"/>
                      </a:cubicBezTo>
                      <a:cubicBezTo>
                        <a:pt x="1106331" y="2565180"/>
                        <a:pt x="1104783" y="2528545"/>
                        <a:pt x="1103751" y="2491395"/>
                      </a:cubicBezTo>
                      <a:cubicBezTo>
                        <a:pt x="1103234" y="2474368"/>
                        <a:pt x="1096527" y="2460952"/>
                        <a:pt x="1080532" y="2454244"/>
                      </a:cubicBezTo>
                      <a:cubicBezTo>
                        <a:pt x="1056281" y="2443925"/>
                        <a:pt x="1031514" y="2436701"/>
                        <a:pt x="1005199" y="2435153"/>
                      </a:cubicBezTo>
                      <a:cubicBezTo>
                        <a:pt x="989203" y="2434121"/>
                        <a:pt x="977852" y="2440313"/>
                        <a:pt x="969080" y="2454244"/>
                      </a:cubicBezTo>
                      <a:cubicBezTo>
                        <a:pt x="946894" y="2491395"/>
                        <a:pt x="923159" y="2527513"/>
                        <a:pt x="900456" y="2564148"/>
                      </a:cubicBezTo>
                      <a:cubicBezTo>
                        <a:pt x="882396" y="2593042"/>
                        <a:pt x="868465" y="2598202"/>
                        <a:pt x="836474" y="2587367"/>
                      </a:cubicBezTo>
                      <a:cubicBezTo>
                        <a:pt x="834926" y="2586851"/>
                        <a:pt x="833379" y="2586335"/>
                        <a:pt x="831830" y="2585819"/>
                      </a:cubicBezTo>
                      <a:cubicBezTo>
                        <a:pt x="782297" y="2565696"/>
                        <a:pt x="772493" y="2554344"/>
                        <a:pt x="785392" y="2504810"/>
                      </a:cubicBezTo>
                      <a:cubicBezTo>
                        <a:pt x="795196" y="2467144"/>
                        <a:pt x="802420" y="2428962"/>
                        <a:pt x="811707" y="2390779"/>
                      </a:cubicBezTo>
                      <a:cubicBezTo>
                        <a:pt x="816351" y="2371172"/>
                        <a:pt x="811191" y="2356209"/>
                        <a:pt x="794680" y="2344341"/>
                      </a:cubicBezTo>
                      <a:cubicBezTo>
                        <a:pt x="777137" y="2331958"/>
                        <a:pt x="759078" y="2321122"/>
                        <a:pt x="739470" y="2312351"/>
                      </a:cubicBezTo>
                      <a:cubicBezTo>
                        <a:pt x="720895" y="2304095"/>
                        <a:pt x="704900" y="2307191"/>
                        <a:pt x="689421" y="2321638"/>
                      </a:cubicBezTo>
                      <a:cubicBezTo>
                        <a:pt x="658462" y="2351049"/>
                        <a:pt x="626988" y="2379944"/>
                        <a:pt x="596029" y="2408838"/>
                      </a:cubicBezTo>
                      <a:cubicBezTo>
                        <a:pt x="572810" y="2431026"/>
                        <a:pt x="557847" y="2432057"/>
                        <a:pt x="530500" y="2415030"/>
                      </a:cubicBezTo>
                      <a:cubicBezTo>
                        <a:pt x="527404" y="2412966"/>
                        <a:pt x="524308" y="2410902"/>
                        <a:pt x="521212" y="2408838"/>
                      </a:cubicBezTo>
                      <a:cubicBezTo>
                        <a:pt x="481482" y="2380460"/>
                        <a:pt x="477870" y="2365496"/>
                        <a:pt x="500573" y="2322670"/>
                      </a:cubicBezTo>
                      <a:cubicBezTo>
                        <a:pt x="519148" y="2287584"/>
                        <a:pt x="537207" y="2252497"/>
                        <a:pt x="556298" y="2217927"/>
                      </a:cubicBezTo>
                      <a:cubicBezTo>
                        <a:pt x="566102" y="2199868"/>
                        <a:pt x="564555" y="2184388"/>
                        <a:pt x="552171" y="2168909"/>
                      </a:cubicBezTo>
                      <a:cubicBezTo>
                        <a:pt x="538756" y="2151882"/>
                        <a:pt x="523276" y="2136402"/>
                        <a:pt x="505733" y="2122987"/>
                      </a:cubicBezTo>
                      <a:cubicBezTo>
                        <a:pt x="490254" y="2111120"/>
                        <a:pt x="474774" y="2110088"/>
                        <a:pt x="457747" y="2119375"/>
                      </a:cubicBezTo>
                      <a:cubicBezTo>
                        <a:pt x="419564" y="2140014"/>
                        <a:pt x="380866" y="2160653"/>
                        <a:pt x="341652" y="2180777"/>
                      </a:cubicBezTo>
                      <a:cubicBezTo>
                        <a:pt x="314305" y="2195224"/>
                        <a:pt x="298310" y="2191612"/>
                        <a:pt x="278187" y="2168909"/>
                      </a:cubicBezTo>
                      <a:cubicBezTo>
                        <a:pt x="276639" y="2167361"/>
                        <a:pt x="275607" y="2165813"/>
                        <a:pt x="274059" y="2164265"/>
                      </a:cubicBezTo>
                      <a:cubicBezTo>
                        <a:pt x="238456" y="2122987"/>
                        <a:pt x="238972" y="2108540"/>
                        <a:pt x="276639" y="2069325"/>
                      </a:cubicBezTo>
                      <a:cubicBezTo>
                        <a:pt x="302954" y="2041463"/>
                        <a:pt x="327721" y="2013084"/>
                        <a:pt x="354551" y="1986253"/>
                      </a:cubicBezTo>
                      <a:cubicBezTo>
                        <a:pt x="367967" y="1972322"/>
                        <a:pt x="370547" y="1957874"/>
                        <a:pt x="363839" y="1940847"/>
                      </a:cubicBezTo>
                      <a:cubicBezTo>
                        <a:pt x="355067" y="1918660"/>
                        <a:pt x="342684" y="1898021"/>
                        <a:pt x="328237" y="1878930"/>
                      </a:cubicBezTo>
                      <a:cubicBezTo>
                        <a:pt x="316369" y="1863450"/>
                        <a:pt x="300374" y="1861902"/>
                        <a:pt x="283347" y="1866030"/>
                      </a:cubicBezTo>
                      <a:cubicBezTo>
                        <a:pt x="245680" y="1874802"/>
                        <a:pt x="208530" y="1883573"/>
                        <a:pt x="170864" y="1891829"/>
                      </a:cubicBezTo>
                      <a:cubicBezTo>
                        <a:pt x="165704" y="1892861"/>
                        <a:pt x="160544" y="1894409"/>
                        <a:pt x="155900" y="1895441"/>
                      </a:cubicBezTo>
                      <a:cubicBezTo>
                        <a:pt x="127521" y="1900601"/>
                        <a:pt x="113074" y="1893893"/>
                        <a:pt x="100175" y="1868094"/>
                      </a:cubicBezTo>
                      <a:cubicBezTo>
                        <a:pt x="95531" y="1858291"/>
                        <a:pt x="90887" y="1848487"/>
                        <a:pt x="87275" y="1838168"/>
                      </a:cubicBezTo>
                      <a:cubicBezTo>
                        <a:pt x="77988" y="1810821"/>
                        <a:pt x="83147" y="1795341"/>
                        <a:pt x="107915" y="1779862"/>
                      </a:cubicBezTo>
                      <a:cubicBezTo>
                        <a:pt x="143001" y="1757675"/>
                        <a:pt x="178603" y="1735488"/>
                        <a:pt x="213690" y="1713817"/>
                      </a:cubicBezTo>
                      <a:cubicBezTo>
                        <a:pt x="241552" y="1696274"/>
                        <a:pt x="245680" y="1686470"/>
                        <a:pt x="238972" y="1654480"/>
                      </a:cubicBezTo>
                      <a:cubicBezTo>
                        <a:pt x="234845" y="1636420"/>
                        <a:pt x="230201" y="1617845"/>
                        <a:pt x="222977" y="1600818"/>
                      </a:cubicBezTo>
                      <a:cubicBezTo>
                        <a:pt x="215753" y="1583791"/>
                        <a:pt x="203370" y="1575535"/>
                        <a:pt x="184279" y="1575019"/>
                      </a:cubicBezTo>
                      <a:cubicBezTo>
                        <a:pt x="142485" y="1574503"/>
                        <a:pt x="101207" y="1572955"/>
                        <a:pt x="59413" y="1571407"/>
                      </a:cubicBezTo>
                      <a:cubicBezTo>
                        <a:pt x="21746" y="1570375"/>
                        <a:pt x="10395" y="1560572"/>
                        <a:pt x="3687" y="1524453"/>
                      </a:cubicBezTo>
                      <a:cubicBezTo>
                        <a:pt x="3171" y="1520841"/>
                        <a:pt x="2139" y="1517230"/>
                        <a:pt x="1623" y="1513618"/>
                      </a:cubicBezTo>
                      <a:cubicBezTo>
                        <a:pt x="-4053" y="1467696"/>
                        <a:pt x="3687" y="1455828"/>
                        <a:pt x="48577" y="1442413"/>
                      </a:cubicBezTo>
                      <a:cubicBezTo>
                        <a:pt x="85727" y="1431061"/>
                        <a:pt x="122877" y="1418678"/>
                        <a:pt x="160544" y="1408358"/>
                      </a:cubicBezTo>
                      <a:cubicBezTo>
                        <a:pt x="181183" y="1402683"/>
                        <a:pt x="192018" y="1390815"/>
                        <a:pt x="194083" y="1370692"/>
                      </a:cubicBezTo>
                      <a:cubicBezTo>
                        <a:pt x="196147" y="1346957"/>
                        <a:pt x="197178" y="1322706"/>
                        <a:pt x="192534" y="1298971"/>
                      </a:cubicBezTo>
                      <a:cubicBezTo>
                        <a:pt x="189954" y="1283492"/>
                        <a:pt x="181183" y="1274204"/>
                        <a:pt x="166220" y="1269560"/>
                      </a:cubicBezTo>
                      <a:cubicBezTo>
                        <a:pt x="126490" y="1257693"/>
                        <a:pt x="86759" y="1245310"/>
                        <a:pt x="47029" y="1232926"/>
                      </a:cubicBezTo>
                      <a:cubicBezTo>
                        <a:pt x="3687" y="1219511"/>
                        <a:pt x="-957" y="1212287"/>
                        <a:pt x="1623" y="1166881"/>
                      </a:cubicBezTo>
                      <a:cubicBezTo>
                        <a:pt x="2139" y="1157593"/>
                        <a:pt x="4203" y="1148306"/>
                        <a:pt x="6267" y="1139534"/>
                      </a:cubicBezTo>
                      <a:cubicBezTo>
                        <a:pt x="12459" y="1116831"/>
                        <a:pt x="25358" y="1106512"/>
                        <a:pt x="49093" y="1105480"/>
                      </a:cubicBezTo>
                      <a:cubicBezTo>
                        <a:pt x="87791" y="1103932"/>
                        <a:pt x="125974" y="1102900"/>
                        <a:pt x="164672" y="1101868"/>
                      </a:cubicBezTo>
                      <a:cubicBezTo>
                        <a:pt x="170348" y="1101868"/>
                        <a:pt x="176023" y="1101352"/>
                        <a:pt x="181699" y="1101352"/>
                      </a:cubicBezTo>
                      <a:cubicBezTo>
                        <a:pt x="207498" y="1102384"/>
                        <a:pt x="220913" y="1087936"/>
                        <a:pt x="227621" y="1065233"/>
                      </a:cubicBezTo>
                      <a:cubicBezTo>
                        <a:pt x="232781" y="1048206"/>
                        <a:pt x="237425" y="1031179"/>
                        <a:pt x="241036" y="1014152"/>
                      </a:cubicBezTo>
                      <a:cubicBezTo>
                        <a:pt x="245680" y="990417"/>
                        <a:pt x="240005" y="979065"/>
                        <a:pt x="219366" y="965650"/>
                      </a:cubicBezTo>
                      <a:cubicBezTo>
                        <a:pt x="184279" y="943463"/>
                        <a:pt x="148676" y="921276"/>
                        <a:pt x="113590" y="899605"/>
                      </a:cubicBezTo>
                      <a:cubicBezTo>
                        <a:pt x="82116" y="879997"/>
                        <a:pt x="77472" y="867614"/>
                        <a:pt x="89855" y="832012"/>
                      </a:cubicBezTo>
                      <a:cubicBezTo>
                        <a:pt x="93467" y="820660"/>
                        <a:pt x="98111" y="809309"/>
                        <a:pt x="104818" y="799505"/>
                      </a:cubicBezTo>
                      <a:cubicBezTo>
                        <a:pt x="115654" y="782994"/>
                        <a:pt x="130617" y="774738"/>
                        <a:pt x="151256" y="779898"/>
                      </a:cubicBezTo>
                      <a:cubicBezTo>
                        <a:pt x="195114" y="790217"/>
                        <a:pt x="239489" y="799505"/>
                        <a:pt x="283347" y="810341"/>
                      </a:cubicBezTo>
                      <a:cubicBezTo>
                        <a:pt x="303469" y="815500"/>
                        <a:pt x="318949" y="810857"/>
                        <a:pt x="331332" y="794345"/>
                      </a:cubicBezTo>
                      <a:cubicBezTo>
                        <a:pt x="344232" y="776802"/>
                        <a:pt x="355584" y="757711"/>
                        <a:pt x="363839" y="737588"/>
                      </a:cubicBezTo>
                      <a:cubicBezTo>
                        <a:pt x="371063" y="719529"/>
                        <a:pt x="368999" y="704049"/>
                        <a:pt x="354551" y="689086"/>
                      </a:cubicBezTo>
                      <a:cubicBezTo>
                        <a:pt x="324625" y="658643"/>
                        <a:pt x="296246" y="627169"/>
                        <a:pt x="266835" y="595694"/>
                      </a:cubicBezTo>
                      <a:cubicBezTo>
                        <a:pt x="244132" y="570927"/>
                        <a:pt x="243100" y="556996"/>
                        <a:pt x="261675" y="529133"/>
                      </a:cubicBezTo>
                      <a:cubicBezTo>
                        <a:pt x="264771" y="525005"/>
                        <a:pt x="267351" y="520361"/>
                        <a:pt x="270447" y="516233"/>
                      </a:cubicBezTo>
                      <a:cubicBezTo>
                        <a:pt x="296762" y="481663"/>
                        <a:pt x="311209" y="478567"/>
                        <a:pt x="349907" y="498690"/>
                      </a:cubicBezTo>
                      <a:cubicBezTo>
                        <a:pt x="386026" y="517781"/>
                        <a:pt x="422144" y="536357"/>
                        <a:pt x="457231" y="555964"/>
                      </a:cubicBezTo>
                      <a:cubicBezTo>
                        <a:pt x="475806" y="566283"/>
                        <a:pt x="492318" y="564219"/>
                        <a:pt x="507797" y="551320"/>
                      </a:cubicBezTo>
                      <a:cubicBezTo>
                        <a:pt x="523276" y="538421"/>
                        <a:pt x="537723" y="523973"/>
                        <a:pt x="551139" y="508494"/>
                      </a:cubicBezTo>
                      <a:cubicBezTo>
                        <a:pt x="564555" y="492499"/>
                        <a:pt x="567650" y="476503"/>
                        <a:pt x="556815" y="456896"/>
                      </a:cubicBezTo>
                      <a:cubicBezTo>
                        <a:pt x="535143" y="418198"/>
                        <a:pt x="515020" y="378983"/>
                        <a:pt x="494381" y="339769"/>
                      </a:cubicBezTo>
                      <a:cubicBezTo>
                        <a:pt x="480966" y="313970"/>
                        <a:pt x="484062" y="300039"/>
                        <a:pt x="505217" y="280432"/>
                      </a:cubicBezTo>
                      <a:cubicBezTo>
                        <a:pt x="515020" y="271144"/>
                        <a:pt x="525856" y="263405"/>
                        <a:pt x="537723" y="256181"/>
                      </a:cubicBezTo>
                      <a:cubicBezTo>
                        <a:pt x="558362" y="244313"/>
                        <a:pt x="572810" y="245861"/>
                        <a:pt x="590353" y="261857"/>
                      </a:cubicBezTo>
                      <a:cubicBezTo>
                        <a:pt x="620280" y="289203"/>
                        <a:pt x="650207" y="317066"/>
                        <a:pt x="679617" y="344929"/>
                      </a:cubicBezTo>
                      <a:cubicBezTo>
                        <a:pt x="710576" y="374340"/>
                        <a:pt x="717284" y="375372"/>
                        <a:pt x="754950" y="355765"/>
                      </a:cubicBezTo>
                      <a:cubicBezTo>
                        <a:pt x="769913" y="348025"/>
                        <a:pt x="783845" y="339769"/>
                        <a:pt x="797260" y="329450"/>
                      </a:cubicBezTo>
                      <a:cubicBezTo>
                        <a:pt x="811707" y="317582"/>
                        <a:pt x="816351" y="303651"/>
                        <a:pt x="811707" y="285076"/>
                      </a:cubicBezTo>
                      <a:cubicBezTo>
                        <a:pt x="800872" y="242249"/>
                        <a:pt x="791585" y="198907"/>
                        <a:pt x="781781" y="156081"/>
                      </a:cubicBezTo>
                      <a:cubicBezTo>
                        <a:pt x="775589" y="128218"/>
                        <a:pt x="782297" y="114287"/>
                        <a:pt x="807064" y="100872"/>
                      </a:cubicBezTo>
                      <a:cubicBezTo>
                        <a:pt x="818415" y="95196"/>
                        <a:pt x="829766" y="90552"/>
                        <a:pt x="841634" y="86424"/>
                      </a:cubicBezTo>
                      <a:cubicBezTo>
                        <a:pt x="866917" y="78685"/>
                        <a:pt x="881364" y="83328"/>
                        <a:pt x="896328" y="106031"/>
                      </a:cubicBezTo>
                      <a:cubicBezTo>
                        <a:pt x="920062" y="142666"/>
                        <a:pt x="943798" y="179300"/>
                        <a:pt x="965469" y="217483"/>
                      </a:cubicBezTo>
                      <a:cubicBezTo>
                        <a:pt x="976820" y="237090"/>
                        <a:pt x="992299" y="243797"/>
                        <a:pt x="1013455" y="240702"/>
                      </a:cubicBezTo>
                      <a:cubicBezTo>
                        <a:pt x="1035641" y="237090"/>
                        <a:pt x="1057313" y="231414"/>
                        <a:pt x="1077952" y="222642"/>
                      </a:cubicBezTo>
                      <a:cubicBezTo>
                        <a:pt x="1092915" y="215935"/>
                        <a:pt x="1101171" y="205615"/>
                        <a:pt x="1101687" y="188072"/>
                      </a:cubicBezTo>
                      <a:cubicBezTo>
                        <a:pt x="1102719" y="143182"/>
                        <a:pt x="1105298" y="98808"/>
                        <a:pt x="1106847" y="53918"/>
                      </a:cubicBezTo>
                      <a:cubicBezTo>
                        <a:pt x="1107878" y="25023"/>
                        <a:pt x="1117166" y="12640"/>
                        <a:pt x="1145029" y="4900"/>
                      </a:cubicBezTo>
                      <a:cubicBezTo>
                        <a:pt x="1149672" y="3868"/>
                        <a:pt x="1154316" y="2320"/>
                        <a:pt x="1158960" y="1804"/>
                      </a:cubicBezTo>
                      <a:cubicBezTo>
                        <a:pt x="1210042" y="-3872"/>
                        <a:pt x="1222426" y="1804"/>
                        <a:pt x="1235841" y="48758"/>
                      </a:cubicBezTo>
                      <a:cubicBezTo>
                        <a:pt x="1246676" y="86940"/>
                        <a:pt x="1259576" y="124091"/>
                        <a:pt x="1269895" y="162273"/>
                      </a:cubicBezTo>
                      <a:cubicBezTo>
                        <a:pt x="1275055" y="180332"/>
                        <a:pt x="1285890" y="190136"/>
                        <a:pt x="1303434" y="192716"/>
                      </a:cubicBezTo>
                      <a:cubicBezTo>
                        <a:pt x="1327685" y="195812"/>
                        <a:pt x="1352452" y="195812"/>
                        <a:pt x="1376702" y="192716"/>
                      </a:cubicBezTo>
                      <a:cubicBezTo>
                        <a:pt x="1393730" y="190652"/>
                        <a:pt x="1404049" y="180332"/>
                        <a:pt x="1409209" y="163305"/>
                      </a:cubicBezTo>
                      <a:cubicBezTo>
                        <a:pt x="1421593" y="121511"/>
                        <a:pt x="1434492" y="79717"/>
                        <a:pt x="1447392" y="37922"/>
                      </a:cubicBezTo>
                      <a:cubicBezTo>
                        <a:pt x="1457195" y="6964"/>
                        <a:pt x="1466998" y="-260"/>
                        <a:pt x="1499505" y="256"/>
                      </a:cubicBezTo>
                      <a:cubicBezTo>
                        <a:pt x="1504149" y="256"/>
                        <a:pt x="1508793" y="256"/>
                        <a:pt x="1513436" y="772"/>
                      </a:cubicBezTo>
                      <a:cubicBezTo>
                        <a:pt x="1559358" y="5416"/>
                        <a:pt x="1572258" y="19347"/>
                        <a:pt x="1573290" y="65269"/>
                      </a:cubicBezTo>
                      <a:cubicBezTo>
                        <a:pt x="1574322" y="105515"/>
                        <a:pt x="1575870" y="145246"/>
                        <a:pt x="1576902" y="185492"/>
                      </a:cubicBezTo>
                      <a:cubicBezTo>
                        <a:pt x="1577418" y="201487"/>
                        <a:pt x="1583093" y="213871"/>
                        <a:pt x="1598057" y="220578"/>
                      </a:cubicBezTo>
                      <a:cubicBezTo>
                        <a:pt x="1622308" y="231414"/>
                        <a:pt x="1647590" y="238638"/>
                        <a:pt x="1674422" y="240702"/>
                      </a:cubicBezTo>
                      <a:cubicBezTo>
                        <a:pt x="1690933" y="241733"/>
                        <a:pt x="1702285" y="235026"/>
                        <a:pt x="1710540" y="221610"/>
                      </a:cubicBezTo>
                      <a:cubicBezTo>
                        <a:pt x="1733243" y="184976"/>
                        <a:pt x="1756462" y="148342"/>
                        <a:pt x="1779165" y="111707"/>
                      </a:cubicBezTo>
                      <a:cubicBezTo>
                        <a:pt x="1798772" y="80749"/>
                        <a:pt x="1810640" y="76621"/>
                        <a:pt x="1845726" y="88488"/>
                      </a:cubicBezTo>
                      <a:cubicBezTo>
                        <a:pt x="1849854" y="90036"/>
                        <a:pt x="1853466" y="91068"/>
                        <a:pt x="1857594" y="92616"/>
                      </a:cubicBezTo>
                      <a:cubicBezTo>
                        <a:pt x="1898356" y="110159"/>
                        <a:pt x="1905063" y="123059"/>
                        <a:pt x="1895260" y="166401"/>
                      </a:cubicBezTo>
                      <a:cubicBezTo>
                        <a:pt x="1886488" y="205099"/>
                        <a:pt x="1877717" y="243281"/>
                        <a:pt x="1868429" y="281980"/>
                      </a:cubicBezTo>
                      <a:cubicBezTo>
                        <a:pt x="1863269" y="303135"/>
                        <a:pt x="1868429" y="319646"/>
                        <a:pt x="1887004" y="332030"/>
                      </a:cubicBezTo>
                      <a:cubicBezTo>
                        <a:pt x="1906096" y="344929"/>
                        <a:pt x="1925187" y="356796"/>
                        <a:pt x="1946857" y="365052"/>
                      </a:cubicBezTo>
                      <a:cubicBezTo>
                        <a:pt x="1962337" y="370728"/>
                        <a:pt x="1974720" y="367116"/>
                        <a:pt x="1986588" y="355765"/>
                      </a:cubicBezTo>
                      <a:cubicBezTo>
                        <a:pt x="2018062" y="325838"/>
                        <a:pt x="2049537" y="296943"/>
                        <a:pt x="2081528" y="267532"/>
                      </a:cubicBezTo>
                      <a:cubicBezTo>
                        <a:pt x="2107843" y="242765"/>
                        <a:pt x="2122290" y="241733"/>
                        <a:pt x="2151701" y="261857"/>
                      </a:cubicBezTo>
                      <a:cubicBezTo>
                        <a:pt x="2153248" y="262889"/>
                        <a:pt x="2154281" y="263405"/>
                        <a:pt x="2155312" y="264437"/>
                      </a:cubicBezTo>
                      <a:cubicBezTo>
                        <a:pt x="2205363" y="300555"/>
                        <a:pt x="2198139" y="316034"/>
                        <a:pt x="2177500" y="353701"/>
                      </a:cubicBezTo>
                      <a:cubicBezTo>
                        <a:pt x="2158925" y="387755"/>
                        <a:pt x="2141381" y="422842"/>
                        <a:pt x="2122290" y="456896"/>
                      </a:cubicBezTo>
                      <a:cubicBezTo>
                        <a:pt x="2112487" y="474955"/>
                        <a:pt x="2114550" y="490435"/>
                        <a:pt x="2126934" y="505914"/>
                      </a:cubicBezTo>
                      <a:cubicBezTo>
                        <a:pt x="2140865" y="522941"/>
                        <a:pt x="2156345" y="538421"/>
                        <a:pt x="2173372" y="551836"/>
                      </a:cubicBezTo>
                      <a:cubicBezTo>
                        <a:pt x="2187819" y="563187"/>
                        <a:pt x="2202783" y="564735"/>
                        <a:pt x="2219810" y="555964"/>
                      </a:cubicBezTo>
                      <a:cubicBezTo>
                        <a:pt x="2258508" y="534809"/>
                        <a:pt x="2297722" y="514170"/>
                        <a:pt x="2336937" y="494046"/>
                      </a:cubicBezTo>
                      <a:cubicBezTo>
                        <a:pt x="2364799" y="479599"/>
                        <a:pt x="2380795" y="482695"/>
                        <a:pt x="2400917" y="507462"/>
                      </a:cubicBezTo>
                      <a:cubicBezTo>
                        <a:pt x="2408141" y="515717"/>
                        <a:pt x="2414849" y="524489"/>
                        <a:pt x="2420525" y="533777"/>
                      </a:cubicBezTo>
                      <a:cubicBezTo>
                        <a:pt x="2434972" y="556480"/>
                        <a:pt x="2433424" y="571443"/>
                        <a:pt x="2415365" y="591566"/>
                      </a:cubicBezTo>
                      <a:cubicBezTo>
                        <a:pt x="2384406" y="625105"/>
                        <a:pt x="2353448" y="659159"/>
                        <a:pt x="2321973" y="692182"/>
                      </a:cubicBezTo>
                      <a:cubicBezTo>
                        <a:pt x="2310106" y="704565"/>
                        <a:pt x="2307526" y="717981"/>
                        <a:pt x="2313718" y="733460"/>
                      </a:cubicBezTo>
                      <a:cubicBezTo>
                        <a:pt x="2323005" y="755647"/>
                        <a:pt x="2334357" y="776286"/>
                        <a:pt x="2349320" y="795377"/>
                      </a:cubicBezTo>
                      <a:cubicBezTo>
                        <a:pt x="2361187" y="810857"/>
                        <a:pt x="2375635" y="814984"/>
                        <a:pt x="2394726" y="810341"/>
                      </a:cubicBezTo>
                      <a:cubicBezTo>
                        <a:pt x="2438584" y="799505"/>
                        <a:pt x="2482958" y="789701"/>
                        <a:pt x="2526816" y="780414"/>
                      </a:cubicBezTo>
                      <a:cubicBezTo>
                        <a:pt x="2550035" y="775254"/>
                        <a:pt x="2563967" y="781962"/>
                        <a:pt x="2575834" y="803117"/>
                      </a:cubicBezTo>
                      <a:cubicBezTo>
                        <a:pt x="2582026" y="814468"/>
                        <a:pt x="2587186" y="826336"/>
                        <a:pt x="2591313" y="838719"/>
                      </a:cubicBezTo>
                      <a:cubicBezTo>
                        <a:pt x="2600085" y="867098"/>
                        <a:pt x="2595441" y="880514"/>
                        <a:pt x="2570158" y="896509"/>
                      </a:cubicBezTo>
                      <a:cubicBezTo>
                        <a:pt x="2534040" y="919212"/>
                        <a:pt x="2498437" y="942947"/>
                        <a:pt x="2461287" y="964102"/>
                      </a:cubicBezTo>
                      <a:cubicBezTo>
                        <a:pt x="2440132" y="976485"/>
                        <a:pt x="2434456" y="992997"/>
                        <a:pt x="2438068" y="1014668"/>
                      </a:cubicBezTo>
                      <a:cubicBezTo>
                        <a:pt x="2441164" y="1034791"/>
                        <a:pt x="2446840" y="1054398"/>
                        <a:pt x="2454063" y="1073489"/>
                      </a:cubicBezTo>
                      <a:cubicBezTo>
                        <a:pt x="2460771" y="1091032"/>
                        <a:pt x="2472638" y="1100320"/>
                        <a:pt x="2492762" y="1100836"/>
                      </a:cubicBezTo>
                      <a:cubicBezTo>
                        <a:pt x="2538168" y="1101352"/>
                        <a:pt x="2583058" y="1104448"/>
                        <a:pt x="2628464" y="1105996"/>
                      </a:cubicBezTo>
                      <a:cubicBezTo>
                        <a:pt x="2653230" y="1107028"/>
                        <a:pt x="2665614" y="1116831"/>
                        <a:pt x="2672322" y="1140566"/>
                      </a:cubicBezTo>
                      <a:cubicBezTo>
                        <a:pt x="2676449" y="1153982"/>
                        <a:pt x="2677998" y="1167913"/>
                        <a:pt x="2677998" y="1182360"/>
                      </a:cubicBezTo>
                      <a:cubicBezTo>
                        <a:pt x="2677998" y="1210223"/>
                        <a:pt x="2670258" y="1221575"/>
                        <a:pt x="2644459" y="1229830"/>
                      </a:cubicBezTo>
                      <a:cubicBezTo>
                        <a:pt x="2603697" y="1242730"/>
                        <a:pt x="2562934" y="1255113"/>
                        <a:pt x="2522172" y="1267497"/>
                      </a:cubicBezTo>
                      <a:cubicBezTo>
                        <a:pt x="2492762" y="1276268"/>
                        <a:pt x="2485022" y="1285556"/>
                        <a:pt x="2483990" y="1315998"/>
                      </a:cubicBezTo>
                      <a:cubicBezTo>
                        <a:pt x="2483474" y="1337153"/>
                        <a:pt x="2481926" y="1358824"/>
                        <a:pt x="2486570" y="1379980"/>
                      </a:cubicBezTo>
                      <a:cubicBezTo>
                        <a:pt x="2489666" y="1394427"/>
                        <a:pt x="2498437" y="1403199"/>
                        <a:pt x="2512885" y="1407842"/>
                      </a:cubicBezTo>
                      <a:cubicBezTo>
                        <a:pt x="2555711" y="1420742"/>
                        <a:pt x="2598537" y="1433641"/>
                        <a:pt x="2641363" y="1447057"/>
                      </a:cubicBezTo>
                      <a:cubicBezTo>
                        <a:pt x="2671290" y="1456344"/>
                        <a:pt x="2678514" y="1466664"/>
                        <a:pt x="2677998" y="1498138"/>
                      </a:cubicBezTo>
                      <a:cubicBezTo>
                        <a:pt x="2677998" y="1501234"/>
                        <a:pt x="2677998" y="1504330"/>
                        <a:pt x="2677998" y="1507426"/>
                      </a:cubicBezTo>
                      <a:cubicBezTo>
                        <a:pt x="2675934" y="1555928"/>
                        <a:pt x="2660454" y="1571407"/>
                        <a:pt x="2611952" y="1572955"/>
                      </a:cubicBezTo>
                      <a:cubicBezTo>
                        <a:pt x="2571190" y="1573987"/>
                        <a:pt x="2530944" y="1576051"/>
                        <a:pt x="2490182" y="1576567"/>
                      </a:cubicBezTo>
                      <a:cubicBezTo>
                        <a:pt x="2474702" y="1577083"/>
                        <a:pt x="2463867" y="1583791"/>
                        <a:pt x="2457675" y="1596690"/>
                      </a:cubicBezTo>
                      <a:cubicBezTo>
                        <a:pt x="2446324" y="1620941"/>
                        <a:pt x="2439100" y="1646224"/>
                        <a:pt x="2437036" y="1673055"/>
                      </a:cubicBezTo>
                      <a:cubicBezTo>
                        <a:pt x="2435488" y="1690082"/>
                        <a:pt x="2442712" y="1701434"/>
                        <a:pt x="2457159" y="1710205"/>
                      </a:cubicBezTo>
                      <a:cubicBezTo>
                        <a:pt x="2493278" y="1732392"/>
                        <a:pt x="2528880" y="1754579"/>
                        <a:pt x="2564483" y="1777282"/>
                      </a:cubicBezTo>
                      <a:cubicBezTo>
                        <a:pt x="2596989" y="1797405"/>
                        <a:pt x="2601117" y="1809789"/>
                        <a:pt x="2588733" y="1845907"/>
                      </a:cubicBezTo>
                      <a:cubicBezTo>
                        <a:pt x="2584606" y="1858291"/>
                        <a:pt x="2578930" y="1870158"/>
                        <a:pt x="2571706" y="1880994"/>
                      </a:cubicBezTo>
                      <a:cubicBezTo>
                        <a:pt x="2564998" y="1890797"/>
                        <a:pt x="2554163" y="1897505"/>
                        <a:pt x="2538684" y="1897505"/>
                      </a:cubicBezTo>
                      <a:close/>
                      <a:moveTo>
                        <a:pt x="1338521" y="2312867"/>
                      </a:moveTo>
                      <a:cubicBezTo>
                        <a:pt x="1869461" y="2314931"/>
                        <a:pt x="2317329" y="1887701"/>
                        <a:pt x="2316814" y="1335605"/>
                      </a:cubicBezTo>
                      <a:cubicBezTo>
                        <a:pt x="2316298" y="792797"/>
                        <a:pt x="1880813" y="359892"/>
                        <a:pt x="1340068" y="359376"/>
                      </a:cubicBezTo>
                      <a:cubicBezTo>
                        <a:pt x="796228" y="358860"/>
                        <a:pt x="363839" y="794861"/>
                        <a:pt x="361775" y="1331994"/>
                      </a:cubicBezTo>
                      <a:cubicBezTo>
                        <a:pt x="359711" y="1882026"/>
                        <a:pt x="806032" y="2314415"/>
                        <a:pt x="1338521" y="2312867"/>
                      </a:cubicBezTo>
                      <a:close/>
                    </a:path>
                  </a:pathLst>
                </a:custGeom>
                <a:grpFill/>
                <a:ln w="515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9" name="Freeform: Shape 28">
                  <a:extLst>
                    <a:ext uri="{FF2B5EF4-FFF2-40B4-BE49-F238E27FC236}">
                      <a16:creationId xmlns:a16="http://schemas.microsoft.com/office/drawing/2014/main" id="{718FFC3D-130E-4587-9FAD-F134E15CA98A}"/>
                    </a:ext>
                  </a:extLst>
                </p:cNvPr>
                <p:cNvSpPr/>
                <p:nvPr/>
              </p:nvSpPr>
              <p:spPr>
                <a:xfrm>
                  <a:off x="7558586" y="2011427"/>
                  <a:ext cx="1898797" cy="1893637"/>
                </a:xfrm>
                <a:custGeom>
                  <a:avLst/>
                  <a:gdLst>
                    <a:gd name="connsiteX0" fmla="*/ 30 w 1898796"/>
                    <a:gd name="connsiteY0" fmla="*/ 947852 h 1893636"/>
                    <a:gd name="connsiteX1" fmla="*/ 950461 w 1898796"/>
                    <a:gd name="connsiteY1" fmla="*/ 2 h 1893636"/>
                    <a:gd name="connsiteX2" fmla="*/ 1898827 w 1898796"/>
                    <a:gd name="connsiteY2" fmla="*/ 950948 h 1893636"/>
                    <a:gd name="connsiteX3" fmla="*/ 946849 w 1898796"/>
                    <a:gd name="connsiteY3" fmla="*/ 1898283 h 1893636"/>
                    <a:gd name="connsiteX4" fmla="*/ 30 w 1898796"/>
                    <a:gd name="connsiteY4" fmla="*/ 947852 h 1893636"/>
                    <a:gd name="connsiteX5" fmla="*/ 1187811 w 1898796"/>
                    <a:gd name="connsiteY5" fmla="*/ 949916 h 1893636"/>
                    <a:gd name="connsiteX6" fmla="*/ 949429 w 1898796"/>
                    <a:gd name="connsiteY6" fmla="*/ 710503 h 1893636"/>
                    <a:gd name="connsiteX7" fmla="*/ 710532 w 1898796"/>
                    <a:gd name="connsiteY7" fmla="*/ 948368 h 1893636"/>
                    <a:gd name="connsiteX8" fmla="*/ 948397 w 1898796"/>
                    <a:gd name="connsiteY8" fmla="*/ 1188298 h 1893636"/>
                    <a:gd name="connsiteX9" fmla="*/ 1187811 w 1898796"/>
                    <a:gd name="connsiteY9" fmla="*/ 949916 h 18936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898796" h="1893636">
                      <a:moveTo>
                        <a:pt x="30" y="947852"/>
                      </a:moveTo>
                      <a:cubicBezTo>
                        <a:pt x="-3065" y="428263"/>
                        <a:pt x="426228" y="-1030"/>
                        <a:pt x="950461" y="2"/>
                      </a:cubicBezTo>
                      <a:cubicBezTo>
                        <a:pt x="1472114" y="1034"/>
                        <a:pt x="1899859" y="427747"/>
                        <a:pt x="1898827" y="950948"/>
                      </a:cubicBezTo>
                      <a:cubicBezTo>
                        <a:pt x="1897795" y="1468473"/>
                        <a:pt x="1477790" y="1899315"/>
                        <a:pt x="946849" y="1898283"/>
                      </a:cubicBezTo>
                      <a:cubicBezTo>
                        <a:pt x="411781" y="1896735"/>
                        <a:pt x="-4097" y="1460218"/>
                        <a:pt x="30" y="947852"/>
                      </a:cubicBezTo>
                      <a:close/>
                      <a:moveTo>
                        <a:pt x="1187811" y="949916"/>
                      </a:moveTo>
                      <a:cubicBezTo>
                        <a:pt x="1188327" y="817310"/>
                        <a:pt x="1084099" y="710503"/>
                        <a:pt x="949429" y="710503"/>
                      </a:cubicBezTo>
                      <a:cubicBezTo>
                        <a:pt x="805987" y="710503"/>
                        <a:pt x="710015" y="828146"/>
                        <a:pt x="710532" y="948368"/>
                      </a:cubicBezTo>
                      <a:cubicBezTo>
                        <a:pt x="711048" y="1081490"/>
                        <a:pt x="815791" y="1188298"/>
                        <a:pt x="948397" y="1188298"/>
                      </a:cubicBezTo>
                      <a:cubicBezTo>
                        <a:pt x="1081003" y="1188298"/>
                        <a:pt x="1187294" y="1083038"/>
                        <a:pt x="1187811" y="949916"/>
                      </a:cubicBezTo>
                      <a:close/>
                    </a:path>
                  </a:pathLst>
                </a:custGeom>
                <a:grpFill/>
                <a:ln w="515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4AE715F5-3FF5-4CC0-99F7-2396CA9783A9}"/>
                </a:ext>
              </a:extLst>
            </p:cNvPr>
            <p:cNvGrpSpPr/>
            <p:nvPr/>
          </p:nvGrpSpPr>
          <p:grpSpPr>
            <a:xfrm rot="18655185">
              <a:off x="7923365" y="4809769"/>
              <a:ext cx="1639387" cy="985059"/>
              <a:chOff x="2753518" y="3556278"/>
              <a:chExt cx="2028524" cy="1218879"/>
            </a:xfrm>
            <a:grpFill/>
          </p:grpSpPr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D307BAC0-5062-49C4-A10C-F15443D0B43E}"/>
                  </a:ext>
                </a:extLst>
              </p:cNvPr>
              <p:cNvSpPr/>
              <p:nvPr/>
            </p:nvSpPr>
            <p:spPr>
              <a:xfrm>
                <a:off x="2753518" y="3683131"/>
                <a:ext cx="796648" cy="799367"/>
              </a:xfrm>
              <a:custGeom>
                <a:avLst/>
                <a:gdLst>
                  <a:gd name="connsiteX0" fmla="*/ 817500 w 1511813"/>
                  <a:gd name="connsiteY0" fmla="*/ 1518710 h 1516973"/>
                  <a:gd name="connsiteX1" fmla="*/ 802537 w 1511813"/>
                  <a:gd name="connsiteY1" fmla="*/ 1507875 h 1516973"/>
                  <a:gd name="connsiteX2" fmla="*/ 780866 w 1511813"/>
                  <a:gd name="connsiteY2" fmla="*/ 1442862 h 1516973"/>
                  <a:gd name="connsiteX3" fmla="*/ 776738 w 1511813"/>
                  <a:gd name="connsiteY3" fmla="*/ 1385072 h 1516973"/>
                  <a:gd name="connsiteX4" fmla="*/ 760227 w 1511813"/>
                  <a:gd name="connsiteY4" fmla="*/ 1369593 h 1516973"/>
                  <a:gd name="connsiteX5" fmla="*/ 694698 w 1511813"/>
                  <a:gd name="connsiteY5" fmla="*/ 1366497 h 1516973"/>
                  <a:gd name="connsiteX6" fmla="*/ 676638 w 1511813"/>
                  <a:gd name="connsiteY6" fmla="*/ 1379912 h 1516973"/>
                  <a:gd name="connsiteX7" fmla="*/ 637940 w 1511813"/>
                  <a:gd name="connsiteY7" fmla="*/ 1501683 h 1516973"/>
                  <a:gd name="connsiteX8" fmla="*/ 622977 w 1511813"/>
                  <a:gd name="connsiteY8" fmla="*/ 1508907 h 1516973"/>
                  <a:gd name="connsiteX9" fmla="*/ 430517 w 1511813"/>
                  <a:gd name="connsiteY9" fmla="*/ 1447505 h 1516973"/>
                  <a:gd name="connsiteX10" fmla="*/ 422262 w 1511813"/>
                  <a:gd name="connsiteY10" fmla="*/ 1431510 h 1516973"/>
                  <a:gd name="connsiteX11" fmla="*/ 435677 w 1511813"/>
                  <a:gd name="connsiteY11" fmla="*/ 1364433 h 1516973"/>
                  <a:gd name="connsiteX12" fmla="*/ 461992 w 1511813"/>
                  <a:gd name="connsiteY12" fmla="*/ 1310255 h 1516973"/>
                  <a:gd name="connsiteX13" fmla="*/ 456316 w 1511813"/>
                  <a:gd name="connsiteY13" fmla="*/ 1290132 h 1516973"/>
                  <a:gd name="connsiteX14" fmla="*/ 395431 w 1511813"/>
                  <a:gd name="connsiteY14" fmla="*/ 1251434 h 1516973"/>
                  <a:gd name="connsiteX15" fmla="*/ 378919 w 1511813"/>
                  <a:gd name="connsiteY15" fmla="*/ 1254014 h 1516973"/>
                  <a:gd name="connsiteX16" fmla="*/ 283464 w 1511813"/>
                  <a:gd name="connsiteY16" fmla="*/ 1342246 h 1516973"/>
                  <a:gd name="connsiteX17" fmla="*/ 265920 w 1511813"/>
                  <a:gd name="connsiteY17" fmla="*/ 1341214 h 1516973"/>
                  <a:gd name="connsiteX18" fmla="*/ 130218 w 1511813"/>
                  <a:gd name="connsiteY18" fmla="*/ 1191580 h 1516973"/>
                  <a:gd name="connsiteX19" fmla="*/ 130734 w 1511813"/>
                  <a:gd name="connsiteY19" fmla="*/ 1174553 h 1516973"/>
                  <a:gd name="connsiteX20" fmla="*/ 177688 w 1511813"/>
                  <a:gd name="connsiteY20" fmla="*/ 1121408 h 1516973"/>
                  <a:gd name="connsiteX21" fmla="*/ 225674 w 1511813"/>
                  <a:gd name="connsiteY21" fmla="*/ 1089417 h 1516973"/>
                  <a:gd name="connsiteX22" fmla="*/ 230834 w 1511813"/>
                  <a:gd name="connsiteY22" fmla="*/ 1067230 h 1516973"/>
                  <a:gd name="connsiteX23" fmla="*/ 198327 w 1511813"/>
                  <a:gd name="connsiteY23" fmla="*/ 1004281 h 1516973"/>
                  <a:gd name="connsiteX24" fmla="*/ 183880 w 1511813"/>
                  <a:gd name="connsiteY24" fmla="*/ 998089 h 1516973"/>
                  <a:gd name="connsiteX25" fmla="*/ 67269 w 1511813"/>
                  <a:gd name="connsiteY25" fmla="*/ 1025952 h 1516973"/>
                  <a:gd name="connsiteX26" fmla="*/ 55918 w 1511813"/>
                  <a:gd name="connsiteY26" fmla="*/ 1027500 h 1516973"/>
                  <a:gd name="connsiteX27" fmla="*/ 41470 w 1511813"/>
                  <a:gd name="connsiteY27" fmla="*/ 1018212 h 1516973"/>
                  <a:gd name="connsiteX28" fmla="*/ 1224 w 1511813"/>
                  <a:gd name="connsiteY28" fmla="*/ 841748 h 1516973"/>
                  <a:gd name="connsiteX29" fmla="*/ 30635 w 1511813"/>
                  <a:gd name="connsiteY29" fmla="*/ 797374 h 1516973"/>
                  <a:gd name="connsiteX30" fmla="*/ 134862 w 1511813"/>
                  <a:gd name="connsiteY30" fmla="*/ 778799 h 1516973"/>
                  <a:gd name="connsiteX31" fmla="*/ 147246 w 1511813"/>
                  <a:gd name="connsiteY31" fmla="*/ 765899 h 1516973"/>
                  <a:gd name="connsiteX32" fmla="*/ 150342 w 1511813"/>
                  <a:gd name="connsiteY32" fmla="*/ 696242 h 1516973"/>
                  <a:gd name="connsiteX33" fmla="*/ 137442 w 1511813"/>
                  <a:gd name="connsiteY33" fmla="*/ 678699 h 1516973"/>
                  <a:gd name="connsiteX34" fmla="*/ 14639 w 1511813"/>
                  <a:gd name="connsiteY34" fmla="*/ 639485 h 1516973"/>
                  <a:gd name="connsiteX35" fmla="*/ 7932 w 1511813"/>
                  <a:gd name="connsiteY35" fmla="*/ 625037 h 1516973"/>
                  <a:gd name="connsiteX36" fmla="*/ 69333 w 1511813"/>
                  <a:gd name="connsiteY36" fmla="*/ 432578 h 1516973"/>
                  <a:gd name="connsiteX37" fmla="*/ 86360 w 1511813"/>
                  <a:gd name="connsiteY37" fmla="*/ 423806 h 1516973"/>
                  <a:gd name="connsiteX38" fmla="*/ 150858 w 1511813"/>
                  <a:gd name="connsiteY38" fmla="*/ 436706 h 1516973"/>
                  <a:gd name="connsiteX39" fmla="*/ 206583 w 1511813"/>
                  <a:gd name="connsiteY39" fmla="*/ 463536 h 1516973"/>
                  <a:gd name="connsiteX40" fmla="*/ 227738 w 1511813"/>
                  <a:gd name="connsiteY40" fmla="*/ 457345 h 1516973"/>
                  <a:gd name="connsiteX41" fmla="*/ 266952 w 1511813"/>
                  <a:gd name="connsiteY41" fmla="*/ 396459 h 1516973"/>
                  <a:gd name="connsiteX42" fmla="*/ 264373 w 1511813"/>
                  <a:gd name="connsiteY42" fmla="*/ 380980 h 1516973"/>
                  <a:gd name="connsiteX43" fmla="*/ 175108 w 1511813"/>
                  <a:gd name="connsiteY43" fmla="*/ 284492 h 1516973"/>
                  <a:gd name="connsiteX44" fmla="*/ 176140 w 1511813"/>
                  <a:gd name="connsiteY44" fmla="*/ 267981 h 1516973"/>
                  <a:gd name="connsiteX45" fmla="*/ 325258 w 1511813"/>
                  <a:gd name="connsiteY45" fmla="*/ 132279 h 1516973"/>
                  <a:gd name="connsiteX46" fmla="*/ 343317 w 1511813"/>
                  <a:gd name="connsiteY46" fmla="*/ 132795 h 1516973"/>
                  <a:gd name="connsiteX47" fmla="*/ 395431 w 1511813"/>
                  <a:gd name="connsiteY47" fmla="*/ 178717 h 1516973"/>
                  <a:gd name="connsiteX48" fmla="*/ 426389 w 1511813"/>
                  <a:gd name="connsiteY48" fmla="*/ 224639 h 1516973"/>
                  <a:gd name="connsiteX49" fmla="*/ 451156 w 1511813"/>
                  <a:gd name="connsiteY49" fmla="*/ 231347 h 1516973"/>
                  <a:gd name="connsiteX50" fmla="*/ 512042 w 1511813"/>
                  <a:gd name="connsiteY50" fmla="*/ 200388 h 1516973"/>
                  <a:gd name="connsiteX51" fmla="*/ 518233 w 1511813"/>
                  <a:gd name="connsiteY51" fmla="*/ 183877 h 1516973"/>
                  <a:gd name="connsiteX52" fmla="*/ 491403 w 1511813"/>
                  <a:gd name="connsiteY52" fmla="*/ 69846 h 1516973"/>
                  <a:gd name="connsiteX53" fmla="*/ 489855 w 1511813"/>
                  <a:gd name="connsiteY53" fmla="*/ 58494 h 1516973"/>
                  <a:gd name="connsiteX54" fmla="*/ 499658 w 1511813"/>
                  <a:gd name="connsiteY54" fmla="*/ 43015 h 1516973"/>
                  <a:gd name="connsiteX55" fmla="*/ 695730 w 1511813"/>
                  <a:gd name="connsiteY55" fmla="*/ 189 h 1516973"/>
                  <a:gd name="connsiteX56" fmla="*/ 713273 w 1511813"/>
                  <a:gd name="connsiteY56" fmla="*/ 12056 h 1516973"/>
                  <a:gd name="connsiteX57" fmla="*/ 721012 w 1511813"/>
                  <a:gd name="connsiteY57" fmla="*/ 35275 h 1516973"/>
                  <a:gd name="connsiteX58" fmla="*/ 738556 w 1511813"/>
                  <a:gd name="connsiteY58" fmla="*/ 134343 h 1516973"/>
                  <a:gd name="connsiteX59" fmla="*/ 753519 w 1511813"/>
                  <a:gd name="connsiteY59" fmla="*/ 148790 h 1516973"/>
                  <a:gd name="connsiteX60" fmla="*/ 820596 w 1511813"/>
                  <a:gd name="connsiteY60" fmla="*/ 151886 h 1516973"/>
                  <a:gd name="connsiteX61" fmla="*/ 838655 w 1511813"/>
                  <a:gd name="connsiteY61" fmla="*/ 138471 h 1516973"/>
                  <a:gd name="connsiteX62" fmla="*/ 877354 w 1511813"/>
                  <a:gd name="connsiteY62" fmla="*/ 16700 h 1516973"/>
                  <a:gd name="connsiteX63" fmla="*/ 892317 w 1511813"/>
                  <a:gd name="connsiteY63" fmla="*/ 9476 h 1516973"/>
                  <a:gd name="connsiteX64" fmla="*/ 1084777 w 1511813"/>
                  <a:gd name="connsiteY64" fmla="*/ 70878 h 1516973"/>
                  <a:gd name="connsiteX65" fmla="*/ 1093032 w 1511813"/>
                  <a:gd name="connsiteY65" fmla="*/ 86873 h 1516973"/>
                  <a:gd name="connsiteX66" fmla="*/ 1079617 w 1511813"/>
                  <a:gd name="connsiteY66" fmla="*/ 152402 h 1516973"/>
                  <a:gd name="connsiteX67" fmla="*/ 1053302 w 1511813"/>
                  <a:gd name="connsiteY67" fmla="*/ 206580 h 1516973"/>
                  <a:gd name="connsiteX68" fmla="*/ 1060010 w 1511813"/>
                  <a:gd name="connsiteY68" fmla="*/ 228251 h 1516973"/>
                  <a:gd name="connsiteX69" fmla="*/ 1118315 w 1511813"/>
                  <a:gd name="connsiteY69" fmla="*/ 265917 h 1516973"/>
                  <a:gd name="connsiteX70" fmla="*/ 1136374 w 1511813"/>
                  <a:gd name="connsiteY70" fmla="*/ 262821 h 1516973"/>
                  <a:gd name="connsiteX71" fmla="*/ 1232346 w 1511813"/>
                  <a:gd name="connsiteY71" fmla="*/ 174589 h 1516973"/>
                  <a:gd name="connsiteX72" fmla="*/ 1247825 w 1511813"/>
                  <a:gd name="connsiteY72" fmla="*/ 175621 h 1516973"/>
                  <a:gd name="connsiteX73" fmla="*/ 1384559 w 1511813"/>
                  <a:gd name="connsiteY73" fmla="*/ 325770 h 1516973"/>
                  <a:gd name="connsiteX74" fmla="*/ 1384043 w 1511813"/>
                  <a:gd name="connsiteY74" fmla="*/ 342798 h 1516973"/>
                  <a:gd name="connsiteX75" fmla="*/ 1336057 w 1511813"/>
                  <a:gd name="connsiteY75" fmla="*/ 396975 h 1516973"/>
                  <a:gd name="connsiteX76" fmla="*/ 1291167 w 1511813"/>
                  <a:gd name="connsiteY76" fmla="*/ 426902 h 1516973"/>
                  <a:gd name="connsiteX77" fmla="*/ 1284976 w 1511813"/>
                  <a:gd name="connsiteY77" fmla="*/ 451153 h 1516973"/>
                  <a:gd name="connsiteX78" fmla="*/ 1316450 w 1511813"/>
                  <a:gd name="connsiteY78" fmla="*/ 513070 h 1516973"/>
                  <a:gd name="connsiteX79" fmla="*/ 1330898 w 1511813"/>
                  <a:gd name="connsiteY79" fmla="*/ 519262 h 1516973"/>
                  <a:gd name="connsiteX80" fmla="*/ 1447509 w 1511813"/>
                  <a:gd name="connsiteY80" fmla="*/ 491399 h 1516973"/>
                  <a:gd name="connsiteX81" fmla="*/ 1458860 w 1511813"/>
                  <a:gd name="connsiteY81" fmla="*/ 489851 h 1516973"/>
                  <a:gd name="connsiteX82" fmla="*/ 1473307 w 1511813"/>
                  <a:gd name="connsiteY82" fmla="*/ 499139 h 1516973"/>
                  <a:gd name="connsiteX83" fmla="*/ 1513554 w 1511813"/>
                  <a:gd name="connsiteY83" fmla="*/ 675603 h 1516973"/>
                  <a:gd name="connsiteX84" fmla="*/ 1514070 w 1511813"/>
                  <a:gd name="connsiteY84" fmla="*/ 679215 h 1516973"/>
                  <a:gd name="connsiteX85" fmla="*/ 1490335 w 1511813"/>
                  <a:gd name="connsiteY85" fmla="*/ 717397 h 1516973"/>
                  <a:gd name="connsiteX86" fmla="*/ 1379916 w 1511813"/>
                  <a:gd name="connsiteY86" fmla="*/ 738036 h 1516973"/>
                  <a:gd name="connsiteX87" fmla="*/ 1367532 w 1511813"/>
                  <a:gd name="connsiteY87" fmla="*/ 749904 h 1516973"/>
                  <a:gd name="connsiteX88" fmla="*/ 1363920 w 1511813"/>
                  <a:gd name="connsiteY88" fmla="*/ 822141 h 1516973"/>
                  <a:gd name="connsiteX89" fmla="*/ 1375788 w 1511813"/>
                  <a:gd name="connsiteY89" fmla="*/ 838136 h 1516973"/>
                  <a:gd name="connsiteX90" fmla="*/ 1498590 w 1511813"/>
                  <a:gd name="connsiteY90" fmla="*/ 876834 h 1516973"/>
                  <a:gd name="connsiteX91" fmla="*/ 1506330 w 1511813"/>
                  <a:gd name="connsiteY91" fmla="*/ 891798 h 1516973"/>
                  <a:gd name="connsiteX92" fmla="*/ 1444413 w 1511813"/>
                  <a:gd name="connsiteY92" fmla="*/ 1085289 h 1516973"/>
                  <a:gd name="connsiteX93" fmla="*/ 1429449 w 1511813"/>
                  <a:gd name="connsiteY93" fmla="*/ 1093029 h 1516973"/>
                  <a:gd name="connsiteX94" fmla="*/ 1306647 w 1511813"/>
                  <a:gd name="connsiteY94" fmla="*/ 1052783 h 1516973"/>
                  <a:gd name="connsiteX95" fmla="*/ 1287556 w 1511813"/>
                  <a:gd name="connsiteY95" fmla="*/ 1057942 h 1516973"/>
                  <a:gd name="connsiteX96" fmla="*/ 1248857 w 1511813"/>
                  <a:gd name="connsiteY96" fmla="*/ 1118828 h 1516973"/>
                  <a:gd name="connsiteX97" fmla="*/ 1250405 w 1511813"/>
                  <a:gd name="connsiteY97" fmla="*/ 1135339 h 1516973"/>
                  <a:gd name="connsiteX98" fmla="*/ 1339153 w 1511813"/>
                  <a:gd name="connsiteY98" fmla="*/ 1230795 h 1516973"/>
                  <a:gd name="connsiteX99" fmla="*/ 1337605 w 1511813"/>
                  <a:gd name="connsiteY99" fmla="*/ 1249370 h 1516973"/>
                  <a:gd name="connsiteX100" fmla="*/ 1189004 w 1511813"/>
                  <a:gd name="connsiteY100" fmla="*/ 1384040 h 1516973"/>
                  <a:gd name="connsiteX101" fmla="*/ 1170945 w 1511813"/>
                  <a:gd name="connsiteY101" fmla="*/ 1383524 h 1516973"/>
                  <a:gd name="connsiteX102" fmla="*/ 1118831 w 1511813"/>
                  <a:gd name="connsiteY102" fmla="*/ 1337602 h 1516973"/>
                  <a:gd name="connsiteX103" fmla="*/ 1086840 w 1511813"/>
                  <a:gd name="connsiteY103" fmla="*/ 1289616 h 1516973"/>
                  <a:gd name="connsiteX104" fmla="*/ 1064137 w 1511813"/>
                  <a:gd name="connsiteY104" fmla="*/ 1284456 h 1516973"/>
                  <a:gd name="connsiteX105" fmla="*/ 1002220 w 1511813"/>
                  <a:gd name="connsiteY105" fmla="*/ 1316447 h 1516973"/>
                  <a:gd name="connsiteX106" fmla="*/ 996028 w 1511813"/>
                  <a:gd name="connsiteY106" fmla="*/ 1332958 h 1516973"/>
                  <a:gd name="connsiteX107" fmla="*/ 1022859 w 1511813"/>
                  <a:gd name="connsiteY107" fmla="*/ 1446989 h 1516973"/>
                  <a:gd name="connsiteX108" fmla="*/ 1024407 w 1511813"/>
                  <a:gd name="connsiteY108" fmla="*/ 1459889 h 1516973"/>
                  <a:gd name="connsiteX109" fmla="*/ 1015636 w 1511813"/>
                  <a:gd name="connsiteY109" fmla="*/ 1473304 h 1516973"/>
                  <a:gd name="connsiteX110" fmla="*/ 817500 w 1511813"/>
                  <a:gd name="connsiteY110" fmla="*/ 1518710 h 1516973"/>
                  <a:gd name="connsiteX111" fmla="*/ 758163 w 1511813"/>
                  <a:gd name="connsiteY111" fmla="*/ 1148238 h 1516973"/>
                  <a:gd name="connsiteX112" fmla="*/ 1145146 w 1511813"/>
                  <a:gd name="connsiteY112" fmla="*/ 758675 h 1516973"/>
                  <a:gd name="connsiteX113" fmla="*/ 757131 w 1511813"/>
                  <a:gd name="connsiteY113" fmla="*/ 371176 h 1516973"/>
                  <a:gd name="connsiteX114" fmla="*/ 368600 w 1511813"/>
                  <a:gd name="connsiteY114" fmla="*/ 759707 h 1516973"/>
                  <a:gd name="connsiteX115" fmla="*/ 758163 w 1511813"/>
                  <a:gd name="connsiteY115" fmla="*/ 1148238 h 1516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</a:cxnLst>
                <a:rect l="l" t="t" r="r" b="b"/>
                <a:pathLst>
                  <a:path w="1511813" h="1516973">
                    <a:moveTo>
                      <a:pt x="817500" y="1518710"/>
                    </a:moveTo>
                    <a:cubicBezTo>
                      <a:pt x="809245" y="1520774"/>
                      <a:pt x="805633" y="1516130"/>
                      <a:pt x="802537" y="1507875"/>
                    </a:cubicBezTo>
                    <a:cubicBezTo>
                      <a:pt x="795829" y="1486204"/>
                      <a:pt x="788090" y="1464532"/>
                      <a:pt x="780866" y="1442862"/>
                    </a:cubicBezTo>
                    <a:cubicBezTo>
                      <a:pt x="774674" y="1424286"/>
                      <a:pt x="777770" y="1404679"/>
                      <a:pt x="776738" y="1385072"/>
                    </a:cubicBezTo>
                    <a:cubicBezTo>
                      <a:pt x="776222" y="1369593"/>
                      <a:pt x="775706" y="1370109"/>
                      <a:pt x="760227" y="1369593"/>
                    </a:cubicBezTo>
                    <a:cubicBezTo>
                      <a:pt x="738556" y="1369593"/>
                      <a:pt x="716369" y="1368045"/>
                      <a:pt x="694698" y="1366497"/>
                    </a:cubicBezTo>
                    <a:cubicBezTo>
                      <a:pt x="683346" y="1365465"/>
                      <a:pt x="676638" y="1365981"/>
                      <a:pt x="676638" y="1379912"/>
                    </a:cubicBezTo>
                    <a:cubicBezTo>
                      <a:pt x="676638" y="1424286"/>
                      <a:pt x="655483" y="1462469"/>
                      <a:pt x="637940" y="1501683"/>
                    </a:cubicBezTo>
                    <a:cubicBezTo>
                      <a:pt x="634844" y="1508907"/>
                      <a:pt x="630716" y="1510454"/>
                      <a:pt x="622977" y="1508907"/>
                    </a:cubicBezTo>
                    <a:cubicBezTo>
                      <a:pt x="556416" y="1496523"/>
                      <a:pt x="492434" y="1475368"/>
                      <a:pt x="430517" y="1447505"/>
                    </a:cubicBezTo>
                    <a:cubicBezTo>
                      <a:pt x="423294" y="1443893"/>
                      <a:pt x="420198" y="1440282"/>
                      <a:pt x="422262" y="1431510"/>
                    </a:cubicBezTo>
                    <a:cubicBezTo>
                      <a:pt x="427421" y="1409323"/>
                      <a:pt x="431033" y="1386620"/>
                      <a:pt x="435677" y="1364433"/>
                    </a:cubicBezTo>
                    <a:cubicBezTo>
                      <a:pt x="439805" y="1344310"/>
                      <a:pt x="452704" y="1327798"/>
                      <a:pt x="461992" y="1310255"/>
                    </a:cubicBezTo>
                    <a:cubicBezTo>
                      <a:pt x="467152" y="1300452"/>
                      <a:pt x="466120" y="1295808"/>
                      <a:pt x="456316" y="1290132"/>
                    </a:cubicBezTo>
                    <a:cubicBezTo>
                      <a:pt x="435677" y="1278265"/>
                      <a:pt x="415554" y="1264849"/>
                      <a:pt x="395431" y="1251434"/>
                    </a:cubicBezTo>
                    <a:cubicBezTo>
                      <a:pt x="388207" y="1246274"/>
                      <a:pt x="383563" y="1246274"/>
                      <a:pt x="378919" y="1254014"/>
                    </a:cubicBezTo>
                    <a:cubicBezTo>
                      <a:pt x="356216" y="1293228"/>
                      <a:pt x="319066" y="1317479"/>
                      <a:pt x="283464" y="1342246"/>
                    </a:cubicBezTo>
                    <a:cubicBezTo>
                      <a:pt x="276240" y="1346890"/>
                      <a:pt x="272112" y="1346374"/>
                      <a:pt x="265920" y="1341214"/>
                    </a:cubicBezTo>
                    <a:cubicBezTo>
                      <a:pt x="214323" y="1297356"/>
                      <a:pt x="169433" y="1246790"/>
                      <a:pt x="130218" y="1191580"/>
                    </a:cubicBezTo>
                    <a:cubicBezTo>
                      <a:pt x="125575" y="1185389"/>
                      <a:pt x="125059" y="1180745"/>
                      <a:pt x="130734" y="1174553"/>
                    </a:cubicBezTo>
                    <a:cubicBezTo>
                      <a:pt x="146730" y="1157010"/>
                      <a:pt x="161177" y="1138435"/>
                      <a:pt x="177688" y="1121408"/>
                    </a:cubicBezTo>
                    <a:cubicBezTo>
                      <a:pt x="191104" y="1107476"/>
                      <a:pt x="209163" y="1099221"/>
                      <a:pt x="225674" y="1089417"/>
                    </a:cubicBezTo>
                    <a:cubicBezTo>
                      <a:pt x="236510" y="1083225"/>
                      <a:pt x="237026" y="1078065"/>
                      <a:pt x="230834" y="1067230"/>
                    </a:cubicBezTo>
                    <a:cubicBezTo>
                      <a:pt x="218967" y="1047107"/>
                      <a:pt x="208647" y="1025436"/>
                      <a:pt x="198327" y="1004281"/>
                    </a:cubicBezTo>
                    <a:cubicBezTo>
                      <a:pt x="194716" y="997057"/>
                      <a:pt x="192136" y="993445"/>
                      <a:pt x="183880" y="998089"/>
                    </a:cubicBezTo>
                    <a:cubicBezTo>
                      <a:pt x="147246" y="1017180"/>
                      <a:pt x="108031" y="1024920"/>
                      <a:pt x="67269" y="1025952"/>
                    </a:cubicBezTo>
                    <a:cubicBezTo>
                      <a:pt x="63657" y="1025952"/>
                      <a:pt x="59529" y="1026984"/>
                      <a:pt x="55918" y="1027500"/>
                    </a:cubicBezTo>
                    <a:cubicBezTo>
                      <a:pt x="48694" y="1028532"/>
                      <a:pt x="44050" y="1025952"/>
                      <a:pt x="41470" y="1018212"/>
                    </a:cubicBezTo>
                    <a:cubicBezTo>
                      <a:pt x="21347" y="960939"/>
                      <a:pt x="6384" y="902117"/>
                      <a:pt x="1224" y="841748"/>
                    </a:cubicBezTo>
                    <a:cubicBezTo>
                      <a:pt x="-1872" y="808725"/>
                      <a:pt x="-1356" y="809241"/>
                      <a:pt x="30635" y="797374"/>
                    </a:cubicBezTo>
                    <a:cubicBezTo>
                      <a:pt x="64173" y="784474"/>
                      <a:pt x="98744" y="775703"/>
                      <a:pt x="134862" y="778799"/>
                    </a:cubicBezTo>
                    <a:cubicBezTo>
                      <a:pt x="144150" y="779315"/>
                      <a:pt x="147246" y="775187"/>
                      <a:pt x="147246" y="765899"/>
                    </a:cubicBezTo>
                    <a:cubicBezTo>
                      <a:pt x="147246" y="742680"/>
                      <a:pt x="148278" y="719461"/>
                      <a:pt x="150342" y="696242"/>
                    </a:cubicBezTo>
                    <a:cubicBezTo>
                      <a:pt x="151373" y="685923"/>
                      <a:pt x="150858" y="678699"/>
                      <a:pt x="137442" y="678699"/>
                    </a:cubicBezTo>
                    <a:cubicBezTo>
                      <a:pt x="92552" y="678699"/>
                      <a:pt x="53854" y="657544"/>
                      <a:pt x="14639" y="639485"/>
                    </a:cubicBezTo>
                    <a:cubicBezTo>
                      <a:pt x="7932" y="636389"/>
                      <a:pt x="6384" y="632261"/>
                      <a:pt x="7932" y="625037"/>
                    </a:cubicBezTo>
                    <a:cubicBezTo>
                      <a:pt x="20315" y="558476"/>
                      <a:pt x="40954" y="494495"/>
                      <a:pt x="69333" y="432578"/>
                    </a:cubicBezTo>
                    <a:cubicBezTo>
                      <a:pt x="72945" y="424838"/>
                      <a:pt x="77073" y="421742"/>
                      <a:pt x="86360" y="423806"/>
                    </a:cubicBezTo>
                    <a:cubicBezTo>
                      <a:pt x="107515" y="428450"/>
                      <a:pt x="129186" y="432578"/>
                      <a:pt x="150858" y="436706"/>
                    </a:cubicBezTo>
                    <a:cubicBezTo>
                      <a:pt x="171497" y="440833"/>
                      <a:pt x="188008" y="453733"/>
                      <a:pt x="206583" y="463536"/>
                    </a:cubicBezTo>
                    <a:cubicBezTo>
                      <a:pt x="216903" y="468696"/>
                      <a:pt x="221546" y="467664"/>
                      <a:pt x="227738" y="457345"/>
                    </a:cubicBezTo>
                    <a:cubicBezTo>
                      <a:pt x="239606" y="436706"/>
                      <a:pt x="253021" y="416582"/>
                      <a:pt x="266952" y="396459"/>
                    </a:cubicBezTo>
                    <a:cubicBezTo>
                      <a:pt x="271596" y="389752"/>
                      <a:pt x="271596" y="385108"/>
                      <a:pt x="264373" y="380980"/>
                    </a:cubicBezTo>
                    <a:cubicBezTo>
                      <a:pt x="225158" y="357761"/>
                      <a:pt x="200391" y="320611"/>
                      <a:pt x="175108" y="284492"/>
                    </a:cubicBezTo>
                    <a:cubicBezTo>
                      <a:pt x="170465" y="277785"/>
                      <a:pt x="170981" y="273657"/>
                      <a:pt x="176140" y="267981"/>
                    </a:cubicBezTo>
                    <a:cubicBezTo>
                      <a:pt x="219998" y="216383"/>
                      <a:pt x="270048" y="171493"/>
                      <a:pt x="325258" y="132279"/>
                    </a:cubicBezTo>
                    <a:cubicBezTo>
                      <a:pt x="331966" y="127635"/>
                      <a:pt x="336609" y="126603"/>
                      <a:pt x="343317" y="132795"/>
                    </a:cubicBezTo>
                    <a:cubicBezTo>
                      <a:pt x="360344" y="148274"/>
                      <a:pt x="378404" y="162722"/>
                      <a:pt x="395431" y="178717"/>
                    </a:cubicBezTo>
                    <a:cubicBezTo>
                      <a:pt x="409362" y="191616"/>
                      <a:pt x="416070" y="209160"/>
                      <a:pt x="426389" y="224639"/>
                    </a:cubicBezTo>
                    <a:cubicBezTo>
                      <a:pt x="437741" y="241666"/>
                      <a:pt x="435161" y="240634"/>
                      <a:pt x="451156" y="231347"/>
                    </a:cubicBezTo>
                    <a:cubicBezTo>
                      <a:pt x="470763" y="219995"/>
                      <a:pt x="491403" y="209676"/>
                      <a:pt x="512042" y="200388"/>
                    </a:cubicBezTo>
                    <a:cubicBezTo>
                      <a:pt x="521329" y="196260"/>
                      <a:pt x="522361" y="192132"/>
                      <a:pt x="518233" y="183877"/>
                    </a:cubicBezTo>
                    <a:cubicBezTo>
                      <a:pt x="499142" y="148274"/>
                      <a:pt x="492434" y="109576"/>
                      <a:pt x="491403" y="69846"/>
                    </a:cubicBezTo>
                    <a:cubicBezTo>
                      <a:pt x="491403" y="66234"/>
                      <a:pt x="490371" y="62106"/>
                      <a:pt x="489855" y="58494"/>
                    </a:cubicBezTo>
                    <a:cubicBezTo>
                      <a:pt x="488307" y="50239"/>
                      <a:pt x="491403" y="46111"/>
                      <a:pt x="499658" y="43015"/>
                    </a:cubicBezTo>
                    <a:cubicBezTo>
                      <a:pt x="563123" y="20312"/>
                      <a:pt x="628653" y="6380"/>
                      <a:pt x="695730" y="189"/>
                    </a:cubicBezTo>
                    <a:cubicBezTo>
                      <a:pt x="706049" y="-843"/>
                      <a:pt x="710693" y="2253"/>
                      <a:pt x="713273" y="12056"/>
                    </a:cubicBezTo>
                    <a:cubicBezTo>
                      <a:pt x="715337" y="19796"/>
                      <a:pt x="717917" y="27536"/>
                      <a:pt x="721012" y="35275"/>
                    </a:cubicBezTo>
                    <a:cubicBezTo>
                      <a:pt x="734428" y="67266"/>
                      <a:pt x="741136" y="99772"/>
                      <a:pt x="738556" y="134343"/>
                    </a:cubicBezTo>
                    <a:cubicBezTo>
                      <a:pt x="737524" y="145694"/>
                      <a:pt x="742168" y="148790"/>
                      <a:pt x="753519" y="148790"/>
                    </a:cubicBezTo>
                    <a:cubicBezTo>
                      <a:pt x="775706" y="148274"/>
                      <a:pt x="797893" y="149822"/>
                      <a:pt x="820596" y="151886"/>
                    </a:cubicBezTo>
                    <a:cubicBezTo>
                      <a:pt x="831948" y="152918"/>
                      <a:pt x="838655" y="152402"/>
                      <a:pt x="838655" y="138471"/>
                    </a:cubicBezTo>
                    <a:cubicBezTo>
                      <a:pt x="838655" y="94097"/>
                      <a:pt x="859810" y="55914"/>
                      <a:pt x="877354" y="16700"/>
                    </a:cubicBezTo>
                    <a:cubicBezTo>
                      <a:pt x="880449" y="9476"/>
                      <a:pt x="885093" y="7928"/>
                      <a:pt x="892317" y="9476"/>
                    </a:cubicBezTo>
                    <a:cubicBezTo>
                      <a:pt x="958878" y="21860"/>
                      <a:pt x="1022859" y="42499"/>
                      <a:pt x="1084777" y="70878"/>
                    </a:cubicBezTo>
                    <a:cubicBezTo>
                      <a:pt x="1092000" y="74489"/>
                      <a:pt x="1095096" y="78617"/>
                      <a:pt x="1093032" y="86873"/>
                    </a:cubicBezTo>
                    <a:cubicBezTo>
                      <a:pt x="1088388" y="108544"/>
                      <a:pt x="1084261" y="130731"/>
                      <a:pt x="1079617" y="152402"/>
                    </a:cubicBezTo>
                    <a:cubicBezTo>
                      <a:pt x="1075489" y="172525"/>
                      <a:pt x="1062590" y="189036"/>
                      <a:pt x="1053302" y="206580"/>
                    </a:cubicBezTo>
                    <a:cubicBezTo>
                      <a:pt x="1047626" y="217415"/>
                      <a:pt x="1048658" y="222575"/>
                      <a:pt x="1060010" y="228251"/>
                    </a:cubicBezTo>
                    <a:cubicBezTo>
                      <a:pt x="1080133" y="239602"/>
                      <a:pt x="1099740" y="252502"/>
                      <a:pt x="1118315" y="265917"/>
                    </a:cubicBezTo>
                    <a:cubicBezTo>
                      <a:pt x="1126571" y="272109"/>
                      <a:pt x="1131214" y="271593"/>
                      <a:pt x="1136374" y="262821"/>
                    </a:cubicBezTo>
                    <a:cubicBezTo>
                      <a:pt x="1159077" y="223607"/>
                      <a:pt x="1196744" y="199872"/>
                      <a:pt x="1232346" y="174589"/>
                    </a:cubicBezTo>
                    <a:cubicBezTo>
                      <a:pt x="1238538" y="170461"/>
                      <a:pt x="1242666" y="170977"/>
                      <a:pt x="1247825" y="175621"/>
                    </a:cubicBezTo>
                    <a:cubicBezTo>
                      <a:pt x="1299939" y="219995"/>
                      <a:pt x="1345345" y="270045"/>
                      <a:pt x="1384559" y="325770"/>
                    </a:cubicBezTo>
                    <a:cubicBezTo>
                      <a:pt x="1389203" y="331962"/>
                      <a:pt x="1389719" y="336606"/>
                      <a:pt x="1384043" y="342798"/>
                    </a:cubicBezTo>
                    <a:cubicBezTo>
                      <a:pt x="1368048" y="360857"/>
                      <a:pt x="1352569" y="379432"/>
                      <a:pt x="1336057" y="396975"/>
                    </a:cubicBezTo>
                    <a:cubicBezTo>
                      <a:pt x="1323674" y="409875"/>
                      <a:pt x="1306131" y="417098"/>
                      <a:pt x="1291167" y="426902"/>
                    </a:cubicBezTo>
                    <a:cubicBezTo>
                      <a:pt x="1276720" y="436706"/>
                      <a:pt x="1276720" y="436190"/>
                      <a:pt x="1284976" y="451153"/>
                    </a:cubicBezTo>
                    <a:cubicBezTo>
                      <a:pt x="1295811" y="471792"/>
                      <a:pt x="1306647" y="492431"/>
                      <a:pt x="1316450" y="513070"/>
                    </a:cubicBezTo>
                    <a:cubicBezTo>
                      <a:pt x="1320062" y="520294"/>
                      <a:pt x="1323158" y="523390"/>
                      <a:pt x="1330898" y="519262"/>
                    </a:cubicBezTo>
                    <a:cubicBezTo>
                      <a:pt x="1367532" y="500171"/>
                      <a:pt x="1406746" y="492431"/>
                      <a:pt x="1447509" y="491399"/>
                    </a:cubicBezTo>
                    <a:cubicBezTo>
                      <a:pt x="1451120" y="491399"/>
                      <a:pt x="1455248" y="490367"/>
                      <a:pt x="1458860" y="489851"/>
                    </a:cubicBezTo>
                    <a:cubicBezTo>
                      <a:pt x="1466600" y="488819"/>
                      <a:pt x="1470728" y="491399"/>
                      <a:pt x="1473307" y="499139"/>
                    </a:cubicBezTo>
                    <a:cubicBezTo>
                      <a:pt x="1493431" y="556412"/>
                      <a:pt x="1508394" y="615234"/>
                      <a:pt x="1513554" y="675603"/>
                    </a:cubicBezTo>
                    <a:cubicBezTo>
                      <a:pt x="1513554" y="676635"/>
                      <a:pt x="1513554" y="678183"/>
                      <a:pt x="1514070" y="679215"/>
                    </a:cubicBezTo>
                    <a:cubicBezTo>
                      <a:pt x="1518713" y="714301"/>
                      <a:pt x="1519745" y="706046"/>
                      <a:pt x="1490335" y="717397"/>
                    </a:cubicBezTo>
                    <a:cubicBezTo>
                      <a:pt x="1454732" y="730813"/>
                      <a:pt x="1418614" y="741648"/>
                      <a:pt x="1379916" y="738036"/>
                    </a:cubicBezTo>
                    <a:cubicBezTo>
                      <a:pt x="1371144" y="737004"/>
                      <a:pt x="1368048" y="740616"/>
                      <a:pt x="1367532" y="749904"/>
                    </a:cubicBezTo>
                    <a:cubicBezTo>
                      <a:pt x="1367016" y="774155"/>
                      <a:pt x="1365984" y="797890"/>
                      <a:pt x="1363920" y="822141"/>
                    </a:cubicBezTo>
                    <a:cubicBezTo>
                      <a:pt x="1363404" y="831944"/>
                      <a:pt x="1363920" y="838136"/>
                      <a:pt x="1375788" y="838136"/>
                    </a:cubicBezTo>
                    <a:cubicBezTo>
                      <a:pt x="1420678" y="838136"/>
                      <a:pt x="1459376" y="858775"/>
                      <a:pt x="1498590" y="876834"/>
                    </a:cubicBezTo>
                    <a:cubicBezTo>
                      <a:pt x="1505298" y="879930"/>
                      <a:pt x="1507878" y="883542"/>
                      <a:pt x="1506330" y="891798"/>
                    </a:cubicBezTo>
                    <a:cubicBezTo>
                      <a:pt x="1493947" y="958875"/>
                      <a:pt x="1472791" y="1023372"/>
                      <a:pt x="1444413" y="1085289"/>
                    </a:cubicBezTo>
                    <a:cubicBezTo>
                      <a:pt x="1441317" y="1092513"/>
                      <a:pt x="1437189" y="1094577"/>
                      <a:pt x="1429449" y="1093029"/>
                    </a:cubicBezTo>
                    <a:cubicBezTo>
                      <a:pt x="1386623" y="1085289"/>
                      <a:pt x="1343797" y="1078581"/>
                      <a:pt x="1306647" y="1052783"/>
                    </a:cubicBezTo>
                    <a:cubicBezTo>
                      <a:pt x="1297875" y="1046591"/>
                      <a:pt x="1293231" y="1048655"/>
                      <a:pt x="1287556" y="1057942"/>
                    </a:cubicBezTo>
                    <a:cubicBezTo>
                      <a:pt x="1275688" y="1078581"/>
                      <a:pt x="1262273" y="1098705"/>
                      <a:pt x="1248857" y="1118828"/>
                    </a:cubicBezTo>
                    <a:cubicBezTo>
                      <a:pt x="1244214" y="1125535"/>
                      <a:pt x="1242150" y="1130179"/>
                      <a:pt x="1250405" y="1135339"/>
                    </a:cubicBezTo>
                    <a:cubicBezTo>
                      <a:pt x="1289620" y="1158558"/>
                      <a:pt x="1313871" y="1194676"/>
                      <a:pt x="1339153" y="1230795"/>
                    </a:cubicBezTo>
                    <a:cubicBezTo>
                      <a:pt x="1344313" y="1238018"/>
                      <a:pt x="1343797" y="1242662"/>
                      <a:pt x="1337605" y="1249370"/>
                    </a:cubicBezTo>
                    <a:cubicBezTo>
                      <a:pt x="1293747" y="1300968"/>
                      <a:pt x="1244214" y="1345342"/>
                      <a:pt x="1189004" y="1384040"/>
                    </a:cubicBezTo>
                    <a:cubicBezTo>
                      <a:pt x="1182296" y="1388684"/>
                      <a:pt x="1177652" y="1389716"/>
                      <a:pt x="1170945" y="1383524"/>
                    </a:cubicBezTo>
                    <a:cubicBezTo>
                      <a:pt x="1153918" y="1368045"/>
                      <a:pt x="1135858" y="1353597"/>
                      <a:pt x="1118831" y="1337602"/>
                    </a:cubicBezTo>
                    <a:cubicBezTo>
                      <a:pt x="1104384" y="1324187"/>
                      <a:pt x="1096644" y="1306128"/>
                      <a:pt x="1086840" y="1289616"/>
                    </a:cubicBezTo>
                    <a:cubicBezTo>
                      <a:pt x="1080133" y="1278265"/>
                      <a:pt x="1074973" y="1277749"/>
                      <a:pt x="1064137" y="1284456"/>
                    </a:cubicBezTo>
                    <a:cubicBezTo>
                      <a:pt x="1044530" y="1296324"/>
                      <a:pt x="1023375" y="1306643"/>
                      <a:pt x="1002220" y="1316447"/>
                    </a:cubicBezTo>
                    <a:cubicBezTo>
                      <a:pt x="993449" y="1320575"/>
                      <a:pt x="991385" y="1324703"/>
                      <a:pt x="996028" y="1332958"/>
                    </a:cubicBezTo>
                    <a:cubicBezTo>
                      <a:pt x="1015120" y="1368561"/>
                      <a:pt x="1021827" y="1407259"/>
                      <a:pt x="1022859" y="1446989"/>
                    </a:cubicBezTo>
                    <a:cubicBezTo>
                      <a:pt x="1022859" y="1451117"/>
                      <a:pt x="1023891" y="1455245"/>
                      <a:pt x="1024407" y="1459889"/>
                    </a:cubicBezTo>
                    <a:cubicBezTo>
                      <a:pt x="1025439" y="1466596"/>
                      <a:pt x="1022859" y="1470724"/>
                      <a:pt x="1015636" y="1473304"/>
                    </a:cubicBezTo>
                    <a:cubicBezTo>
                      <a:pt x="970745" y="1493943"/>
                      <a:pt x="870646" y="1516130"/>
                      <a:pt x="817500" y="1518710"/>
                    </a:cubicBezTo>
                    <a:close/>
                    <a:moveTo>
                      <a:pt x="758163" y="1148238"/>
                    </a:moveTo>
                    <a:cubicBezTo>
                      <a:pt x="974357" y="1144627"/>
                      <a:pt x="1145146" y="976418"/>
                      <a:pt x="1145146" y="758675"/>
                    </a:cubicBezTo>
                    <a:cubicBezTo>
                      <a:pt x="1145146" y="542481"/>
                      <a:pt x="974357" y="371176"/>
                      <a:pt x="757131" y="371176"/>
                    </a:cubicBezTo>
                    <a:cubicBezTo>
                      <a:pt x="539904" y="371176"/>
                      <a:pt x="368600" y="542481"/>
                      <a:pt x="368600" y="759707"/>
                    </a:cubicBezTo>
                    <a:cubicBezTo>
                      <a:pt x="369116" y="977966"/>
                      <a:pt x="541452" y="1145659"/>
                      <a:pt x="758163" y="1148238"/>
                    </a:cubicBezTo>
                    <a:close/>
                  </a:path>
                </a:pathLst>
              </a:custGeom>
              <a:grpFill/>
              <a:ln w="51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23" name="Group 22">
                <a:extLst>
                  <a:ext uri="{FF2B5EF4-FFF2-40B4-BE49-F238E27FC236}">
                    <a16:creationId xmlns:a16="http://schemas.microsoft.com/office/drawing/2014/main" id="{1CF69320-9037-483C-B337-9C3798F9516C}"/>
                  </a:ext>
                </a:extLst>
              </p:cNvPr>
              <p:cNvGrpSpPr/>
              <p:nvPr/>
            </p:nvGrpSpPr>
            <p:grpSpPr>
              <a:xfrm>
                <a:off x="3563163" y="3556278"/>
                <a:ext cx="1218879" cy="1218879"/>
                <a:chOff x="3264582" y="1870309"/>
                <a:chExt cx="1774962" cy="1774962"/>
              </a:xfrm>
              <a:grpFill/>
            </p:grpSpPr>
            <p:sp>
              <p:nvSpPr>
                <p:cNvPr id="24" name="Freeform: Shape 23">
                  <a:extLst>
                    <a:ext uri="{FF2B5EF4-FFF2-40B4-BE49-F238E27FC236}">
                      <a16:creationId xmlns:a16="http://schemas.microsoft.com/office/drawing/2014/main" id="{E8FAEED8-8E0A-4D16-BC31-1DD02EB1FE84}"/>
                    </a:ext>
                  </a:extLst>
                </p:cNvPr>
                <p:cNvSpPr/>
                <p:nvPr/>
              </p:nvSpPr>
              <p:spPr>
                <a:xfrm>
                  <a:off x="3264582" y="1870309"/>
                  <a:ext cx="1774962" cy="1774962"/>
                </a:xfrm>
                <a:custGeom>
                  <a:avLst/>
                  <a:gdLst>
                    <a:gd name="connsiteX0" fmla="*/ 894776 w 1774962"/>
                    <a:gd name="connsiteY0" fmla="*/ 1775736 h 1774962"/>
                    <a:gd name="connsiteX1" fmla="*/ 852466 w 1774962"/>
                    <a:gd name="connsiteY1" fmla="*/ 1775736 h 1774962"/>
                    <a:gd name="connsiteX2" fmla="*/ 839567 w 1774962"/>
                    <a:gd name="connsiteY2" fmla="*/ 1764901 h 1774962"/>
                    <a:gd name="connsiteX3" fmla="*/ 819960 w 1774962"/>
                    <a:gd name="connsiteY3" fmla="*/ 1666349 h 1774962"/>
                    <a:gd name="connsiteX4" fmla="*/ 822024 w 1774962"/>
                    <a:gd name="connsiteY4" fmla="*/ 1636938 h 1774962"/>
                    <a:gd name="connsiteX5" fmla="*/ 811704 w 1774962"/>
                    <a:gd name="connsiteY5" fmla="*/ 1623523 h 1774962"/>
                    <a:gd name="connsiteX6" fmla="*/ 695093 w 1774962"/>
                    <a:gd name="connsiteY6" fmla="*/ 1601852 h 1774962"/>
                    <a:gd name="connsiteX7" fmla="*/ 680130 w 1774962"/>
                    <a:gd name="connsiteY7" fmla="*/ 1610623 h 1774962"/>
                    <a:gd name="connsiteX8" fmla="*/ 615116 w 1774962"/>
                    <a:gd name="connsiteY8" fmla="*/ 1727234 h 1774962"/>
                    <a:gd name="connsiteX9" fmla="*/ 603765 w 1774962"/>
                    <a:gd name="connsiteY9" fmla="*/ 1730330 h 1774962"/>
                    <a:gd name="connsiteX10" fmla="*/ 512953 w 1774962"/>
                    <a:gd name="connsiteY10" fmla="*/ 1694212 h 1774962"/>
                    <a:gd name="connsiteX11" fmla="*/ 507277 w 1774962"/>
                    <a:gd name="connsiteY11" fmla="*/ 1681828 h 1774962"/>
                    <a:gd name="connsiteX12" fmla="*/ 527400 w 1774962"/>
                    <a:gd name="connsiteY12" fmla="*/ 1583277 h 1774962"/>
                    <a:gd name="connsiteX13" fmla="*/ 541848 w 1774962"/>
                    <a:gd name="connsiteY13" fmla="*/ 1552834 h 1774962"/>
                    <a:gd name="connsiteX14" fmla="*/ 537720 w 1774962"/>
                    <a:gd name="connsiteY14" fmla="*/ 1539418 h 1774962"/>
                    <a:gd name="connsiteX15" fmla="*/ 435041 w 1774962"/>
                    <a:gd name="connsiteY15" fmla="*/ 1472857 h 1774962"/>
                    <a:gd name="connsiteX16" fmla="*/ 420593 w 1774962"/>
                    <a:gd name="connsiteY16" fmla="*/ 1474921 h 1774962"/>
                    <a:gd name="connsiteX17" fmla="*/ 315334 w 1774962"/>
                    <a:gd name="connsiteY17" fmla="*/ 1559026 h 1774962"/>
                    <a:gd name="connsiteX18" fmla="*/ 302950 w 1774962"/>
                    <a:gd name="connsiteY18" fmla="*/ 1557478 h 1774962"/>
                    <a:gd name="connsiteX19" fmla="*/ 233809 w 1774962"/>
                    <a:gd name="connsiteY19" fmla="*/ 1490401 h 1774962"/>
                    <a:gd name="connsiteX20" fmla="*/ 232777 w 1774962"/>
                    <a:gd name="connsiteY20" fmla="*/ 1476985 h 1774962"/>
                    <a:gd name="connsiteX21" fmla="*/ 289019 w 1774962"/>
                    <a:gd name="connsiteY21" fmla="*/ 1393397 h 1774962"/>
                    <a:gd name="connsiteX22" fmla="*/ 312754 w 1774962"/>
                    <a:gd name="connsiteY22" fmla="*/ 1371726 h 1774962"/>
                    <a:gd name="connsiteX23" fmla="*/ 314818 w 1774962"/>
                    <a:gd name="connsiteY23" fmla="*/ 1355731 h 1774962"/>
                    <a:gd name="connsiteX24" fmla="*/ 246193 w 1774962"/>
                    <a:gd name="connsiteY24" fmla="*/ 1255631 h 1774962"/>
                    <a:gd name="connsiteX25" fmla="*/ 230713 w 1774962"/>
                    <a:gd name="connsiteY25" fmla="*/ 1253051 h 1774962"/>
                    <a:gd name="connsiteX26" fmla="*/ 102751 w 1774962"/>
                    <a:gd name="connsiteY26" fmla="*/ 1289685 h 1774962"/>
                    <a:gd name="connsiteX27" fmla="*/ 91916 w 1774962"/>
                    <a:gd name="connsiteY27" fmla="*/ 1282978 h 1774962"/>
                    <a:gd name="connsiteX28" fmla="*/ 53733 w 1774962"/>
                    <a:gd name="connsiteY28" fmla="*/ 1194230 h 1774962"/>
                    <a:gd name="connsiteX29" fmla="*/ 58377 w 1774962"/>
                    <a:gd name="connsiteY29" fmla="*/ 1181330 h 1774962"/>
                    <a:gd name="connsiteX30" fmla="*/ 142481 w 1774962"/>
                    <a:gd name="connsiteY30" fmla="*/ 1125605 h 1774962"/>
                    <a:gd name="connsiteX31" fmla="*/ 173956 w 1774962"/>
                    <a:gd name="connsiteY31" fmla="*/ 1114253 h 1774962"/>
                    <a:gd name="connsiteX32" fmla="*/ 180664 w 1774962"/>
                    <a:gd name="connsiteY32" fmla="*/ 1101870 h 1774962"/>
                    <a:gd name="connsiteX33" fmla="*/ 154865 w 1774962"/>
                    <a:gd name="connsiteY33" fmla="*/ 981131 h 1774962"/>
                    <a:gd name="connsiteX34" fmla="*/ 144029 w 1774962"/>
                    <a:gd name="connsiteY34" fmla="*/ 973391 h 1774962"/>
                    <a:gd name="connsiteX35" fmla="*/ 10391 w 1774962"/>
                    <a:gd name="connsiteY35" fmla="*/ 958428 h 1774962"/>
                    <a:gd name="connsiteX36" fmla="*/ 2135 w 1774962"/>
                    <a:gd name="connsiteY36" fmla="*/ 948624 h 1774962"/>
                    <a:gd name="connsiteX37" fmla="*/ 588 w 1774962"/>
                    <a:gd name="connsiteY37" fmla="*/ 850589 h 1774962"/>
                    <a:gd name="connsiteX38" fmla="*/ 10391 w 1774962"/>
                    <a:gd name="connsiteY38" fmla="*/ 840785 h 1774962"/>
                    <a:gd name="connsiteX39" fmla="*/ 110491 w 1774962"/>
                    <a:gd name="connsiteY39" fmla="*/ 820662 h 1774962"/>
                    <a:gd name="connsiteX40" fmla="*/ 139901 w 1774962"/>
                    <a:gd name="connsiteY40" fmla="*/ 822726 h 1774962"/>
                    <a:gd name="connsiteX41" fmla="*/ 153317 w 1774962"/>
                    <a:gd name="connsiteY41" fmla="*/ 811890 h 1774962"/>
                    <a:gd name="connsiteX42" fmla="*/ 174472 w 1774962"/>
                    <a:gd name="connsiteY42" fmla="*/ 696827 h 1774962"/>
                    <a:gd name="connsiteX43" fmla="*/ 164152 w 1774962"/>
                    <a:gd name="connsiteY43" fmla="*/ 680316 h 1774962"/>
                    <a:gd name="connsiteX44" fmla="*/ 49090 w 1774962"/>
                    <a:gd name="connsiteY44" fmla="*/ 615819 h 1774962"/>
                    <a:gd name="connsiteX45" fmla="*/ 45993 w 1774962"/>
                    <a:gd name="connsiteY45" fmla="*/ 606015 h 1774962"/>
                    <a:gd name="connsiteX46" fmla="*/ 82628 w 1774962"/>
                    <a:gd name="connsiteY46" fmla="*/ 513655 h 1774962"/>
                    <a:gd name="connsiteX47" fmla="*/ 93979 w 1774962"/>
                    <a:gd name="connsiteY47" fmla="*/ 508496 h 1774962"/>
                    <a:gd name="connsiteX48" fmla="*/ 224006 w 1774962"/>
                    <a:gd name="connsiteY48" fmla="*/ 543066 h 1774962"/>
                    <a:gd name="connsiteX49" fmla="*/ 236905 w 1774962"/>
                    <a:gd name="connsiteY49" fmla="*/ 538938 h 1774962"/>
                    <a:gd name="connsiteX50" fmla="*/ 302434 w 1774962"/>
                    <a:gd name="connsiteY50" fmla="*/ 437291 h 1774962"/>
                    <a:gd name="connsiteX51" fmla="*/ 302950 w 1774962"/>
                    <a:gd name="connsiteY51" fmla="*/ 423359 h 1774962"/>
                    <a:gd name="connsiteX52" fmla="*/ 238453 w 1774962"/>
                    <a:gd name="connsiteY52" fmla="*/ 346995 h 1774962"/>
                    <a:gd name="connsiteX53" fmla="*/ 228650 w 1774962"/>
                    <a:gd name="connsiteY53" fmla="*/ 333063 h 1774962"/>
                    <a:gd name="connsiteX54" fmla="*/ 230713 w 1774962"/>
                    <a:gd name="connsiteY54" fmla="*/ 290237 h 1774962"/>
                    <a:gd name="connsiteX55" fmla="*/ 283859 w 1774962"/>
                    <a:gd name="connsiteY55" fmla="*/ 236060 h 1774962"/>
                    <a:gd name="connsiteX56" fmla="*/ 300370 w 1774962"/>
                    <a:gd name="connsiteY56" fmla="*/ 234512 h 1774962"/>
                    <a:gd name="connsiteX57" fmla="*/ 380863 w 1774962"/>
                    <a:gd name="connsiteY57" fmla="*/ 288173 h 1774962"/>
                    <a:gd name="connsiteX58" fmla="*/ 403050 w 1774962"/>
                    <a:gd name="connsiteY58" fmla="*/ 311392 h 1774962"/>
                    <a:gd name="connsiteX59" fmla="*/ 422141 w 1774962"/>
                    <a:gd name="connsiteY59" fmla="*/ 313972 h 1774962"/>
                    <a:gd name="connsiteX60" fmla="*/ 519661 w 1774962"/>
                    <a:gd name="connsiteY60" fmla="*/ 246895 h 1774962"/>
                    <a:gd name="connsiteX61" fmla="*/ 524820 w 1774962"/>
                    <a:gd name="connsiteY61" fmla="*/ 233996 h 1774962"/>
                    <a:gd name="connsiteX62" fmla="*/ 492314 w 1774962"/>
                    <a:gd name="connsiteY62" fmla="*/ 127704 h 1774962"/>
                    <a:gd name="connsiteX63" fmla="*/ 514501 w 1774962"/>
                    <a:gd name="connsiteY63" fmla="*/ 82298 h 1774962"/>
                    <a:gd name="connsiteX64" fmla="*/ 578482 w 1774962"/>
                    <a:gd name="connsiteY64" fmla="*/ 55468 h 1774962"/>
                    <a:gd name="connsiteX65" fmla="*/ 595509 w 1774962"/>
                    <a:gd name="connsiteY65" fmla="*/ 60111 h 1774962"/>
                    <a:gd name="connsiteX66" fmla="*/ 648655 w 1774962"/>
                    <a:gd name="connsiteY66" fmla="*/ 139572 h 1774962"/>
                    <a:gd name="connsiteX67" fmla="*/ 661039 w 1774962"/>
                    <a:gd name="connsiteY67" fmla="*/ 172078 h 1774962"/>
                    <a:gd name="connsiteX68" fmla="*/ 675486 w 1774962"/>
                    <a:gd name="connsiteY68" fmla="*/ 180334 h 1774962"/>
                    <a:gd name="connsiteX69" fmla="*/ 792613 w 1774962"/>
                    <a:gd name="connsiteY69" fmla="*/ 155567 h 1774962"/>
                    <a:gd name="connsiteX70" fmla="*/ 801900 w 1774962"/>
                    <a:gd name="connsiteY70" fmla="*/ 143700 h 1774962"/>
                    <a:gd name="connsiteX71" fmla="*/ 816864 w 1774962"/>
                    <a:gd name="connsiteY71" fmla="*/ 11094 h 1774962"/>
                    <a:gd name="connsiteX72" fmla="*/ 826151 w 1774962"/>
                    <a:gd name="connsiteY72" fmla="*/ 2322 h 1774962"/>
                    <a:gd name="connsiteX73" fmla="*/ 925219 w 1774962"/>
                    <a:gd name="connsiteY73" fmla="*/ 774 h 1774962"/>
                    <a:gd name="connsiteX74" fmla="*/ 934507 w 1774962"/>
                    <a:gd name="connsiteY74" fmla="*/ 10062 h 1774962"/>
                    <a:gd name="connsiteX75" fmla="*/ 954114 w 1774962"/>
                    <a:gd name="connsiteY75" fmla="*/ 111193 h 1774962"/>
                    <a:gd name="connsiteX76" fmla="*/ 952050 w 1774962"/>
                    <a:gd name="connsiteY76" fmla="*/ 140604 h 1774962"/>
                    <a:gd name="connsiteX77" fmla="*/ 962369 w 1774962"/>
                    <a:gd name="connsiteY77" fmla="*/ 152987 h 1774962"/>
                    <a:gd name="connsiteX78" fmla="*/ 1078980 w 1774962"/>
                    <a:gd name="connsiteY78" fmla="*/ 174658 h 1774962"/>
                    <a:gd name="connsiteX79" fmla="*/ 1093428 w 1774962"/>
                    <a:gd name="connsiteY79" fmla="*/ 168467 h 1774962"/>
                    <a:gd name="connsiteX80" fmla="*/ 1147089 w 1774962"/>
                    <a:gd name="connsiteY80" fmla="*/ 69399 h 1774962"/>
                    <a:gd name="connsiteX81" fmla="*/ 1192495 w 1774962"/>
                    <a:gd name="connsiteY81" fmla="*/ 54436 h 1774962"/>
                    <a:gd name="connsiteX82" fmla="*/ 1258024 w 1774962"/>
                    <a:gd name="connsiteY82" fmla="*/ 81266 h 1774962"/>
                    <a:gd name="connsiteX83" fmla="*/ 1267312 w 1774962"/>
                    <a:gd name="connsiteY83" fmla="*/ 96746 h 1774962"/>
                    <a:gd name="connsiteX84" fmla="*/ 1247705 w 1774962"/>
                    <a:gd name="connsiteY84" fmla="*/ 192718 h 1774962"/>
                    <a:gd name="connsiteX85" fmla="*/ 1233258 w 1774962"/>
                    <a:gd name="connsiteY85" fmla="*/ 224192 h 1774962"/>
                    <a:gd name="connsiteX86" fmla="*/ 1237385 w 1774962"/>
                    <a:gd name="connsiteY86" fmla="*/ 237608 h 1774962"/>
                    <a:gd name="connsiteX87" fmla="*/ 1340065 w 1774962"/>
                    <a:gd name="connsiteY87" fmla="*/ 304169 h 1774962"/>
                    <a:gd name="connsiteX88" fmla="*/ 1354512 w 1774962"/>
                    <a:gd name="connsiteY88" fmla="*/ 302621 h 1774962"/>
                    <a:gd name="connsiteX89" fmla="*/ 1459771 w 1774962"/>
                    <a:gd name="connsiteY89" fmla="*/ 218516 h 1774962"/>
                    <a:gd name="connsiteX90" fmla="*/ 1472155 w 1774962"/>
                    <a:gd name="connsiteY90" fmla="*/ 220064 h 1774962"/>
                    <a:gd name="connsiteX91" fmla="*/ 1541296 w 1774962"/>
                    <a:gd name="connsiteY91" fmla="*/ 287657 h 1774962"/>
                    <a:gd name="connsiteX92" fmla="*/ 1542328 w 1774962"/>
                    <a:gd name="connsiteY92" fmla="*/ 301073 h 1774962"/>
                    <a:gd name="connsiteX93" fmla="*/ 1485570 w 1774962"/>
                    <a:gd name="connsiteY93" fmla="*/ 385693 h 1774962"/>
                    <a:gd name="connsiteX94" fmla="*/ 1462868 w 1774962"/>
                    <a:gd name="connsiteY94" fmla="*/ 406332 h 1774962"/>
                    <a:gd name="connsiteX95" fmla="*/ 1460803 w 1774962"/>
                    <a:gd name="connsiteY95" fmla="*/ 422327 h 1774962"/>
                    <a:gd name="connsiteX96" fmla="*/ 1529428 w 1774962"/>
                    <a:gd name="connsiteY96" fmla="*/ 522427 h 1774962"/>
                    <a:gd name="connsiteX97" fmla="*/ 1544908 w 1774962"/>
                    <a:gd name="connsiteY97" fmla="*/ 525007 h 1774962"/>
                    <a:gd name="connsiteX98" fmla="*/ 1672870 w 1774962"/>
                    <a:gd name="connsiteY98" fmla="*/ 488373 h 1774962"/>
                    <a:gd name="connsiteX99" fmla="*/ 1683706 w 1774962"/>
                    <a:gd name="connsiteY99" fmla="*/ 495080 h 1774962"/>
                    <a:gd name="connsiteX100" fmla="*/ 1721888 w 1774962"/>
                    <a:gd name="connsiteY100" fmla="*/ 583828 h 1774962"/>
                    <a:gd name="connsiteX101" fmla="*/ 1717244 w 1774962"/>
                    <a:gd name="connsiteY101" fmla="*/ 596728 h 1774962"/>
                    <a:gd name="connsiteX102" fmla="*/ 1633140 w 1774962"/>
                    <a:gd name="connsiteY102" fmla="*/ 652453 h 1774962"/>
                    <a:gd name="connsiteX103" fmla="*/ 1601665 w 1774962"/>
                    <a:gd name="connsiteY103" fmla="*/ 663805 h 1774962"/>
                    <a:gd name="connsiteX104" fmla="*/ 1594958 w 1774962"/>
                    <a:gd name="connsiteY104" fmla="*/ 676188 h 1774962"/>
                    <a:gd name="connsiteX105" fmla="*/ 1620241 w 1774962"/>
                    <a:gd name="connsiteY105" fmla="*/ 795895 h 1774962"/>
                    <a:gd name="connsiteX106" fmla="*/ 1631076 w 1774962"/>
                    <a:gd name="connsiteY106" fmla="*/ 804667 h 1774962"/>
                    <a:gd name="connsiteX107" fmla="*/ 1763682 w 1774962"/>
                    <a:gd name="connsiteY107" fmla="*/ 819630 h 1774962"/>
                    <a:gd name="connsiteX108" fmla="*/ 1773486 w 1774962"/>
                    <a:gd name="connsiteY108" fmla="*/ 829950 h 1774962"/>
                    <a:gd name="connsiteX109" fmla="*/ 1775034 w 1774962"/>
                    <a:gd name="connsiteY109" fmla="*/ 927985 h 1774962"/>
                    <a:gd name="connsiteX110" fmla="*/ 1766262 w 1774962"/>
                    <a:gd name="connsiteY110" fmla="*/ 937273 h 1774962"/>
                    <a:gd name="connsiteX111" fmla="*/ 1663583 w 1774962"/>
                    <a:gd name="connsiteY111" fmla="*/ 957396 h 1774962"/>
                    <a:gd name="connsiteX112" fmla="*/ 1636752 w 1774962"/>
                    <a:gd name="connsiteY112" fmla="*/ 955332 h 1774962"/>
                    <a:gd name="connsiteX113" fmla="*/ 1622304 w 1774962"/>
                    <a:gd name="connsiteY113" fmla="*/ 966684 h 1774962"/>
                    <a:gd name="connsiteX114" fmla="*/ 1601149 w 1774962"/>
                    <a:gd name="connsiteY114" fmla="*/ 1081746 h 1774962"/>
                    <a:gd name="connsiteX115" fmla="*/ 1610437 w 1774962"/>
                    <a:gd name="connsiteY115" fmla="*/ 1097742 h 1774962"/>
                    <a:gd name="connsiteX116" fmla="*/ 1726016 w 1774962"/>
                    <a:gd name="connsiteY116" fmla="*/ 1161723 h 1774962"/>
                    <a:gd name="connsiteX117" fmla="*/ 1729112 w 1774962"/>
                    <a:gd name="connsiteY117" fmla="*/ 1174107 h 1774962"/>
                    <a:gd name="connsiteX118" fmla="*/ 1693509 w 1774962"/>
                    <a:gd name="connsiteY118" fmla="*/ 1263887 h 1774962"/>
                    <a:gd name="connsiteX119" fmla="*/ 1681126 w 1774962"/>
                    <a:gd name="connsiteY119" fmla="*/ 1270078 h 1774962"/>
                    <a:gd name="connsiteX120" fmla="*/ 1581542 w 1774962"/>
                    <a:gd name="connsiteY120" fmla="*/ 1249955 h 1774962"/>
                    <a:gd name="connsiteX121" fmla="*/ 1552647 w 1774962"/>
                    <a:gd name="connsiteY121" fmla="*/ 1236024 h 1774962"/>
                    <a:gd name="connsiteX122" fmla="*/ 1538200 w 1774962"/>
                    <a:gd name="connsiteY122" fmla="*/ 1240152 h 1774962"/>
                    <a:gd name="connsiteX123" fmla="*/ 1473187 w 1774962"/>
                    <a:gd name="connsiteY123" fmla="*/ 1340767 h 1774962"/>
                    <a:gd name="connsiteX124" fmla="*/ 1475251 w 1774962"/>
                    <a:gd name="connsiteY124" fmla="*/ 1358310 h 1774962"/>
                    <a:gd name="connsiteX125" fmla="*/ 1535104 w 1774962"/>
                    <a:gd name="connsiteY125" fmla="*/ 1430031 h 1774962"/>
                    <a:gd name="connsiteX126" fmla="*/ 1545424 w 1774962"/>
                    <a:gd name="connsiteY126" fmla="*/ 1444995 h 1774962"/>
                    <a:gd name="connsiteX127" fmla="*/ 1542844 w 1774962"/>
                    <a:gd name="connsiteY127" fmla="*/ 1489885 h 1774962"/>
                    <a:gd name="connsiteX128" fmla="*/ 1491246 w 1774962"/>
                    <a:gd name="connsiteY128" fmla="*/ 1542514 h 1774962"/>
                    <a:gd name="connsiteX129" fmla="*/ 1472155 w 1774962"/>
                    <a:gd name="connsiteY129" fmla="*/ 1544062 h 1774962"/>
                    <a:gd name="connsiteX130" fmla="*/ 1393726 w 1774962"/>
                    <a:gd name="connsiteY130" fmla="*/ 1491948 h 1774962"/>
                    <a:gd name="connsiteX131" fmla="*/ 1369992 w 1774962"/>
                    <a:gd name="connsiteY131" fmla="*/ 1466666 h 1774962"/>
                    <a:gd name="connsiteX132" fmla="*/ 1352964 w 1774962"/>
                    <a:gd name="connsiteY132" fmla="*/ 1464602 h 1774962"/>
                    <a:gd name="connsiteX133" fmla="*/ 1254413 w 1774962"/>
                    <a:gd name="connsiteY133" fmla="*/ 1532711 h 1774962"/>
                    <a:gd name="connsiteX134" fmla="*/ 1248737 w 1774962"/>
                    <a:gd name="connsiteY134" fmla="*/ 1544578 h 1774962"/>
                    <a:gd name="connsiteX135" fmla="*/ 1284339 w 1774962"/>
                    <a:gd name="connsiteY135" fmla="*/ 1662221 h 1774962"/>
                    <a:gd name="connsiteX136" fmla="*/ 1268860 w 1774962"/>
                    <a:gd name="connsiteY136" fmla="*/ 1693180 h 1774962"/>
                    <a:gd name="connsiteX137" fmla="*/ 1195591 w 1774962"/>
                    <a:gd name="connsiteY137" fmla="*/ 1724654 h 1774962"/>
                    <a:gd name="connsiteX138" fmla="*/ 1178564 w 1774962"/>
                    <a:gd name="connsiteY138" fmla="*/ 1719495 h 1774962"/>
                    <a:gd name="connsiteX139" fmla="*/ 1125418 w 1774962"/>
                    <a:gd name="connsiteY139" fmla="*/ 1640034 h 1774962"/>
                    <a:gd name="connsiteX140" fmla="*/ 1113035 w 1774962"/>
                    <a:gd name="connsiteY140" fmla="*/ 1606496 h 1774962"/>
                    <a:gd name="connsiteX141" fmla="*/ 1099619 w 1774962"/>
                    <a:gd name="connsiteY141" fmla="*/ 1599272 h 1774962"/>
                    <a:gd name="connsiteX142" fmla="*/ 979913 w 1774962"/>
                    <a:gd name="connsiteY142" fmla="*/ 1624555 h 1774962"/>
                    <a:gd name="connsiteX143" fmla="*/ 972173 w 1774962"/>
                    <a:gd name="connsiteY143" fmla="*/ 1634874 h 1774962"/>
                    <a:gd name="connsiteX144" fmla="*/ 957726 w 1774962"/>
                    <a:gd name="connsiteY144" fmla="*/ 1767481 h 1774962"/>
                    <a:gd name="connsiteX145" fmla="*/ 945858 w 1774962"/>
                    <a:gd name="connsiteY145" fmla="*/ 1777800 h 1774962"/>
                    <a:gd name="connsiteX146" fmla="*/ 895808 w 1774962"/>
                    <a:gd name="connsiteY146" fmla="*/ 1779864 h 1774962"/>
                    <a:gd name="connsiteX147" fmla="*/ 894776 w 1774962"/>
                    <a:gd name="connsiteY147" fmla="*/ 1775736 h 1774962"/>
                    <a:gd name="connsiteX148" fmla="*/ 890648 w 1774962"/>
                    <a:gd name="connsiteY148" fmla="*/ 1454798 h 1774962"/>
                    <a:gd name="connsiteX149" fmla="*/ 1452548 w 1774962"/>
                    <a:gd name="connsiteY149" fmla="*/ 884127 h 1774962"/>
                    <a:gd name="connsiteX150" fmla="*/ 881361 w 1774962"/>
                    <a:gd name="connsiteY150" fmla="*/ 322228 h 1774962"/>
                    <a:gd name="connsiteX151" fmla="*/ 320494 w 1774962"/>
                    <a:gd name="connsiteY151" fmla="*/ 893415 h 1774962"/>
                    <a:gd name="connsiteX152" fmla="*/ 890648 w 1774962"/>
                    <a:gd name="connsiteY152" fmla="*/ 1454798 h 17749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</a:cxnLst>
                  <a:rect l="l" t="t" r="r" b="b"/>
                  <a:pathLst>
                    <a:path w="1774962" h="1774962">
                      <a:moveTo>
                        <a:pt x="894776" y="1775736"/>
                      </a:moveTo>
                      <a:cubicBezTo>
                        <a:pt x="880845" y="1775736"/>
                        <a:pt x="866397" y="1775736"/>
                        <a:pt x="852466" y="1775736"/>
                      </a:cubicBezTo>
                      <a:cubicBezTo>
                        <a:pt x="844726" y="1775736"/>
                        <a:pt x="840599" y="1772640"/>
                        <a:pt x="839567" y="1764901"/>
                      </a:cubicBezTo>
                      <a:cubicBezTo>
                        <a:pt x="833375" y="1731878"/>
                        <a:pt x="826151" y="1699371"/>
                        <a:pt x="819960" y="1666349"/>
                      </a:cubicBezTo>
                      <a:cubicBezTo>
                        <a:pt x="817896" y="1656545"/>
                        <a:pt x="820992" y="1646742"/>
                        <a:pt x="822024" y="1636938"/>
                      </a:cubicBezTo>
                      <a:cubicBezTo>
                        <a:pt x="823056" y="1628682"/>
                        <a:pt x="820992" y="1624555"/>
                        <a:pt x="811704" y="1623523"/>
                      </a:cubicBezTo>
                      <a:cubicBezTo>
                        <a:pt x="772490" y="1619395"/>
                        <a:pt x="733275" y="1612171"/>
                        <a:pt x="695093" y="1601852"/>
                      </a:cubicBezTo>
                      <a:cubicBezTo>
                        <a:pt x="686837" y="1599788"/>
                        <a:pt x="682194" y="1602368"/>
                        <a:pt x="680130" y="1610623"/>
                      </a:cubicBezTo>
                      <a:cubicBezTo>
                        <a:pt x="669294" y="1655513"/>
                        <a:pt x="636788" y="1688020"/>
                        <a:pt x="615116" y="1727234"/>
                      </a:cubicBezTo>
                      <a:cubicBezTo>
                        <a:pt x="612537" y="1731878"/>
                        <a:pt x="608409" y="1731878"/>
                        <a:pt x="603765" y="1730330"/>
                      </a:cubicBezTo>
                      <a:cubicBezTo>
                        <a:pt x="572807" y="1720011"/>
                        <a:pt x="542364" y="1707627"/>
                        <a:pt x="512953" y="1694212"/>
                      </a:cubicBezTo>
                      <a:cubicBezTo>
                        <a:pt x="506761" y="1691632"/>
                        <a:pt x="506245" y="1686988"/>
                        <a:pt x="507277" y="1681828"/>
                      </a:cubicBezTo>
                      <a:cubicBezTo>
                        <a:pt x="513985" y="1648806"/>
                        <a:pt x="519661" y="1615783"/>
                        <a:pt x="527400" y="1583277"/>
                      </a:cubicBezTo>
                      <a:cubicBezTo>
                        <a:pt x="529980" y="1572441"/>
                        <a:pt x="536172" y="1562637"/>
                        <a:pt x="541848" y="1552834"/>
                      </a:cubicBezTo>
                      <a:cubicBezTo>
                        <a:pt x="545460" y="1546642"/>
                        <a:pt x="544428" y="1543030"/>
                        <a:pt x="537720" y="1539418"/>
                      </a:cubicBezTo>
                      <a:cubicBezTo>
                        <a:pt x="501601" y="1520327"/>
                        <a:pt x="467547" y="1497624"/>
                        <a:pt x="435041" y="1472857"/>
                      </a:cubicBezTo>
                      <a:cubicBezTo>
                        <a:pt x="429365" y="1468214"/>
                        <a:pt x="425237" y="1468214"/>
                        <a:pt x="420593" y="1474921"/>
                      </a:cubicBezTo>
                      <a:cubicBezTo>
                        <a:pt x="393762" y="1512588"/>
                        <a:pt x="350936" y="1531163"/>
                        <a:pt x="315334" y="1559026"/>
                      </a:cubicBezTo>
                      <a:cubicBezTo>
                        <a:pt x="310690" y="1562637"/>
                        <a:pt x="307078" y="1561090"/>
                        <a:pt x="302950" y="1557478"/>
                      </a:cubicBezTo>
                      <a:cubicBezTo>
                        <a:pt x="278699" y="1536323"/>
                        <a:pt x="255996" y="1513104"/>
                        <a:pt x="233809" y="1490401"/>
                      </a:cubicBezTo>
                      <a:cubicBezTo>
                        <a:pt x="229682" y="1485757"/>
                        <a:pt x="229165" y="1482145"/>
                        <a:pt x="232777" y="1476985"/>
                      </a:cubicBezTo>
                      <a:cubicBezTo>
                        <a:pt x="251352" y="1449122"/>
                        <a:pt x="269928" y="1421260"/>
                        <a:pt x="289019" y="1393397"/>
                      </a:cubicBezTo>
                      <a:cubicBezTo>
                        <a:pt x="295210" y="1384625"/>
                        <a:pt x="304498" y="1378949"/>
                        <a:pt x="312754" y="1371726"/>
                      </a:cubicBezTo>
                      <a:cubicBezTo>
                        <a:pt x="318946" y="1366566"/>
                        <a:pt x="319978" y="1361922"/>
                        <a:pt x="314818" y="1355731"/>
                      </a:cubicBezTo>
                      <a:cubicBezTo>
                        <a:pt x="289535" y="1324256"/>
                        <a:pt x="266316" y="1291233"/>
                        <a:pt x="246193" y="1255631"/>
                      </a:cubicBezTo>
                      <a:cubicBezTo>
                        <a:pt x="241549" y="1247375"/>
                        <a:pt x="236905" y="1248923"/>
                        <a:pt x="230713" y="1253051"/>
                      </a:cubicBezTo>
                      <a:cubicBezTo>
                        <a:pt x="191499" y="1277302"/>
                        <a:pt x="145577" y="1277818"/>
                        <a:pt x="102751" y="1289685"/>
                      </a:cubicBezTo>
                      <a:cubicBezTo>
                        <a:pt x="97075" y="1291233"/>
                        <a:pt x="93979" y="1288137"/>
                        <a:pt x="91916" y="1282978"/>
                      </a:cubicBezTo>
                      <a:cubicBezTo>
                        <a:pt x="77984" y="1254083"/>
                        <a:pt x="65085" y="1224156"/>
                        <a:pt x="53733" y="1194230"/>
                      </a:cubicBezTo>
                      <a:cubicBezTo>
                        <a:pt x="51669" y="1188038"/>
                        <a:pt x="53217" y="1184426"/>
                        <a:pt x="58377" y="1181330"/>
                      </a:cubicBezTo>
                      <a:cubicBezTo>
                        <a:pt x="86240" y="1162755"/>
                        <a:pt x="113587" y="1143664"/>
                        <a:pt x="142481" y="1125605"/>
                      </a:cubicBezTo>
                      <a:cubicBezTo>
                        <a:pt x="151769" y="1119929"/>
                        <a:pt x="163120" y="1117349"/>
                        <a:pt x="173956" y="1114253"/>
                      </a:cubicBezTo>
                      <a:cubicBezTo>
                        <a:pt x="180664" y="1112189"/>
                        <a:pt x="182727" y="1109093"/>
                        <a:pt x="180664" y="1101870"/>
                      </a:cubicBezTo>
                      <a:cubicBezTo>
                        <a:pt x="168796" y="1062139"/>
                        <a:pt x="160541" y="1021893"/>
                        <a:pt x="154865" y="981131"/>
                      </a:cubicBezTo>
                      <a:cubicBezTo>
                        <a:pt x="153833" y="974423"/>
                        <a:pt x="150737" y="972359"/>
                        <a:pt x="144029" y="973391"/>
                      </a:cubicBezTo>
                      <a:cubicBezTo>
                        <a:pt x="98107" y="981131"/>
                        <a:pt x="54765" y="963588"/>
                        <a:pt x="10391" y="958428"/>
                      </a:cubicBezTo>
                      <a:cubicBezTo>
                        <a:pt x="4715" y="957912"/>
                        <a:pt x="2652" y="954300"/>
                        <a:pt x="2135" y="948624"/>
                      </a:cubicBezTo>
                      <a:cubicBezTo>
                        <a:pt x="-960" y="916118"/>
                        <a:pt x="72" y="883611"/>
                        <a:pt x="588" y="850589"/>
                      </a:cubicBezTo>
                      <a:cubicBezTo>
                        <a:pt x="588" y="844397"/>
                        <a:pt x="4715" y="841817"/>
                        <a:pt x="10391" y="840785"/>
                      </a:cubicBezTo>
                      <a:cubicBezTo>
                        <a:pt x="43930" y="834077"/>
                        <a:pt x="76952" y="827370"/>
                        <a:pt x="110491" y="820662"/>
                      </a:cubicBezTo>
                      <a:cubicBezTo>
                        <a:pt x="120294" y="818598"/>
                        <a:pt x="130098" y="821694"/>
                        <a:pt x="139901" y="822726"/>
                      </a:cubicBezTo>
                      <a:cubicBezTo>
                        <a:pt x="148157" y="823758"/>
                        <a:pt x="152285" y="820662"/>
                        <a:pt x="153317" y="811890"/>
                      </a:cubicBezTo>
                      <a:cubicBezTo>
                        <a:pt x="157445" y="773192"/>
                        <a:pt x="164668" y="734494"/>
                        <a:pt x="174472" y="696827"/>
                      </a:cubicBezTo>
                      <a:cubicBezTo>
                        <a:pt x="177052" y="687024"/>
                        <a:pt x="173440" y="682380"/>
                        <a:pt x="164152" y="680316"/>
                      </a:cubicBezTo>
                      <a:cubicBezTo>
                        <a:pt x="120294" y="668965"/>
                        <a:pt x="87272" y="636974"/>
                        <a:pt x="49090" y="615819"/>
                      </a:cubicBezTo>
                      <a:cubicBezTo>
                        <a:pt x="44961" y="613755"/>
                        <a:pt x="44961" y="610143"/>
                        <a:pt x="45993" y="606015"/>
                      </a:cubicBezTo>
                      <a:cubicBezTo>
                        <a:pt x="56313" y="574541"/>
                        <a:pt x="69212" y="544098"/>
                        <a:pt x="82628" y="513655"/>
                      </a:cubicBezTo>
                      <a:cubicBezTo>
                        <a:pt x="85208" y="507980"/>
                        <a:pt x="89336" y="506948"/>
                        <a:pt x="93979" y="508496"/>
                      </a:cubicBezTo>
                      <a:cubicBezTo>
                        <a:pt x="137322" y="519847"/>
                        <a:pt x="183760" y="518815"/>
                        <a:pt x="224006" y="543066"/>
                      </a:cubicBezTo>
                      <a:cubicBezTo>
                        <a:pt x="230713" y="547194"/>
                        <a:pt x="233809" y="544614"/>
                        <a:pt x="236905" y="538938"/>
                      </a:cubicBezTo>
                      <a:cubicBezTo>
                        <a:pt x="255996" y="503336"/>
                        <a:pt x="278183" y="469281"/>
                        <a:pt x="302434" y="437291"/>
                      </a:cubicBezTo>
                      <a:cubicBezTo>
                        <a:pt x="305530" y="433163"/>
                        <a:pt x="310690" y="428519"/>
                        <a:pt x="302950" y="423359"/>
                      </a:cubicBezTo>
                      <a:cubicBezTo>
                        <a:pt x="273540" y="404268"/>
                        <a:pt x="258576" y="373826"/>
                        <a:pt x="238453" y="346995"/>
                      </a:cubicBezTo>
                      <a:cubicBezTo>
                        <a:pt x="234841" y="342351"/>
                        <a:pt x="232262" y="337707"/>
                        <a:pt x="228650" y="333063"/>
                      </a:cubicBezTo>
                      <a:cubicBezTo>
                        <a:pt x="212654" y="310360"/>
                        <a:pt x="212138" y="309844"/>
                        <a:pt x="230713" y="290237"/>
                      </a:cubicBezTo>
                      <a:cubicBezTo>
                        <a:pt x="248257" y="271662"/>
                        <a:pt x="266316" y="254119"/>
                        <a:pt x="283859" y="236060"/>
                      </a:cubicBezTo>
                      <a:cubicBezTo>
                        <a:pt x="289535" y="230384"/>
                        <a:pt x="294179" y="229868"/>
                        <a:pt x="300370" y="234512"/>
                      </a:cubicBezTo>
                      <a:cubicBezTo>
                        <a:pt x="327201" y="252571"/>
                        <a:pt x="354032" y="270114"/>
                        <a:pt x="380863" y="288173"/>
                      </a:cubicBezTo>
                      <a:cubicBezTo>
                        <a:pt x="390150" y="294365"/>
                        <a:pt x="396342" y="303137"/>
                        <a:pt x="403050" y="311392"/>
                      </a:cubicBezTo>
                      <a:cubicBezTo>
                        <a:pt x="408726" y="319132"/>
                        <a:pt x="413885" y="320680"/>
                        <a:pt x="422141" y="313972"/>
                      </a:cubicBezTo>
                      <a:cubicBezTo>
                        <a:pt x="452584" y="288689"/>
                        <a:pt x="485606" y="266502"/>
                        <a:pt x="519661" y="246895"/>
                      </a:cubicBezTo>
                      <a:cubicBezTo>
                        <a:pt x="524820" y="243799"/>
                        <a:pt x="529464" y="240703"/>
                        <a:pt x="524820" y="233996"/>
                      </a:cubicBezTo>
                      <a:cubicBezTo>
                        <a:pt x="502633" y="202005"/>
                        <a:pt x="501086" y="163823"/>
                        <a:pt x="492314" y="127704"/>
                      </a:cubicBezTo>
                      <a:cubicBezTo>
                        <a:pt x="484574" y="96230"/>
                        <a:pt x="485606" y="96746"/>
                        <a:pt x="514501" y="82298"/>
                      </a:cubicBezTo>
                      <a:cubicBezTo>
                        <a:pt x="535140" y="71979"/>
                        <a:pt x="557327" y="64239"/>
                        <a:pt x="578482" y="55468"/>
                      </a:cubicBezTo>
                      <a:cubicBezTo>
                        <a:pt x="586222" y="52372"/>
                        <a:pt x="590866" y="52888"/>
                        <a:pt x="595509" y="60111"/>
                      </a:cubicBezTo>
                      <a:cubicBezTo>
                        <a:pt x="613053" y="86942"/>
                        <a:pt x="630596" y="113257"/>
                        <a:pt x="648655" y="139572"/>
                      </a:cubicBezTo>
                      <a:cubicBezTo>
                        <a:pt x="655363" y="149375"/>
                        <a:pt x="657427" y="160727"/>
                        <a:pt x="661039" y="172078"/>
                      </a:cubicBezTo>
                      <a:cubicBezTo>
                        <a:pt x="663618" y="180334"/>
                        <a:pt x="667230" y="182914"/>
                        <a:pt x="675486" y="180334"/>
                      </a:cubicBezTo>
                      <a:cubicBezTo>
                        <a:pt x="713668" y="168983"/>
                        <a:pt x="752882" y="160727"/>
                        <a:pt x="792613" y="155567"/>
                      </a:cubicBezTo>
                      <a:cubicBezTo>
                        <a:pt x="800352" y="154535"/>
                        <a:pt x="802932" y="151439"/>
                        <a:pt x="801900" y="143700"/>
                      </a:cubicBezTo>
                      <a:cubicBezTo>
                        <a:pt x="795193" y="98294"/>
                        <a:pt x="811704" y="55468"/>
                        <a:pt x="816864" y="11094"/>
                      </a:cubicBezTo>
                      <a:cubicBezTo>
                        <a:pt x="817380" y="5934"/>
                        <a:pt x="820476" y="2838"/>
                        <a:pt x="826151" y="2322"/>
                      </a:cubicBezTo>
                      <a:cubicBezTo>
                        <a:pt x="859174" y="-1290"/>
                        <a:pt x="892196" y="258"/>
                        <a:pt x="925219" y="774"/>
                      </a:cubicBezTo>
                      <a:cubicBezTo>
                        <a:pt x="930895" y="774"/>
                        <a:pt x="933475" y="4902"/>
                        <a:pt x="934507" y="10062"/>
                      </a:cubicBezTo>
                      <a:cubicBezTo>
                        <a:pt x="941214" y="43600"/>
                        <a:pt x="948438" y="77139"/>
                        <a:pt x="954114" y="111193"/>
                      </a:cubicBezTo>
                      <a:cubicBezTo>
                        <a:pt x="955662" y="120481"/>
                        <a:pt x="953082" y="130800"/>
                        <a:pt x="952050" y="140604"/>
                      </a:cubicBezTo>
                      <a:cubicBezTo>
                        <a:pt x="951018" y="148343"/>
                        <a:pt x="954114" y="151955"/>
                        <a:pt x="962369" y="152987"/>
                      </a:cubicBezTo>
                      <a:cubicBezTo>
                        <a:pt x="1001584" y="157115"/>
                        <a:pt x="1040798" y="164339"/>
                        <a:pt x="1078980" y="174658"/>
                      </a:cubicBezTo>
                      <a:cubicBezTo>
                        <a:pt x="1085172" y="176206"/>
                        <a:pt x="1091364" y="176722"/>
                        <a:pt x="1093428" y="168467"/>
                      </a:cubicBezTo>
                      <a:cubicBezTo>
                        <a:pt x="1101683" y="130284"/>
                        <a:pt x="1127482" y="101390"/>
                        <a:pt x="1147089" y="69399"/>
                      </a:cubicBezTo>
                      <a:cubicBezTo>
                        <a:pt x="1162569" y="43084"/>
                        <a:pt x="1163601" y="43600"/>
                        <a:pt x="1192495" y="54436"/>
                      </a:cubicBezTo>
                      <a:cubicBezTo>
                        <a:pt x="1214682" y="62691"/>
                        <a:pt x="1236353" y="71979"/>
                        <a:pt x="1258024" y="81266"/>
                      </a:cubicBezTo>
                      <a:cubicBezTo>
                        <a:pt x="1265764" y="84362"/>
                        <a:pt x="1268860" y="88490"/>
                        <a:pt x="1267312" y="96746"/>
                      </a:cubicBezTo>
                      <a:cubicBezTo>
                        <a:pt x="1260604" y="128736"/>
                        <a:pt x="1254928" y="160727"/>
                        <a:pt x="1247705" y="192718"/>
                      </a:cubicBezTo>
                      <a:cubicBezTo>
                        <a:pt x="1245125" y="203553"/>
                        <a:pt x="1238417" y="213873"/>
                        <a:pt x="1233258" y="224192"/>
                      </a:cubicBezTo>
                      <a:cubicBezTo>
                        <a:pt x="1229646" y="230384"/>
                        <a:pt x="1230678" y="233996"/>
                        <a:pt x="1237385" y="237608"/>
                      </a:cubicBezTo>
                      <a:cubicBezTo>
                        <a:pt x="1273504" y="256699"/>
                        <a:pt x="1307558" y="279402"/>
                        <a:pt x="1340065" y="304169"/>
                      </a:cubicBezTo>
                      <a:cubicBezTo>
                        <a:pt x="1345741" y="308812"/>
                        <a:pt x="1349868" y="309328"/>
                        <a:pt x="1354512" y="302621"/>
                      </a:cubicBezTo>
                      <a:cubicBezTo>
                        <a:pt x="1381343" y="264954"/>
                        <a:pt x="1424169" y="246379"/>
                        <a:pt x="1459771" y="218516"/>
                      </a:cubicBezTo>
                      <a:cubicBezTo>
                        <a:pt x="1464415" y="214905"/>
                        <a:pt x="1468027" y="216452"/>
                        <a:pt x="1472155" y="220064"/>
                      </a:cubicBezTo>
                      <a:cubicBezTo>
                        <a:pt x="1496406" y="241219"/>
                        <a:pt x="1519109" y="264438"/>
                        <a:pt x="1541296" y="287657"/>
                      </a:cubicBezTo>
                      <a:cubicBezTo>
                        <a:pt x="1545424" y="292301"/>
                        <a:pt x="1545940" y="296429"/>
                        <a:pt x="1542328" y="301073"/>
                      </a:cubicBezTo>
                      <a:cubicBezTo>
                        <a:pt x="1523237" y="329452"/>
                        <a:pt x="1505177" y="357830"/>
                        <a:pt x="1485570" y="385693"/>
                      </a:cubicBezTo>
                      <a:cubicBezTo>
                        <a:pt x="1479895" y="393949"/>
                        <a:pt x="1470607" y="400140"/>
                        <a:pt x="1462868" y="406332"/>
                      </a:cubicBezTo>
                      <a:cubicBezTo>
                        <a:pt x="1456676" y="411492"/>
                        <a:pt x="1455644" y="416136"/>
                        <a:pt x="1460803" y="422327"/>
                      </a:cubicBezTo>
                      <a:cubicBezTo>
                        <a:pt x="1486086" y="453802"/>
                        <a:pt x="1509305" y="487341"/>
                        <a:pt x="1529428" y="522427"/>
                      </a:cubicBezTo>
                      <a:cubicBezTo>
                        <a:pt x="1534072" y="530167"/>
                        <a:pt x="1538716" y="529135"/>
                        <a:pt x="1544908" y="525007"/>
                      </a:cubicBezTo>
                      <a:cubicBezTo>
                        <a:pt x="1584122" y="500756"/>
                        <a:pt x="1630044" y="500240"/>
                        <a:pt x="1672870" y="488373"/>
                      </a:cubicBezTo>
                      <a:cubicBezTo>
                        <a:pt x="1678546" y="486825"/>
                        <a:pt x="1681642" y="489921"/>
                        <a:pt x="1683706" y="495080"/>
                      </a:cubicBezTo>
                      <a:cubicBezTo>
                        <a:pt x="1697637" y="523975"/>
                        <a:pt x="1710537" y="553902"/>
                        <a:pt x="1721888" y="583828"/>
                      </a:cubicBezTo>
                      <a:cubicBezTo>
                        <a:pt x="1723952" y="590020"/>
                        <a:pt x="1722404" y="593632"/>
                        <a:pt x="1717244" y="596728"/>
                      </a:cubicBezTo>
                      <a:cubicBezTo>
                        <a:pt x="1689381" y="615303"/>
                        <a:pt x="1662035" y="634394"/>
                        <a:pt x="1633140" y="652453"/>
                      </a:cubicBezTo>
                      <a:cubicBezTo>
                        <a:pt x="1623852" y="658129"/>
                        <a:pt x="1612501" y="660709"/>
                        <a:pt x="1601665" y="663805"/>
                      </a:cubicBezTo>
                      <a:cubicBezTo>
                        <a:pt x="1594958" y="665869"/>
                        <a:pt x="1592894" y="668965"/>
                        <a:pt x="1594958" y="676188"/>
                      </a:cubicBezTo>
                      <a:cubicBezTo>
                        <a:pt x="1606309" y="715403"/>
                        <a:pt x="1615081" y="755133"/>
                        <a:pt x="1620241" y="795895"/>
                      </a:cubicBezTo>
                      <a:cubicBezTo>
                        <a:pt x="1621272" y="803119"/>
                        <a:pt x="1624368" y="805699"/>
                        <a:pt x="1631076" y="804667"/>
                      </a:cubicBezTo>
                      <a:cubicBezTo>
                        <a:pt x="1676482" y="797959"/>
                        <a:pt x="1719308" y="814470"/>
                        <a:pt x="1763682" y="819630"/>
                      </a:cubicBezTo>
                      <a:cubicBezTo>
                        <a:pt x="1769874" y="820146"/>
                        <a:pt x="1772454" y="823758"/>
                        <a:pt x="1773486" y="829950"/>
                      </a:cubicBezTo>
                      <a:cubicBezTo>
                        <a:pt x="1776582" y="862456"/>
                        <a:pt x="1775034" y="895479"/>
                        <a:pt x="1775034" y="927985"/>
                      </a:cubicBezTo>
                      <a:cubicBezTo>
                        <a:pt x="1775034" y="933661"/>
                        <a:pt x="1771422" y="936241"/>
                        <a:pt x="1766262" y="937273"/>
                      </a:cubicBezTo>
                      <a:cubicBezTo>
                        <a:pt x="1732207" y="943981"/>
                        <a:pt x="1698153" y="951204"/>
                        <a:pt x="1663583" y="957396"/>
                      </a:cubicBezTo>
                      <a:cubicBezTo>
                        <a:pt x="1654811" y="958944"/>
                        <a:pt x="1645523" y="956364"/>
                        <a:pt x="1636752" y="955332"/>
                      </a:cubicBezTo>
                      <a:cubicBezTo>
                        <a:pt x="1627980" y="954300"/>
                        <a:pt x="1623336" y="956364"/>
                        <a:pt x="1622304" y="966684"/>
                      </a:cubicBezTo>
                      <a:cubicBezTo>
                        <a:pt x="1618177" y="1005382"/>
                        <a:pt x="1610953" y="1044080"/>
                        <a:pt x="1601149" y="1081746"/>
                      </a:cubicBezTo>
                      <a:cubicBezTo>
                        <a:pt x="1598569" y="1091034"/>
                        <a:pt x="1601665" y="1095678"/>
                        <a:pt x="1610437" y="1097742"/>
                      </a:cubicBezTo>
                      <a:cubicBezTo>
                        <a:pt x="1654811" y="1108577"/>
                        <a:pt x="1687318" y="1140568"/>
                        <a:pt x="1726016" y="1161723"/>
                      </a:cubicBezTo>
                      <a:cubicBezTo>
                        <a:pt x="1731176" y="1164819"/>
                        <a:pt x="1731176" y="1168947"/>
                        <a:pt x="1729112" y="1174107"/>
                      </a:cubicBezTo>
                      <a:cubicBezTo>
                        <a:pt x="1718792" y="1204549"/>
                        <a:pt x="1706409" y="1234476"/>
                        <a:pt x="1693509" y="1263887"/>
                      </a:cubicBezTo>
                      <a:cubicBezTo>
                        <a:pt x="1690929" y="1269562"/>
                        <a:pt x="1687318" y="1271626"/>
                        <a:pt x="1681126" y="1270078"/>
                      </a:cubicBezTo>
                      <a:cubicBezTo>
                        <a:pt x="1648103" y="1263371"/>
                        <a:pt x="1614565" y="1257179"/>
                        <a:pt x="1581542" y="1249955"/>
                      </a:cubicBezTo>
                      <a:cubicBezTo>
                        <a:pt x="1571223" y="1247375"/>
                        <a:pt x="1561935" y="1241184"/>
                        <a:pt x="1552647" y="1236024"/>
                      </a:cubicBezTo>
                      <a:cubicBezTo>
                        <a:pt x="1545940" y="1232412"/>
                        <a:pt x="1542328" y="1232928"/>
                        <a:pt x="1538200" y="1240152"/>
                      </a:cubicBezTo>
                      <a:cubicBezTo>
                        <a:pt x="1519109" y="1275238"/>
                        <a:pt x="1497954" y="1309293"/>
                        <a:pt x="1473187" y="1340767"/>
                      </a:cubicBezTo>
                      <a:cubicBezTo>
                        <a:pt x="1467511" y="1347991"/>
                        <a:pt x="1466479" y="1352635"/>
                        <a:pt x="1475251" y="1358310"/>
                      </a:cubicBezTo>
                      <a:cubicBezTo>
                        <a:pt x="1502598" y="1375854"/>
                        <a:pt x="1516013" y="1405264"/>
                        <a:pt x="1535104" y="1430031"/>
                      </a:cubicBezTo>
                      <a:cubicBezTo>
                        <a:pt x="1538716" y="1434675"/>
                        <a:pt x="1541812" y="1439835"/>
                        <a:pt x="1545424" y="1444995"/>
                      </a:cubicBezTo>
                      <a:cubicBezTo>
                        <a:pt x="1566063" y="1474921"/>
                        <a:pt x="1565031" y="1464602"/>
                        <a:pt x="1542844" y="1489885"/>
                      </a:cubicBezTo>
                      <a:cubicBezTo>
                        <a:pt x="1526849" y="1508460"/>
                        <a:pt x="1508273" y="1524971"/>
                        <a:pt x="1491246" y="1542514"/>
                      </a:cubicBezTo>
                      <a:cubicBezTo>
                        <a:pt x="1485054" y="1549222"/>
                        <a:pt x="1479895" y="1549222"/>
                        <a:pt x="1472155" y="1544062"/>
                      </a:cubicBezTo>
                      <a:cubicBezTo>
                        <a:pt x="1446356" y="1526519"/>
                        <a:pt x="1420041" y="1508976"/>
                        <a:pt x="1393726" y="1491948"/>
                      </a:cubicBezTo>
                      <a:cubicBezTo>
                        <a:pt x="1383923" y="1485241"/>
                        <a:pt x="1377215" y="1475437"/>
                        <a:pt x="1369992" y="1466666"/>
                      </a:cubicBezTo>
                      <a:cubicBezTo>
                        <a:pt x="1364316" y="1459958"/>
                        <a:pt x="1359672" y="1458926"/>
                        <a:pt x="1352964" y="1464602"/>
                      </a:cubicBezTo>
                      <a:cubicBezTo>
                        <a:pt x="1322005" y="1489885"/>
                        <a:pt x="1288983" y="1512588"/>
                        <a:pt x="1254413" y="1532711"/>
                      </a:cubicBezTo>
                      <a:cubicBezTo>
                        <a:pt x="1249769" y="1535291"/>
                        <a:pt x="1244609" y="1537871"/>
                        <a:pt x="1248737" y="1544578"/>
                      </a:cubicBezTo>
                      <a:cubicBezTo>
                        <a:pt x="1272472" y="1580181"/>
                        <a:pt x="1274020" y="1622491"/>
                        <a:pt x="1284339" y="1662221"/>
                      </a:cubicBezTo>
                      <a:cubicBezTo>
                        <a:pt x="1290531" y="1685440"/>
                        <a:pt x="1292079" y="1682344"/>
                        <a:pt x="1268860" y="1693180"/>
                      </a:cubicBezTo>
                      <a:cubicBezTo>
                        <a:pt x="1244609" y="1704531"/>
                        <a:pt x="1219842" y="1714335"/>
                        <a:pt x="1195591" y="1724654"/>
                      </a:cubicBezTo>
                      <a:cubicBezTo>
                        <a:pt x="1187851" y="1727750"/>
                        <a:pt x="1183208" y="1726718"/>
                        <a:pt x="1178564" y="1719495"/>
                      </a:cubicBezTo>
                      <a:cubicBezTo>
                        <a:pt x="1161021" y="1692664"/>
                        <a:pt x="1142962" y="1666865"/>
                        <a:pt x="1125418" y="1640034"/>
                      </a:cubicBezTo>
                      <a:cubicBezTo>
                        <a:pt x="1118711" y="1629715"/>
                        <a:pt x="1116131" y="1617847"/>
                        <a:pt x="1113035" y="1606496"/>
                      </a:cubicBezTo>
                      <a:cubicBezTo>
                        <a:pt x="1110971" y="1599272"/>
                        <a:pt x="1107359" y="1597208"/>
                        <a:pt x="1099619" y="1599272"/>
                      </a:cubicBezTo>
                      <a:cubicBezTo>
                        <a:pt x="1060405" y="1611139"/>
                        <a:pt x="1020675" y="1619395"/>
                        <a:pt x="979913" y="1624555"/>
                      </a:cubicBezTo>
                      <a:cubicBezTo>
                        <a:pt x="973205" y="1625587"/>
                        <a:pt x="971141" y="1628682"/>
                        <a:pt x="972173" y="1634874"/>
                      </a:cubicBezTo>
                      <a:cubicBezTo>
                        <a:pt x="979397" y="1680280"/>
                        <a:pt x="962885" y="1723106"/>
                        <a:pt x="957726" y="1767481"/>
                      </a:cubicBezTo>
                      <a:cubicBezTo>
                        <a:pt x="956694" y="1775220"/>
                        <a:pt x="952566" y="1777800"/>
                        <a:pt x="945858" y="1777800"/>
                      </a:cubicBezTo>
                      <a:cubicBezTo>
                        <a:pt x="929347" y="1778316"/>
                        <a:pt x="912320" y="1779348"/>
                        <a:pt x="895808" y="1779864"/>
                      </a:cubicBezTo>
                      <a:cubicBezTo>
                        <a:pt x="894776" y="1776252"/>
                        <a:pt x="894776" y="1776252"/>
                        <a:pt x="894776" y="1775736"/>
                      </a:cubicBezTo>
                      <a:close/>
                      <a:moveTo>
                        <a:pt x="890648" y="1454798"/>
                      </a:moveTo>
                      <a:cubicBezTo>
                        <a:pt x="1199203" y="1449638"/>
                        <a:pt x="1454096" y="1207645"/>
                        <a:pt x="1452548" y="884127"/>
                      </a:cubicBezTo>
                      <a:cubicBezTo>
                        <a:pt x="1451516" y="575057"/>
                        <a:pt x="1205395" y="320164"/>
                        <a:pt x="881361" y="322228"/>
                      </a:cubicBezTo>
                      <a:cubicBezTo>
                        <a:pt x="571775" y="324292"/>
                        <a:pt x="318429" y="570929"/>
                        <a:pt x="320494" y="893415"/>
                      </a:cubicBezTo>
                      <a:cubicBezTo>
                        <a:pt x="323073" y="1202485"/>
                        <a:pt x="569195" y="1452218"/>
                        <a:pt x="890648" y="1454798"/>
                      </a:cubicBezTo>
                      <a:close/>
                    </a:path>
                  </a:pathLst>
                </a:custGeom>
                <a:grpFill/>
                <a:ln w="515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5" name="Freeform: Shape 24">
                  <a:extLst>
                    <a:ext uri="{FF2B5EF4-FFF2-40B4-BE49-F238E27FC236}">
                      <a16:creationId xmlns:a16="http://schemas.microsoft.com/office/drawing/2014/main" id="{ABEF1D94-1333-4CA0-B29B-49A00AFB5E03}"/>
                    </a:ext>
                  </a:extLst>
                </p:cNvPr>
                <p:cNvSpPr/>
                <p:nvPr/>
              </p:nvSpPr>
              <p:spPr>
                <a:xfrm>
                  <a:off x="3733675" y="2339591"/>
                  <a:ext cx="835883" cy="835883"/>
                </a:xfrm>
                <a:custGeom>
                  <a:avLst/>
                  <a:gdLst>
                    <a:gd name="connsiteX0" fmla="*/ 836916 w 835883"/>
                    <a:gd name="connsiteY0" fmla="*/ 418458 h 835883"/>
                    <a:gd name="connsiteX1" fmla="*/ 418459 w 835883"/>
                    <a:gd name="connsiteY1" fmla="*/ 836399 h 835883"/>
                    <a:gd name="connsiteX2" fmla="*/ 1 w 835883"/>
                    <a:gd name="connsiteY2" fmla="*/ 417426 h 835883"/>
                    <a:gd name="connsiteX3" fmla="*/ 418975 w 835883"/>
                    <a:gd name="connsiteY3" fmla="*/ 0 h 835883"/>
                    <a:gd name="connsiteX4" fmla="*/ 836916 w 835883"/>
                    <a:gd name="connsiteY4" fmla="*/ 418458 h 8358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35883" h="835883">
                      <a:moveTo>
                        <a:pt x="836916" y="418458"/>
                      </a:moveTo>
                      <a:cubicBezTo>
                        <a:pt x="833821" y="651679"/>
                        <a:pt x="651165" y="836915"/>
                        <a:pt x="418459" y="836399"/>
                      </a:cubicBezTo>
                      <a:cubicBezTo>
                        <a:pt x="182657" y="836399"/>
                        <a:pt x="-515" y="649615"/>
                        <a:pt x="1" y="417426"/>
                      </a:cubicBezTo>
                      <a:cubicBezTo>
                        <a:pt x="517" y="181624"/>
                        <a:pt x="187301" y="0"/>
                        <a:pt x="418975" y="0"/>
                      </a:cubicBezTo>
                      <a:cubicBezTo>
                        <a:pt x="651680" y="516"/>
                        <a:pt x="833821" y="186268"/>
                        <a:pt x="836916" y="418458"/>
                      </a:cubicBezTo>
                      <a:close/>
                    </a:path>
                  </a:pathLst>
                </a:custGeom>
                <a:grpFill/>
                <a:ln w="515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A6943520-8E50-4DAD-A59E-7A5A1DEE2133}"/>
                </a:ext>
              </a:extLst>
            </p:cNvPr>
            <p:cNvGrpSpPr/>
            <p:nvPr/>
          </p:nvGrpSpPr>
          <p:grpSpPr>
            <a:xfrm>
              <a:off x="218787" y="4076953"/>
              <a:ext cx="2745260" cy="2471860"/>
              <a:chOff x="6486650" y="2648852"/>
              <a:chExt cx="2745260" cy="2471860"/>
            </a:xfrm>
            <a:grpFill/>
          </p:grpSpPr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CA826ACA-0EB1-4F7B-86EA-A2622410F84A}"/>
                  </a:ext>
                </a:extLst>
              </p:cNvPr>
              <p:cNvSpPr/>
              <p:nvPr/>
            </p:nvSpPr>
            <p:spPr>
              <a:xfrm>
                <a:off x="6486650" y="3806165"/>
                <a:ext cx="1318090" cy="1314547"/>
              </a:xfrm>
              <a:custGeom>
                <a:avLst/>
                <a:gdLst>
                  <a:gd name="connsiteX0" fmla="*/ 0 w 1919435"/>
                  <a:gd name="connsiteY0" fmla="*/ 987194 h 1914275"/>
                  <a:gd name="connsiteX1" fmla="*/ 37667 w 1919435"/>
                  <a:gd name="connsiteY1" fmla="*/ 959846 h 1914275"/>
                  <a:gd name="connsiteX2" fmla="*/ 169757 w 1919435"/>
                  <a:gd name="connsiteY2" fmla="*/ 922696 h 1914275"/>
                  <a:gd name="connsiteX3" fmla="*/ 215163 w 1919435"/>
                  <a:gd name="connsiteY3" fmla="*/ 872130 h 1914275"/>
                  <a:gd name="connsiteX4" fmla="*/ 217743 w 1919435"/>
                  <a:gd name="connsiteY4" fmla="*/ 850459 h 1914275"/>
                  <a:gd name="connsiteX5" fmla="*/ 189364 w 1919435"/>
                  <a:gd name="connsiteY5" fmla="*/ 797830 h 1914275"/>
                  <a:gd name="connsiteX6" fmla="*/ 69657 w 1919435"/>
                  <a:gd name="connsiteY6" fmla="*/ 727657 h 1914275"/>
                  <a:gd name="connsiteX7" fmla="*/ 43858 w 1919435"/>
                  <a:gd name="connsiteY7" fmla="*/ 664708 h 1914275"/>
                  <a:gd name="connsiteX8" fmla="*/ 46438 w 1919435"/>
                  <a:gd name="connsiteY8" fmla="*/ 655936 h 1914275"/>
                  <a:gd name="connsiteX9" fmla="*/ 114547 w 1919435"/>
                  <a:gd name="connsiteY9" fmla="*/ 608982 h 1914275"/>
                  <a:gd name="connsiteX10" fmla="*/ 241478 w 1919435"/>
                  <a:gd name="connsiteY10" fmla="*/ 623429 h 1914275"/>
                  <a:gd name="connsiteX11" fmla="*/ 306491 w 1919435"/>
                  <a:gd name="connsiteY11" fmla="*/ 593503 h 1914275"/>
                  <a:gd name="connsiteX12" fmla="*/ 301331 w 1919435"/>
                  <a:gd name="connsiteY12" fmla="*/ 505271 h 1914275"/>
                  <a:gd name="connsiteX13" fmla="*/ 222386 w 1919435"/>
                  <a:gd name="connsiteY13" fmla="*/ 400527 h 1914275"/>
                  <a:gd name="connsiteX14" fmla="*/ 222386 w 1919435"/>
                  <a:gd name="connsiteY14" fmla="*/ 342222 h 1914275"/>
                  <a:gd name="connsiteX15" fmla="*/ 248185 w 1919435"/>
                  <a:gd name="connsiteY15" fmla="*/ 313327 h 1914275"/>
                  <a:gd name="connsiteX16" fmla="*/ 303395 w 1919435"/>
                  <a:gd name="connsiteY16" fmla="*/ 307135 h 1914275"/>
                  <a:gd name="connsiteX17" fmla="*/ 420522 w 1919435"/>
                  <a:gd name="connsiteY17" fmla="*/ 373180 h 1914275"/>
                  <a:gd name="connsiteX18" fmla="*/ 525265 w 1919435"/>
                  <a:gd name="connsiteY18" fmla="*/ 343770 h 1914275"/>
                  <a:gd name="connsiteX19" fmla="*/ 527845 w 1919435"/>
                  <a:gd name="connsiteY19" fmla="*/ 298364 h 1914275"/>
                  <a:gd name="connsiteX20" fmla="*/ 493791 w 1919435"/>
                  <a:gd name="connsiteY20" fmla="*/ 166789 h 1914275"/>
                  <a:gd name="connsiteX21" fmla="*/ 518557 w 1919435"/>
                  <a:gd name="connsiteY21" fmla="*/ 105904 h 1914275"/>
                  <a:gd name="connsiteX22" fmla="*/ 537649 w 1919435"/>
                  <a:gd name="connsiteY22" fmla="*/ 95585 h 1914275"/>
                  <a:gd name="connsiteX23" fmla="*/ 608853 w 1919435"/>
                  <a:gd name="connsiteY23" fmla="*/ 113128 h 1914275"/>
                  <a:gd name="connsiteX24" fmla="*/ 690894 w 1919435"/>
                  <a:gd name="connsiteY24" fmla="*/ 217355 h 1914275"/>
                  <a:gd name="connsiteX25" fmla="*/ 802861 w 1919435"/>
                  <a:gd name="connsiteY25" fmla="*/ 216839 h 1914275"/>
                  <a:gd name="connsiteX26" fmla="*/ 816277 w 1919435"/>
                  <a:gd name="connsiteY26" fmla="*/ 169369 h 1914275"/>
                  <a:gd name="connsiteX27" fmla="*/ 832788 w 1919435"/>
                  <a:gd name="connsiteY27" fmla="*/ 48631 h 1914275"/>
                  <a:gd name="connsiteX28" fmla="*/ 877677 w 1919435"/>
                  <a:gd name="connsiteY28" fmla="*/ 2193 h 1914275"/>
                  <a:gd name="connsiteX29" fmla="*/ 917924 w 1919435"/>
                  <a:gd name="connsiteY29" fmla="*/ 645 h 1914275"/>
                  <a:gd name="connsiteX30" fmla="*/ 956106 w 1919435"/>
                  <a:gd name="connsiteY30" fmla="*/ 31603 h 1914275"/>
                  <a:gd name="connsiteX31" fmla="*/ 993772 w 1919435"/>
                  <a:gd name="connsiteY31" fmla="*/ 163693 h 1914275"/>
                  <a:gd name="connsiteX32" fmla="*/ 1089745 w 1919435"/>
                  <a:gd name="connsiteY32" fmla="*/ 217871 h 1914275"/>
                  <a:gd name="connsiteX33" fmla="*/ 1120703 w 1919435"/>
                  <a:gd name="connsiteY33" fmla="*/ 191040 h 1914275"/>
                  <a:gd name="connsiteX34" fmla="*/ 1192940 w 1919435"/>
                  <a:gd name="connsiteY34" fmla="*/ 68754 h 1914275"/>
                  <a:gd name="connsiteX35" fmla="*/ 1251245 w 1919435"/>
                  <a:gd name="connsiteY35" fmla="*/ 44503 h 1914275"/>
                  <a:gd name="connsiteX36" fmla="*/ 1309035 w 1919435"/>
                  <a:gd name="connsiteY36" fmla="*/ 137895 h 1914275"/>
                  <a:gd name="connsiteX37" fmla="*/ 1294587 w 1919435"/>
                  <a:gd name="connsiteY37" fmla="*/ 255538 h 1914275"/>
                  <a:gd name="connsiteX38" fmla="*/ 1294587 w 1919435"/>
                  <a:gd name="connsiteY38" fmla="*/ 267921 h 1914275"/>
                  <a:gd name="connsiteX39" fmla="*/ 1399331 w 1919435"/>
                  <a:gd name="connsiteY39" fmla="*/ 314359 h 1914275"/>
                  <a:gd name="connsiteX40" fmla="*/ 1514394 w 1919435"/>
                  <a:gd name="connsiteY40" fmla="*/ 228191 h 1914275"/>
                  <a:gd name="connsiteX41" fmla="*/ 1584050 w 1919435"/>
                  <a:gd name="connsiteY41" fmla="*/ 229223 h 1914275"/>
                  <a:gd name="connsiteX42" fmla="*/ 1594886 w 1919435"/>
                  <a:gd name="connsiteY42" fmla="*/ 238510 h 1914275"/>
                  <a:gd name="connsiteX43" fmla="*/ 1606754 w 1919435"/>
                  <a:gd name="connsiteY43" fmla="*/ 317971 h 1914275"/>
                  <a:gd name="connsiteX44" fmla="*/ 1543288 w 1919435"/>
                  <a:gd name="connsiteY44" fmla="*/ 430970 h 1914275"/>
                  <a:gd name="connsiteX45" fmla="*/ 1552060 w 1919435"/>
                  <a:gd name="connsiteY45" fmla="*/ 504239 h 1914275"/>
                  <a:gd name="connsiteX46" fmla="*/ 1619137 w 1919435"/>
                  <a:gd name="connsiteY46" fmla="*/ 531069 h 1914275"/>
                  <a:gd name="connsiteX47" fmla="*/ 1754839 w 1919435"/>
                  <a:gd name="connsiteY47" fmla="*/ 495467 h 1914275"/>
                  <a:gd name="connsiteX48" fmla="*/ 1812629 w 1919435"/>
                  <a:gd name="connsiteY48" fmla="*/ 517654 h 1914275"/>
                  <a:gd name="connsiteX49" fmla="*/ 1830172 w 1919435"/>
                  <a:gd name="connsiteY49" fmla="*/ 552225 h 1914275"/>
                  <a:gd name="connsiteX50" fmla="*/ 1815724 w 1919435"/>
                  <a:gd name="connsiteY50" fmla="*/ 603306 h 1914275"/>
                  <a:gd name="connsiteX51" fmla="*/ 1699630 w 1919435"/>
                  <a:gd name="connsiteY51" fmla="*/ 695666 h 1914275"/>
                  <a:gd name="connsiteX52" fmla="*/ 1678990 w 1919435"/>
                  <a:gd name="connsiteY52" fmla="*/ 751908 h 1914275"/>
                  <a:gd name="connsiteX53" fmla="*/ 1685182 w 1919435"/>
                  <a:gd name="connsiteY53" fmla="*/ 774611 h 1914275"/>
                  <a:gd name="connsiteX54" fmla="*/ 1732652 w 1919435"/>
                  <a:gd name="connsiteY54" fmla="*/ 815373 h 1914275"/>
                  <a:gd name="connsiteX55" fmla="*/ 1872998 w 1919435"/>
                  <a:gd name="connsiteY55" fmla="*/ 834464 h 1914275"/>
                  <a:gd name="connsiteX56" fmla="*/ 1918404 w 1919435"/>
                  <a:gd name="connsiteY56" fmla="*/ 879354 h 1914275"/>
                  <a:gd name="connsiteX57" fmla="*/ 1919952 w 1919435"/>
                  <a:gd name="connsiteY57" fmla="*/ 919600 h 1914275"/>
                  <a:gd name="connsiteX58" fmla="*/ 1886930 w 1919435"/>
                  <a:gd name="connsiteY58" fmla="*/ 958299 h 1914275"/>
                  <a:gd name="connsiteX59" fmla="*/ 1754839 w 1919435"/>
                  <a:gd name="connsiteY59" fmla="*/ 995965 h 1914275"/>
                  <a:gd name="connsiteX60" fmla="*/ 1701178 w 1919435"/>
                  <a:gd name="connsiteY60" fmla="*/ 1085229 h 1914275"/>
                  <a:gd name="connsiteX61" fmla="*/ 1728524 w 1919435"/>
                  <a:gd name="connsiteY61" fmla="*/ 1121348 h 1914275"/>
                  <a:gd name="connsiteX62" fmla="*/ 1849779 w 1919435"/>
                  <a:gd name="connsiteY62" fmla="*/ 1192552 h 1914275"/>
                  <a:gd name="connsiteX63" fmla="*/ 1876094 w 1919435"/>
                  <a:gd name="connsiteY63" fmla="*/ 1253954 h 1914275"/>
                  <a:gd name="connsiteX64" fmla="*/ 1875062 w 1919435"/>
                  <a:gd name="connsiteY64" fmla="*/ 1260145 h 1914275"/>
                  <a:gd name="connsiteX65" fmla="*/ 1802309 w 1919435"/>
                  <a:gd name="connsiteY65" fmla="*/ 1312259 h 1914275"/>
                  <a:gd name="connsiteX66" fmla="*/ 1675379 w 1919435"/>
                  <a:gd name="connsiteY66" fmla="*/ 1296264 h 1914275"/>
                  <a:gd name="connsiteX67" fmla="*/ 1611398 w 1919435"/>
                  <a:gd name="connsiteY67" fmla="*/ 1329286 h 1914275"/>
                  <a:gd name="connsiteX68" fmla="*/ 1610365 w 1919435"/>
                  <a:gd name="connsiteY68" fmla="*/ 1405651 h 1914275"/>
                  <a:gd name="connsiteX69" fmla="*/ 1692406 w 1919435"/>
                  <a:gd name="connsiteY69" fmla="*/ 1514006 h 1914275"/>
                  <a:gd name="connsiteX70" fmla="*/ 1692406 w 1919435"/>
                  <a:gd name="connsiteY70" fmla="*/ 1584695 h 1914275"/>
                  <a:gd name="connsiteX71" fmla="*/ 1689310 w 1919435"/>
                  <a:gd name="connsiteY71" fmla="*/ 1588307 h 1914275"/>
                  <a:gd name="connsiteX72" fmla="*/ 1600562 w 1919435"/>
                  <a:gd name="connsiteY72" fmla="*/ 1605850 h 1914275"/>
                  <a:gd name="connsiteX73" fmla="*/ 1490659 w 1919435"/>
                  <a:gd name="connsiteY73" fmla="*/ 1543933 h 1914275"/>
                  <a:gd name="connsiteX74" fmla="*/ 1415326 w 1919435"/>
                  <a:gd name="connsiteY74" fmla="*/ 1554769 h 1914275"/>
                  <a:gd name="connsiteX75" fmla="*/ 1391075 w 1919435"/>
                  <a:gd name="connsiteY75" fmla="*/ 1622877 h 1914275"/>
                  <a:gd name="connsiteX76" fmla="*/ 1426677 w 1919435"/>
                  <a:gd name="connsiteY76" fmla="*/ 1760128 h 1914275"/>
                  <a:gd name="connsiteX77" fmla="*/ 1406554 w 1919435"/>
                  <a:gd name="connsiteY77" fmla="*/ 1811725 h 1914275"/>
                  <a:gd name="connsiteX78" fmla="*/ 1370436 w 1919435"/>
                  <a:gd name="connsiteY78" fmla="*/ 1830300 h 1914275"/>
                  <a:gd name="connsiteX79" fmla="*/ 1316258 w 1919435"/>
                  <a:gd name="connsiteY79" fmla="*/ 1815337 h 1914275"/>
                  <a:gd name="connsiteX80" fmla="*/ 1231122 w 1919435"/>
                  <a:gd name="connsiteY80" fmla="*/ 1707498 h 1914275"/>
                  <a:gd name="connsiteX81" fmla="*/ 1121219 w 1919435"/>
                  <a:gd name="connsiteY81" fmla="*/ 1698210 h 1914275"/>
                  <a:gd name="connsiteX82" fmla="*/ 1106771 w 1919435"/>
                  <a:gd name="connsiteY82" fmla="*/ 1727105 h 1914275"/>
                  <a:gd name="connsiteX83" fmla="*/ 1087165 w 1919435"/>
                  <a:gd name="connsiteY83" fmla="*/ 1868999 h 1914275"/>
                  <a:gd name="connsiteX84" fmla="*/ 1050014 w 1919435"/>
                  <a:gd name="connsiteY84" fmla="*/ 1919049 h 1914275"/>
                  <a:gd name="connsiteX85" fmla="*/ 987581 w 1919435"/>
                  <a:gd name="connsiteY85" fmla="*/ 1919049 h 1914275"/>
                  <a:gd name="connsiteX86" fmla="*/ 960234 w 1919435"/>
                  <a:gd name="connsiteY86" fmla="*/ 1880866 h 1914275"/>
                  <a:gd name="connsiteX87" fmla="*/ 921535 w 1919435"/>
                  <a:gd name="connsiteY87" fmla="*/ 1744132 h 1914275"/>
                  <a:gd name="connsiteX88" fmla="*/ 875614 w 1919435"/>
                  <a:gd name="connsiteY88" fmla="*/ 1703886 h 1914275"/>
                  <a:gd name="connsiteX89" fmla="*/ 847751 w 1919435"/>
                  <a:gd name="connsiteY89" fmla="*/ 1700790 h 1914275"/>
                  <a:gd name="connsiteX90" fmla="*/ 800281 w 1919435"/>
                  <a:gd name="connsiteY90" fmla="*/ 1727105 h 1914275"/>
                  <a:gd name="connsiteX91" fmla="*/ 788414 w 1919435"/>
                  <a:gd name="connsiteY91" fmla="*/ 1747228 h 1914275"/>
                  <a:gd name="connsiteX92" fmla="*/ 723401 w 1919435"/>
                  <a:gd name="connsiteY92" fmla="*/ 1857131 h 1914275"/>
                  <a:gd name="connsiteX93" fmla="*/ 674383 w 1919435"/>
                  <a:gd name="connsiteY93" fmla="*/ 1877254 h 1914275"/>
                  <a:gd name="connsiteX94" fmla="*/ 634652 w 1919435"/>
                  <a:gd name="connsiteY94" fmla="*/ 1863839 h 1914275"/>
                  <a:gd name="connsiteX95" fmla="*/ 607822 w 1919435"/>
                  <a:gd name="connsiteY95" fmla="*/ 1813789 h 1914275"/>
                  <a:gd name="connsiteX96" fmla="*/ 624848 w 1919435"/>
                  <a:gd name="connsiteY96" fmla="*/ 1672927 h 1914275"/>
                  <a:gd name="connsiteX97" fmla="*/ 586150 w 1919435"/>
                  <a:gd name="connsiteY97" fmla="*/ 1607398 h 1914275"/>
                  <a:gd name="connsiteX98" fmla="*/ 514430 w 1919435"/>
                  <a:gd name="connsiteY98" fmla="*/ 1611010 h 1914275"/>
                  <a:gd name="connsiteX99" fmla="*/ 413814 w 1919435"/>
                  <a:gd name="connsiteY99" fmla="*/ 1687375 h 1914275"/>
                  <a:gd name="connsiteX100" fmla="*/ 324550 w 1919435"/>
                  <a:gd name="connsiteY100" fmla="*/ 1682215 h 1914275"/>
                  <a:gd name="connsiteX101" fmla="*/ 316810 w 1919435"/>
                  <a:gd name="connsiteY101" fmla="*/ 1674475 h 1914275"/>
                  <a:gd name="connsiteX102" fmla="*/ 309071 w 1919435"/>
                  <a:gd name="connsiteY102" fmla="*/ 1612558 h 1914275"/>
                  <a:gd name="connsiteX103" fmla="*/ 376148 w 1919435"/>
                  <a:gd name="connsiteY103" fmla="*/ 1492851 h 1914275"/>
                  <a:gd name="connsiteX104" fmla="*/ 387499 w 1919435"/>
                  <a:gd name="connsiteY104" fmla="*/ 1456217 h 1914275"/>
                  <a:gd name="connsiteX105" fmla="*/ 297203 w 1919435"/>
                  <a:gd name="connsiteY105" fmla="*/ 1391720 h 1914275"/>
                  <a:gd name="connsiteX106" fmla="*/ 158405 w 1919435"/>
                  <a:gd name="connsiteY106" fmla="*/ 1427838 h 1914275"/>
                  <a:gd name="connsiteX107" fmla="*/ 114031 w 1919435"/>
                  <a:gd name="connsiteY107" fmla="*/ 1412875 h 1914275"/>
                  <a:gd name="connsiteX108" fmla="*/ 91844 w 1919435"/>
                  <a:gd name="connsiteY108" fmla="*/ 1373660 h 1914275"/>
                  <a:gd name="connsiteX109" fmla="*/ 106808 w 1919435"/>
                  <a:gd name="connsiteY109" fmla="*/ 1315871 h 1914275"/>
                  <a:gd name="connsiteX110" fmla="*/ 209487 w 1919435"/>
                  <a:gd name="connsiteY110" fmla="*/ 1234347 h 1914275"/>
                  <a:gd name="connsiteX111" fmla="*/ 236834 w 1919435"/>
                  <a:gd name="connsiteY111" fmla="*/ 1151274 h 1914275"/>
                  <a:gd name="connsiteX112" fmla="*/ 181624 w 1919435"/>
                  <a:gd name="connsiteY112" fmla="*/ 1104836 h 1914275"/>
                  <a:gd name="connsiteX113" fmla="*/ 52114 w 1919435"/>
                  <a:gd name="connsiteY113" fmla="*/ 1087293 h 1914275"/>
                  <a:gd name="connsiteX114" fmla="*/ 1032 w 1919435"/>
                  <a:gd name="connsiteY114" fmla="*/ 1051175 h 1914275"/>
                  <a:gd name="connsiteX115" fmla="*/ 0 w 1919435"/>
                  <a:gd name="connsiteY115" fmla="*/ 987194 h 1914275"/>
                  <a:gd name="connsiteX116" fmla="*/ 1198616 w 1919435"/>
                  <a:gd name="connsiteY116" fmla="*/ 960879 h 1914275"/>
                  <a:gd name="connsiteX117" fmla="*/ 958686 w 1919435"/>
                  <a:gd name="connsiteY117" fmla="*/ 720949 h 1914275"/>
                  <a:gd name="connsiteX118" fmla="*/ 720304 w 1919435"/>
                  <a:gd name="connsiteY118" fmla="*/ 959331 h 1914275"/>
                  <a:gd name="connsiteX119" fmla="*/ 957654 w 1919435"/>
                  <a:gd name="connsiteY119" fmla="*/ 1198744 h 1914275"/>
                  <a:gd name="connsiteX120" fmla="*/ 1198616 w 1919435"/>
                  <a:gd name="connsiteY120" fmla="*/ 960879 h 1914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</a:cxnLst>
                <a:rect l="l" t="t" r="r" b="b"/>
                <a:pathLst>
                  <a:path w="1919435" h="1914275">
                    <a:moveTo>
                      <a:pt x="0" y="987194"/>
                    </a:moveTo>
                    <a:cubicBezTo>
                      <a:pt x="8256" y="971714"/>
                      <a:pt x="21155" y="963975"/>
                      <a:pt x="37667" y="959846"/>
                    </a:cubicBezTo>
                    <a:cubicBezTo>
                      <a:pt x="82041" y="947979"/>
                      <a:pt x="125383" y="934564"/>
                      <a:pt x="169757" y="922696"/>
                    </a:cubicBezTo>
                    <a:cubicBezTo>
                      <a:pt x="196587" y="915473"/>
                      <a:pt x="212583" y="900509"/>
                      <a:pt x="215163" y="872130"/>
                    </a:cubicBezTo>
                    <a:cubicBezTo>
                      <a:pt x="215679" y="864907"/>
                      <a:pt x="216710" y="857683"/>
                      <a:pt x="217743" y="850459"/>
                    </a:cubicBezTo>
                    <a:cubicBezTo>
                      <a:pt x="220323" y="826209"/>
                      <a:pt x="209487" y="809697"/>
                      <a:pt x="189364" y="797830"/>
                    </a:cubicBezTo>
                    <a:cubicBezTo>
                      <a:pt x="149118" y="774611"/>
                      <a:pt x="109388" y="750876"/>
                      <a:pt x="69657" y="727657"/>
                    </a:cubicBezTo>
                    <a:cubicBezTo>
                      <a:pt x="40246" y="710629"/>
                      <a:pt x="35087" y="697730"/>
                      <a:pt x="43858" y="664708"/>
                    </a:cubicBezTo>
                    <a:cubicBezTo>
                      <a:pt x="44890" y="661612"/>
                      <a:pt x="45406" y="658516"/>
                      <a:pt x="46438" y="655936"/>
                    </a:cubicBezTo>
                    <a:cubicBezTo>
                      <a:pt x="59337" y="613110"/>
                      <a:pt x="70689" y="604854"/>
                      <a:pt x="114547" y="608982"/>
                    </a:cubicBezTo>
                    <a:cubicBezTo>
                      <a:pt x="156857" y="613110"/>
                      <a:pt x="199167" y="617754"/>
                      <a:pt x="241478" y="623429"/>
                    </a:cubicBezTo>
                    <a:cubicBezTo>
                      <a:pt x="275016" y="627557"/>
                      <a:pt x="289463" y="621881"/>
                      <a:pt x="306491" y="593503"/>
                    </a:cubicBezTo>
                    <a:cubicBezTo>
                      <a:pt x="330741" y="554288"/>
                      <a:pt x="329710" y="541905"/>
                      <a:pt x="301331" y="505271"/>
                    </a:cubicBezTo>
                    <a:cubicBezTo>
                      <a:pt x="274500" y="470700"/>
                      <a:pt x="248185" y="435614"/>
                      <a:pt x="222386" y="400527"/>
                    </a:cubicBezTo>
                    <a:cubicBezTo>
                      <a:pt x="206907" y="379888"/>
                      <a:pt x="206907" y="362861"/>
                      <a:pt x="222386" y="342222"/>
                    </a:cubicBezTo>
                    <a:cubicBezTo>
                      <a:pt x="230126" y="331902"/>
                      <a:pt x="238382" y="321583"/>
                      <a:pt x="248185" y="313327"/>
                    </a:cubicBezTo>
                    <a:cubicBezTo>
                      <a:pt x="267792" y="296816"/>
                      <a:pt x="281208" y="294752"/>
                      <a:pt x="303395" y="307135"/>
                    </a:cubicBezTo>
                    <a:cubicBezTo>
                      <a:pt x="342609" y="328806"/>
                      <a:pt x="382856" y="348929"/>
                      <a:pt x="420522" y="373180"/>
                    </a:cubicBezTo>
                    <a:cubicBezTo>
                      <a:pt x="463864" y="401043"/>
                      <a:pt x="493791" y="382468"/>
                      <a:pt x="525265" y="343770"/>
                    </a:cubicBezTo>
                    <a:cubicBezTo>
                      <a:pt x="535585" y="330870"/>
                      <a:pt x="531973" y="313843"/>
                      <a:pt x="527845" y="298364"/>
                    </a:cubicBezTo>
                    <a:cubicBezTo>
                      <a:pt x="516493" y="254506"/>
                      <a:pt x="505142" y="210647"/>
                      <a:pt x="493791" y="166789"/>
                    </a:cubicBezTo>
                    <a:cubicBezTo>
                      <a:pt x="485535" y="135315"/>
                      <a:pt x="490694" y="122415"/>
                      <a:pt x="518557" y="105904"/>
                    </a:cubicBezTo>
                    <a:cubicBezTo>
                      <a:pt x="524749" y="102292"/>
                      <a:pt x="530941" y="98680"/>
                      <a:pt x="537649" y="95585"/>
                    </a:cubicBezTo>
                    <a:cubicBezTo>
                      <a:pt x="571187" y="80105"/>
                      <a:pt x="586150" y="83717"/>
                      <a:pt x="608853" y="113128"/>
                    </a:cubicBezTo>
                    <a:cubicBezTo>
                      <a:pt x="636200" y="147698"/>
                      <a:pt x="663547" y="182785"/>
                      <a:pt x="690894" y="217355"/>
                    </a:cubicBezTo>
                    <a:cubicBezTo>
                      <a:pt x="716693" y="249346"/>
                      <a:pt x="777062" y="249346"/>
                      <a:pt x="802861" y="216839"/>
                    </a:cubicBezTo>
                    <a:cubicBezTo>
                      <a:pt x="813697" y="202908"/>
                      <a:pt x="813697" y="185365"/>
                      <a:pt x="816277" y="169369"/>
                    </a:cubicBezTo>
                    <a:cubicBezTo>
                      <a:pt x="822468" y="129123"/>
                      <a:pt x="827628" y="88877"/>
                      <a:pt x="832788" y="48631"/>
                    </a:cubicBezTo>
                    <a:cubicBezTo>
                      <a:pt x="836916" y="16640"/>
                      <a:pt x="845687" y="7868"/>
                      <a:pt x="877677" y="2193"/>
                    </a:cubicBezTo>
                    <a:cubicBezTo>
                      <a:pt x="891093" y="-387"/>
                      <a:pt x="904509" y="-387"/>
                      <a:pt x="917924" y="645"/>
                    </a:cubicBezTo>
                    <a:cubicBezTo>
                      <a:pt x="937531" y="1677"/>
                      <a:pt x="950947" y="11996"/>
                      <a:pt x="956106" y="31603"/>
                    </a:cubicBezTo>
                    <a:cubicBezTo>
                      <a:pt x="968490" y="75461"/>
                      <a:pt x="981389" y="119835"/>
                      <a:pt x="993772" y="163693"/>
                    </a:cubicBezTo>
                    <a:cubicBezTo>
                      <a:pt x="1006672" y="208584"/>
                      <a:pt x="1043822" y="229739"/>
                      <a:pt x="1089745" y="217871"/>
                    </a:cubicBezTo>
                    <a:cubicBezTo>
                      <a:pt x="1104707" y="214259"/>
                      <a:pt x="1113479" y="203424"/>
                      <a:pt x="1120703" y="191040"/>
                    </a:cubicBezTo>
                    <a:cubicBezTo>
                      <a:pt x="1144438" y="150278"/>
                      <a:pt x="1168689" y="109516"/>
                      <a:pt x="1192940" y="68754"/>
                    </a:cubicBezTo>
                    <a:cubicBezTo>
                      <a:pt x="1208419" y="42439"/>
                      <a:pt x="1221835" y="36763"/>
                      <a:pt x="1251245" y="44503"/>
                    </a:cubicBezTo>
                    <a:cubicBezTo>
                      <a:pt x="1310067" y="59466"/>
                      <a:pt x="1317806" y="72366"/>
                      <a:pt x="1309035" y="137895"/>
                    </a:cubicBezTo>
                    <a:cubicBezTo>
                      <a:pt x="1303875" y="177109"/>
                      <a:pt x="1299231" y="216323"/>
                      <a:pt x="1294587" y="255538"/>
                    </a:cubicBezTo>
                    <a:cubicBezTo>
                      <a:pt x="1294071" y="259665"/>
                      <a:pt x="1294071" y="263793"/>
                      <a:pt x="1294587" y="267921"/>
                    </a:cubicBezTo>
                    <a:cubicBezTo>
                      <a:pt x="1301295" y="309715"/>
                      <a:pt x="1364760" y="338610"/>
                      <a:pt x="1399331" y="314359"/>
                    </a:cubicBezTo>
                    <a:cubicBezTo>
                      <a:pt x="1438545" y="286496"/>
                      <a:pt x="1476211" y="257085"/>
                      <a:pt x="1514394" y="228191"/>
                    </a:cubicBezTo>
                    <a:cubicBezTo>
                      <a:pt x="1542256" y="207036"/>
                      <a:pt x="1556188" y="207552"/>
                      <a:pt x="1584050" y="229223"/>
                    </a:cubicBezTo>
                    <a:cubicBezTo>
                      <a:pt x="1587663" y="232319"/>
                      <a:pt x="1591274" y="234898"/>
                      <a:pt x="1594886" y="238510"/>
                    </a:cubicBezTo>
                    <a:cubicBezTo>
                      <a:pt x="1627393" y="269469"/>
                      <a:pt x="1628941" y="278757"/>
                      <a:pt x="1606754" y="317971"/>
                    </a:cubicBezTo>
                    <a:cubicBezTo>
                      <a:pt x="1585599" y="355637"/>
                      <a:pt x="1565475" y="393819"/>
                      <a:pt x="1543288" y="430970"/>
                    </a:cubicBezTo>
                    <a:cubicBezTo>
                      <a:pt x="1527293" y="458317"/>
                      <a:pt x="1534517" y="481020"/>
                      <a:pt x="1552060" y="504239"/>
                    </a:cubicBezTo>
                    <a:cubicBezTo>
                      <a:pt x="1569604" y="527458"/>
                      <a:pt x="1589726" y="538809"/>
                      <a:pt x="1619137" y="531069"/>
                    </a:cubicBezTo>
                    <a:cubicBezTo>
                      <a:pt x="1664543" y="519202"/>
                      <a:pt x="1709949" y="507850"/>
                      <a:pt x="1754839" y="495467"/>
                    </a:cubicBezTo>
                    <a:cubicBezTo>
                      <a:pt x="1783734" y="487727"/>
                      <a:pt x="1796634" y="492371"/>
                      <a:pt x="1812629" y="517654"/>
                    </a:cubicBezTo>
                    <a:cubicBezTo>
                      <a:pt x="1819853" y="528490"/>
                      <a:pt x="1826044" y="539841"/>
                      <a:pt x="1830172" y="552225"/>
                    </a:cubicBezTo>
                    <a:cubicBezTo>
                      <a:pt x="1837912" y="574412"/>
                      <a:pt x="1834299" y="588343"/>
                      <a:pt x="1815724" y="603306"/>
                    </a:cubicBezTo>
                    <a:cubicBezTo>
                      <a:pt x="1777026" y="634265"/>
                      <a:pt x="1738844" y="665224"/>
                      <a:pt x="1699630" y="695666"/>
                    </a:cubicBezTo>
                    <a:cubicBezTo>
                      <a:pt x="1680022" y="710629"/>
                      <a:pt x="1674862" y="729205"/>
                      <a:pt x="1678990" y="751908"/>
                    </a:cubicBezTo>
                    <a:cubicBezTo>
                      <a:pt x="1680539" y="759647"/>
                      <a:pt x="1683119" y="766871"/>
                      <a:pt x="1685182" y="774611"/>
                    </a:cubicBezTo>
                    <a:cubicBezTo>
                      <a:pt x="1691890" y="798862"/>
                      <a:pt x="1707885" y="812277"/>
                      <a:pt x="1732652" y="815373"/>
                    </a:cubicBezTo>
                    <a:cubicBezTo>
                      <a:pt x="1779606" y="821565"/>
                      <a:pt x="1826560" y="828272"/>
                      <a:pt x="1872998" y="834464"/>
                    </a:cubicBezTo>
                    <a:cubicBezTo>
                      <a:pt x="1900861" y="838076"/>
                      <a:pt x="1915308" y="851491"/>
                      <a:pt x="1918404" y="879354"/>
                    </a:cubicBezTo>
                    <a:cubicBezTo>
                      <a:pt x="1919952" y="892770"/>
                      <a:pt x="1921500" y="906185"/>
                      <a:pt x="1919952" y="919600"/>
                    </a:cubicBezTo>
                    <a:cubicBezTo>
                      <a:pt x="1917372" y="940755"/>
                      <a:pt x="1906536" y="952623"/>
                      <a:pt x="1886930" y="958299"/>
                    </a:cubicBezTo>
                    <a:cubicBezTo>
                      <a:pt x="1843071" y="970682"/>
                      <a:pt x="1798697" y="983065"/>
                      <a:pt x="1754839" y="995965"/>
                    </a:cubicBezTo>
                    <a:cubicBezTo>
                      <a:pt x="1712013" y="1008348"/>
                      <a:pt x="1692406" y="1040855"/>
                      <a:pt x="1701178" y="1085229"/>
                    </a:cubicBezTo>
                    <a:cubicBezTo>
                      <a:pt x="1704273" y="1102256"/>
                      <a:pt x="1714077" y="1113092"/>
                      <a:pt x="1728524" y="1121348"/>
                    </a:cubicBezTo>
                    <a:cubicBezTo>
                      <a:pt x="1768771" y="1145083"/>
                      <a:pt x="1809016" y="1168817"/>
                      <a:pt x="1849779" y="1192552"/>
                    </a:cubicBezTo>
                    <a:cubicBezTo>
                      <a:pt x="1879706" y="1210096"/>
                      <a:pt x="1884350" y="1220415"/>
                      <a:pt x="1876094" y="1253954"/>
                    </a:cubicBezTo>
                    <a:cubicBezTo>
                      <a:pt x="1875578" y="1256018"/>
                      <a:pt x="1875578" y="1258082"/>
                      <a:pt x="1875062" y="1260145"/>
                    </a:cubicBezTo>
                    <a:cubicBezTo>
                      <a:pt x="1862678" y="1300908"/>
                      <a:pt x="1848747" y="1321031"/>
                      <a:pt x="1802309" y="1312259"/>
                    </a:cubicBezTo>
                    <a:cubicBezTo>
                      <a:pt x="1760515" y="1304003"/>
                      <a:pt x="1717689" y="1302456"/>
                      <a:pt x="1675379" y="1296264"/>
                    </a:cubicBezTo>
                    <a:cubicBezTo>
                      <a:pt x="1645452" y="1292136"/>
                      <a:pt x="1625845" y="1304003"/>
                      <a:pt x="1611398" y="1329286"/>
                    </a:cubicBezTo>
                    <a:cubicBezTo>
                      <a:pt x="1596434" y="1355085"/>
                      <a:pt x="1589726" y="1379336"/>
                      <a:pt x="1610365" y="1405651"/>
                    </a:cubicBezTo>
                    <a:cubicBezTo>
                      <a:pt x="1638228" y="1441254"/>
                      <a:pt x="1665059" y="1477888"/>
                      <a:pt x="1692406" y="1514006"/>
                    </a:cubicBezTo>
                    <a:cubicBezTo>
                      <a:pt x="1715109" y="1543417"/>
                      <a:pt x="1715109" y="1555285"/>
                      <a:pt x="1692406" y="1584695"/>
                    </a:cubicBezTo>
                    <a:cubicBezTo>
                      <a:pt x="1691374" y="1585727"/>
                      <a:pt x="1690342" y="1587275"/>
                      <a:pt x="1689310" y="1588307"/>
                    </a:cubicBezTo>
                    <a:cubicBezTo>
                      <a:pt x="1659383" y="1620298"/>
                      <a:pt x="1647516" y="1634229"/>
                      <a:pt x="1600562" y="1605850"/>
                    </a:cubicBezTo>
                    <a:cubicBezTo>
                      <a:pt x="1564444" y="1584179"/>
                      <a:pt x="1526261" y="1565604"/>
                      <a:pt x="1490659" y="1543933"/>
                    </a:cubicBezTo>
                    <a:cubicBezTo>
                      <a:pt x="1461248" y="1526390"/>
                      <a:pt x="1438545" y="1536709"/>
                      <a:pt x="1415326" y="1554769"/>
                    </a:cubicBezTo>
                    <a:cubicBezTo>
                      <a:pt x="1392107" y="1572312"/>
                      <a:pt x="1382819" y="1593467"/>
                      <a:pt x="1391075" y="1622877"/>
                    </a:cubicBezTo>
                    <a:cubicBezTo>
                      <a:pt x="1403974" y="1668284"/>
                      <a:pt x="1415326" y="1714205"/>
                      <a:pt x="1426677" y="1760128"/>
                    </a:cubicBezTo>
                    <a:cubicBezTo>
                      <a:pt x="1432870" y="1784894"/>
                      <a:pt x="1427710" y="1798310"/>
                      <a:pt x="1406554" y="1811725"/>
                    </a:cubicBezTo>
                    <a:cubicBezTo>
                      <a:pt x="1395203" y="1818949"/>
                      <a:pt x="1383335" y="1825657"/>
                      <a:pt x="1370436" y="1830300"/>
                    </a:cubicBezTo>
                    <a:cubicBezTo>
                      <a:pt x="1347733" y="1838556"/>
                      <a:pt x="1331222" y="1834428"/>
                      <a:pt x="1316258" y="1815337"/>
                    </a:cubicBezTo>
                    <a:cubicBezTo>
                      <a:pt x="1287879" y="1779735"/>
                      <a:pt x="1259501" y="1743616"/>
                      <a:pt x="1231122" y="1707498"/>
                    </a:cubicBezTo>
                    <a:cubicBezTo>
                      <a:pt x="1203775" y="1673443"/>
                      <a:pt x="1154242" y="1668800"/>
                      <a:pt x="1121219" y="1698210"/>
                    </a:cubicBezTo>
                    <a:cubicBezTo>
                      <a:pt x="1112447" y="1705950"/>
                      <a:pt x="1108320" y="1715753"/>
                      <a:pt x="1106771" y="1727105"/>
                    </a:cubicBezTo>
                    <a:cubicBezTo>
                      <a:pt x="1100064" y="1774575"/>
                      <a:pt x="1092324" y="1821529"/>
                      <a:pt x="1087165" y="1868999"/>
                    </a:cubicBezTo>
                    <a:cubicBezTo>
                      <a:pt x="1084068" y="1893766"/>
                      <a:pt x="1074265" y="1911309"/>
                      <a:pt x="1050014" y="1919049"/>
                    </a:cubicBezTo>
                    <a:cubicBezTo>
                      <a:pt x="1029375" y="1919049"/>
                      <a:pt x="1008220" y="1919049"/>
                      <a:pt x="987581" y="1919049"/>
                    </a:cubicBezTo>
                    <a:cubicBezTo>
                      <a:pt x="973133" y="1910277"/>
                      <a:pt x="964878" y="1897377"/>
                      <a:pt x="960234" y="1880866"/>
                    </a:cubicBezTo>
                    <a:cubicBezTo>
                      <a:pt x="947851" y="1835460"/>
                      <a:pt x="933919" y="1790054"/>
                      <a:pt x="921535" y="1744132"/>
                    </a:cubicBezTo>
                    <a:cubicBezTo>
                      <a:pt x="914828" y="1719881"/>
                      <a:pt x="899865" y="1706982"/>
                      <a:pt x="875614" y="1703886"/>
                    </a:cubicBezTo>
                    <a:cubicBezTo>
                      <a:pt x="866326" y="1702854"/>
                      <a:pt x="857038" y="1701306"/>
                      <a:pt x="847751" y="1700790"/>
                    </a:cubicBezTo>
                    <a:cubicBezTo>
                      <a:pt x="826080" y="1699242"/>
                      <a:pt x="811117" y="1709046"/>
                      <a:pt x="800281" y="1727105"/>
                    </a:cubicBezTo>
                    <a:cubicBezTo>
                      <a:pt x="796153" y="1733813"/>
                      <a:pt x="792541" y="1740520"/>
                      <a:pt x="788414" y="1747228"/>
                    </a:cubicBezTo>
                    <a:cubicBezTo>
                      <a:pt x="766742" y="1783862"/>
                      <a:pt x="745587" y="1821013"/>
                      <a:pt x="723401" y="1857131"/>
                    </a:cubicBezTo>
                    <a:cubicBezTo>
                      <a:pt x="711533" y="1877254"/>
                      <a:pt x="697085" y="1882414"/>
                      <a:pt x="674383" y="1877254"/>
                    </a:cubicBezTo>
                    <a:cubicBezTo>
                      <a:pt x="660451" y="1874158"/>
                      <a:pt x="647552" y="1869515"/>
                      <a:pt x="634652" y="1863839"/>
                    </a:cubicBezTo>
                    <a:cubicBezTo>
                      <a:pt x="611949" y="1853003"/>
                      <a:pt x="604726" y="1839072"/>
                      <a:pt x="607822" y="1813789"/>
                    </a:cubicBezTo>
                    <a:cubicBezTo>
                      <a:pt x="613497" y="1766835"/>
                      <a:pt x="618141" y="1719881"/>
                      <a:pt x="624848" y="1672927"/>
                    </a:cubicBezTo>
                    <a:cubicBezTo>
                      <a:pt x="629492" y="1639905"/>
                      <a:pt x="611949" y="1621846"/>
                      <a:pt x="586150" y="1607398"/>
                    </a:cubicBezTo>
                    <a:cubicBezTo>
                      <a:pt x="560868" y="1593467"/>
                      <a:pt x="538165" y="1591403"/>
                      <a:pt x="514430" y="1611010"/>
                    </a:cubicBezTo>
                    <a:cubicBezTo>
                      <a:pt x="481407" y="1637325"/>
                      <a:pt x="446836" y="1661576"/>
                      <a:pt x="413814" y="1687375"/>
                    </a:cubicBezTo>
                    <a:cubicBezTo>
                      <a:pt x="380276" y="1713690"/>
                      <a:pt x="365828" y="1719365"/>
                      <a:pt x="324550" y="1682215"/>
                    </a:cubicBezTo>
                    <a:cubicBezTo>
                      <a:pt x="321970" y="1679635"/>
                      <a:pt x="319390" y="1677055"/>
                      <a:pt x="316810" y="1674475"/>
                    </a:cubicBezTo>
                    <a:cubicBezTo>
                      <a:pt x="296687" y="1653836"/>
                      <a:pt x="294623" y="1637841"/>
                      <a:pt x="309071" y="1612558"/>
                    </a:cubicBezTo>
                    <a:cubicBezTo>
                      <a:pt x="331258" y="1572828"/>
                      <a:pt x="353960" y="1532581"/>
                      <a:pt x="376148" y="1492851"/>
                    </a:cubicBezTo>
                    <a:cubicBezTo>
                      <a:pt x="382339" y="1481500"/>
                      <a:pt x="389047" y="1470148"/>
                      <a:pt x="387499" y="1456217"/>
                    </a:cubicBezTo>
                    <a:cubicBezTo>
                      <a:pt x="383887" y="1414423"/>
                      <a:pt x="337449" y="1381400"/>
                      <a:pt x="297203" y="1391720"/>
                    </a:cubicBezTo>
                    <a:cubicBezTo>
                      <a:pt x="250765" y="1403587"/>
                      <a:pt x="204327" y="1415455"/>
                      <a:pt x="158405" y="1427838"/>
                    </a:cubicBezTo>
                    <a:cubicBezTo>
                      <a:pt x="139830" y="1432998"/>
                      <a:pt x="125899" y="1427322"/>
                      <a:pt x="114031" y="1412875"/>
                    </a:cubicBezTo>
                    <a:cubicBezTo>
                      <a:pt x="104228" y="1401007"/>
                      <a:pt x="98036" y="1387592"/>
                      <a:pt x="91844" y="1373660"/>
                    </a:cubicBezTo>
                    <a:cubicBezTo>
                      <a:pt x="81525" y="1349409"/>
                      <a:pt x="86169" y="1331866"/>
                      <a:pt x="106808" y="1315871"/>
                    </a:cubicBezTo>
                    <a:cubicBezTo>
                      <a:pt x="140862" y="1288524"/>
                      <a:pt x="175432" y="1261693"/>
                      <a:pt x="209487" y="1234347"/>
                    </a:cubicBezTo>
                    <a:cubicBezTo>
                      <a:pt x="245605" y="1206484"/>
                      <a:pt x="248701" y="1194616"/>
                      <a:pt x="236834" y="1151274"/>
                    </a:cubicBezTo>
                    <a:cubicBezTo>
                      <a:pt x="228578" y="1122896"/>
                      <a:pt x="211551" y="1107932"/>
                      <a:pt x="181624" y="1104836"/>
                    </a:cubicBezTo>
                    <a:cubicBezTo>
                      <a:pt x="138282" y="1100192"/>
                      <a:pt x="95456" y="1091937"/>
                      <a:pt x="52114" y="1087293"/>
                    </a:cubicBezTo>
                    <a:cubicBezTo>
                      <a:pt x="27347" y="1084713"/>
                      <a:pt x="9804" y="1074910"/>
                      <a:pt x="1032" y="1051175"/>
                    </a:cubicBezTo>
                    <a:cubicBezTo>
                      <a:pt x="0" y="1028988"/>
                      <a:pt x="0" y="1008348"/>
                      <a:pt x="0" y="987194"/>
                    </a:cubicBezTo>
                    <a:close/>
                    <a:moveTo>
                      <a:pt x="1198616" y="960879"/>
                    </a:moveTo>
                    <a:cubicBezTo>
                      <a:pt x="1200163" y="838592"/>
                      <a:pt x="1104192" y="720433"/>
                      <a:pt x="958686" y="720949"/>
                    </a:cubicBezTo>
                    <a:cubicBezTo>
                      <a:pt x="824016" y="721465"/>
                      <a:pt x="720821" y="824145"/>
                      <a:pt x="720304" y="959331"/>
                    </a:cubicBezTo>
                    <a:cubicBezTo>
                      <a:pt x="719788" y="1096581"/>
                      <a:pt x="827628" y="1197712"/>
                      <a:pt x="957654" y="1198744"/>
                    </a:cubicBezTo>
                    <a:cubicBezTo>
                      <a:pt x="1090776" y="1199776"/>
                      <a:pt x="1198100" y="1092969"/>
                      <a:pt x="1198616" y="960879"/>
                    </a:cubicBezTo>
                    <a:close/>
                  </a:path>
                </a:pathLst>
              </a:custGeom>
              <a:grpFill/>
              <a:ln w="51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C1613B70-341B-437A-A0D4-569BDB3F76E5}"/>
                  </a:ext>
                </a:extLst>
              </p:cNvPr>
              <p:cNvGrpSpPr/>
              <p:nvPr/>
            </p:nvGrpSpPr>
            <p:grpSpPr>
              <a:xfrm>
                <a:off x="7392963" y="2648852"/>
                <a:ext cx="1838947" cy="1835405"/>
                <a:chOff x="7167947" y="1624190"/>
                <a:chExt cx="2677922" cy="2672763"/>
              </a:xfrm>
              <a:grpFill/>
            </p:grpSpPr>
            <p:sp>
              <p:nvSpPr>
                <p:cNvPr id="20" name="Freeform: Shape 19">
                  <a:extLst>
                    <a:ext uri="{FF2B5EF4-FFF2-40B4-BE49-F238E27FC236}">
                      <a16:creationId xmlns:a16="http://schemas.microsoft.com/office/drawing/2014/main" id="{A96EF5B8-28BF-47BD-A097-7ADED01EDC98}"/>
                    </a:ext>
                  </a:extLst>
                </p:cNvPr>
                <p:cNvSpPr/>
                <p:nvPr/>
              </p:nvSpPr>
              <p:spPr>
                <a:xfrm>
                  <a:off x="7167947" y="1624190"/>
                  <a:ext cx="2677922" cy="2672763"/>
                </a:xfrm>
                <a:custGeom>
                  <a:avLst/>
                  <a:gdLst>
                    <a:gd name="connsiteX0" fmla="*/ 2538684 w 2677922"/>
                    <a:gd name="connsiteY0" fmla="*/ 1897505 h 2672762"/>
                    <a:gd name="connsiteX1" fmla="*/ 2456643 w 2677922"/>
                    <a:gd name="connsiteY1" fmla="*/ 1879446 h 2672762"/>
                    <a:gd name="connsiteX2" fmla="*/ 2389566 w 2677922"/>
                    <a:gd name="connsiteY2" fmla="*/ 1863966 h 2672762"/>
                    <a:gd name="connsiteX3" fmla="*/ 2354479 w 2677922"/>
                    <a:gd name="connsiteY3" fmla="*/ 1874802 h 2672762"/>
                    <a:gd name="connsiteX4" fmla="*/ 2312170 w 2677922"/>
                    <a:gd name="connsiteY4" fmla="*/ 1950651 h 2672762"/>
                    <a:gd name="connsiteX5" fmla="*/ 2322489 w 2677922"/>
                    <a:gd name="connsiteY5" fmla="*/ 1983157 h 2672762"/>
                    <a:gd name="connsiteX6" fmla="*/ 2412785 w 2677922"/>
                    <a:gd name="connsiteY6" fmla="*/ 2080161 h 2672762"/>
                    <a:gd name="connsiteX7" fmla="*/ 2418461 w 2677922"/>
                    <a:gd name="connsiteY7" fmla="*/ 2146722 h 2672762"/>
                    <a:gd name="connsiteX8" fmla="*/ 2414849 w 2677922"/>
                    <a:gd name="connsiteY8" fmla="*/ 2151882 h 2672762"/>
                    <a:gd name="connsiteX9" fmla="*/ 2324037 w 2677922"/>
                    <a:gd name="connsiteY9" fmla="*/ 2174585 h 2672762"/>
                    <a:gd name="connsiteX10" fmla="*/ 2219294 w 2677922"/>
                    <a:gd name="connsiteY10" fmla="*/ 2118859 h 2672762"/>
                    <a:gd name="connsiteX11" fmla="*/ 2178531 w 2677922"/>
                    <a:gd name="connsiteY11" fmla="*/ 2120407 h 2672762"/>
                    <a:gd name="connsiteX12" fmla="*/ 2125386 w 2677922"/>
                    <a:gd name="connsiteY12" fmla="*/ 2172521 h 2672762"/>
                    <a:gd name="connsiteX13" fmla="*/ 2122806 w 2677922"/>
                    <a:gd name="connsiteY13" fmla="*/ 2217411 h 2672762"/>
                    <a:gd name="connsiteX14" fmla="*/ 2184723 w 2677922"/>
                    <a:gd name="connsiteY14" fmla="*/ 2334538 h 2672762"/>
                    <a:gd name="connsiteX15" fmla="*/ 2174404 w 2677922"/>
                    <a:gd name="connsiteY15" fmla="*/ 2395423 h 2672762"/>
                    <a:gd name="connsiteX16" fmla="*/ 2164084 w 2677922"/>
                    <a:gd name="connsiteY16" fmla="*/ 2404711 h 2672762"/>
                    <a:gd name="connsiteX17" fmla="*/ 2075336 w 2677922"/>
                    <a:gd name="connsiteY17" fmla="*/ 2401615 h 2672762"/>
                    <a:gd name="connsiteX18" fmla="*/ 1988652 w 2677922"/>
                    <a:gd name="connsiteY18" fmla="*/ 2320606 h 2672762"/>
                    <a:gd name="connsiteX19" fmla="*/ 1944277 w 2677922"/>
                    <a:gd name="connsiteY19" fmla="*/ 2311835 h 2672762"/>
                    <a:gd name="connsiteX20" fmla="*/ 1883392 w 2677922"/>
                    <a:gd name="connsiteY20" fmla="*/ 2346405 h 2672762"/>
                    <a:gd name="connsiteX21" fmla="*/ 1868429 w 2677922"/>
                    <a:gd name="connsiteY21" fmla="*/ 2391811 h 2672762"/>
                    <a:gd name="connsiteX22" fmla="*/ 1899388 w 2677922"/>
                    <a:gd name="connsiteY22" fmla="*/ 2526997 h 2672762"/>
                    <a:gd name="connsiteX23" fmla="*/ 1879264 w 2677922"/>
                    <a:gd name="connsiteY23" fmla="*/ 2571887 h 2672762"/>
                    <a:gd name="connsiteX24" fmla="*/ 1841082 w 2677922"/>
                    <a:gd name="connsiteY24" fmla="*/ 2588915 h 2672762"/>
                    <a:gd name="connsiteX25" fmla="*/ 1782777 w 2677922"/>
                    <a:gd name="connsiteY25" fmla="*/ 2568276 h 2672762"/>
                    <a:gd name="connsiteX26" fmla="*/ 1715184 w 2677922"/>
                    <a:gd name="connsiteY26" fmla="*/ 2459404 h 2672762"/>
                    <a:gd name="connsiteX27" fmla="*/ 1664618 w 2677922"/>
                    <a:gd name="connsiteY27" fmla="*/ 2435669 h 2672762"/>
                    <a:gd name="connsiteX28" fmla="*/ 1610440 w 2677922"/>
                    <a:gd name="connsiteY28" fmla="*/ 2450117 h 2672762"/>
                    <a:gd name="connsiteX29" fmla="*/ 1577418 w 2677922"/>
                    <a:gd name="connsiteY29" fmla="*/ 2495007 h 2672762"/>
                    <a:gd name="connsiteX30" fmla="*/ 1573806 w 2677922"/>
                    <a:gd name="connsiteY30" fmla="*/ 2616777 h 2672762"/>
                    <a:gd name="connsiteX31" fmla="*/ 1526852 w 2677922"/>
                    <a:gd name="connsiteY31" fmla="*/ 2672503 h 2672762"/>
                    <a:gd name="connsiteX32" fmla="*/ 1497441 w 2677922"/>
                    <a:gd name="connsiteY32" fmla="*/ 2676115 h 2672762"/>
                    <a:gd name="connsiteX33" fmla="*/ 1449972 w 2677922"/>
                    <a:gd name="connsiteY33" fmla="*/ 2644124 h 2672762"/>
                    <a:gd name="connsiteX34" fmla="*/ 1410241 w 2677922"/>
                    <a:gd name="connsiteY34" fmla="*/ 2514614 h 2672762"/>
                    <a:gd name="connsiteX35" fmla="*/ 1373091 w 2677922"/>
                    <a:gd name="connsiteY35" fmla="*/ 2482623 h 2672762"/>
                    <a:gd name="connsiteX36" fmla="*/ 1304982 w 2677922"/>
                    <a:gd name="connsiteY36" fmla="*/ 2483139 h 2672762"/>
                    <a:gd name="connsiteX37" fmla="*/ 1271959 w 2677922"/>
                    <a:gd name="connsiteY37" fmla="*/ 2511518 h 2672762"/>
                    <a:gd name="connsiteX38" fmla="*/ 1234293 w 2677922"/>
                    <a:gd name="connsiteY38" fmla="*/ 2633805 h 2672762"/>
                    <a:gd name="connsiteX39" fmla="*/ 1170828 w 2677922"/>
                    <a:gd name="connsiteY39" fmla="*/ 2674567 h 2672762"/>
                    <a:gd name="connsiteX40" fmla="*/ 1106847 w 2677922"/>
                    <a:gd name="connsiteY40" fmla="*/ 2602330 h 2672762"/>
                    <a:gd name="connsiteX41" fmla="*/ 1103751 w 2677922"/>
                    <a:gd name="connsiteY41" fmla="*/ 2491395 h 2672762"/>
                    <a:gd name="connsiteX42" fmla="*/ 1080532 w 2677922"/>
                    <a:gd name="connsiteY42" fmla="*/ 2454244 h 2672762"/>
                    <a:gd name="connsiteX43" fmla="*/ 1005199 w 2677922"/>
                    <a:gd name="connsiteY43" fmla="*/ 2435153 h 2672762"/>
                    <a:gd name="connsiteX44" fmla="*/ 969080 w 2677922"/>
                    <a:gd name="connsiteY44" fmla="*/ 2454244 h 2672762"/>
                    <a:gd name="connsiteX45" fmla="*/ 900456 w 2677922"/>
                    <a:gd name="connsiteY45" fmla="*/ 2564148 h 2672762"/>
                    <a:gd name="connsiteX46" fmla="*/ 836474 w 2677922"/>
                    <a:gd name="connsiteY46" fmla="*/ 2587367 h 2672762"/>
                    <a:gd name="connsiteX47" fmla="*/ 831830 w 2677922"/>
                    <a:gd name="connsiteY47" fmla="*/ 2585819 h 2672762"/>
                    <a:gd name="connsiteX48" fmla="*/ 785392 w 2677922"/>
                    <a:gd name="connsiteY48" fmla="*/ 2504810 h 2672762"/>
                    <a:gd name="connsiteX49" fmla="*/ 811707 w 2677922"/>
                    <a:gd name="connsiteY49" fmla="*/ 2390779 h 2672762"/>
                    <a:gd name="connsiteX50" fmla="*/ 794680 w 2677922"/>
                    <a:gd name="connsiteY50" fmla="*/ 2344341 h 2672762"/>
                    <a:gd name="connsiteX51" fmla="*/ 739470 w 2677922"/>
                    <a:gd name="connsiteY51" fmla="*/ 2312351 h 2672762"/>
                    <a:gd name="connsiteX52" fmla="*/ 689421 w 2677922"/>
                    <a:gd name="connsiteY52" fmla="*/ 2321638 h 2672762"/>
                    <a:gd name="connsiteX53" fmla="*/ 596029 w 2677922"/>
                    <a:gd name="connsiteY53" fmla="*/ 2408838 h 2672762"/>
                    <a:gd name="connsiteX54" fmla="*/ 530500 w 2677922"/>
                    <a:gd name="connsiteY54" fmla="*/ 2415030 h 2672762"/>
                    <a:gd name="connsiteX55" fmla="*/ 521212 w 2677922"/>
                    <a:gd name="connsiteY55" fmla="*/ 2408838 h 2672762"/>
                    <a:gd name="connsiteX56" fmla="*/ 500573 w 2677922"/>
                    <a:gd name="connsiteY56" fmla="*/ 2322670 h 2672762"/>
                    <a:gd name="connsiteX57" fmla="*/ 556298 w 2677922"/>
                    <a:gd name="connsiteY57" fmla="*/ 2217927 h 2672762"/>
                    <a:gd name="connsiteX58" fmla="*/ 552171 w 2677922"/>
                    <a:gd name="connsiteY58" fmla="*/ 2168909 h 2672762"/>
                    <a:gd name="connsiteX59" fmla="*/ 505733 w 2677922"/>
                    <a:gd name="connsiteY59" fmla="*/ 2122987 h 2672762"/>
                    <a:gd name="connsiteX60" fmla="*/ 457747 w 2677922"/>
                    <a:gd name="connsiteY60" fmla="*/ 2119375 h 2672762"/>
                    <a:gd name="connsiteX61" fmla="*/ 341652 w 2677922"/>
                    <a:gd name="connsiteY61" fmla="*/ 2180777 h 2672762"/>
                    <a:gd name="connsiteX62" fmla="*/ 278187 w 2677922"/>
                    <a:gd name="connsiteY62" fmla="*/ 2168909 h 2672762"/>
                    <a:gd name="connsiteX63" fmla="*/ 274059 w 2677922"/>
                    <a:gd name="connsiteY63" fmla="*/ 2164265 h 2672762"/>
                    <a:gd name="connsiteX64" fmla="*/ 276639 w 2677922"/>
                    <a:gd name="connsiteY64" fmla="*/ 2069325 h 2672762"/>
                    <a:gd name="connsiteX65" fmla="*/ 354551 w 2677922"/>
                    <a:gd name="connsiteY65" fmla="*/ 1986253 h 2672762"/>
                    <a:gd name="connsiteX66" fmla="*/ 363839 w 2677922"/>
                    <a:gd name="connsiteY66" fmla="*/ 1940847 h 2672762"/>
                    <a:gd name="connsiteX67" fmla="*/ 328237 w 2677922"/>
                    <a:gd name="connsiteY67" fmla="*/ 1878930 h 2672762"/>
                    <a:gd name="connsiteX68" fmla="*/ 283347 w 2677922"/>
                    <a:gd name="connsiteY68" fmla="*/ 1866030 h 2672762"/>
                    <a:gd name="connsiteX69" fmla="*/ 170864 w 2677922"/>
                    <a:gd name="connsiteY69" fmla="*/ 1891829 h 2672762"/>
                    <a:gd name="connsiteX70" fmla="*/ 155900 w 2677922"/>
                    <a:gd name="connsiteY70" fmla="*/ 1895441 h 2672762"/>
                    <a:gd name="connsiteX71" fmla="*/ 100175 w 2677922"/>
                    <a:gd name="connsiteY71" fmla="*/ 1868094 h 2672762"/>
                    <a:gd name="connsiteX72" fmla="*/ 87275 w 2677922"/>
                    <a:gd name="connsiteY72" fmla="*/ 1838168 h 2672762"/>
                    <a:gd name="connsiteX73" fmla="*/ 107915 w 2677922"/>
                    <a:gd name="connsiteY73" fmla="*/ 1779862 h 2672762"/>
                    <a:gd name="connsiteX74" fmla="*/ 213690 w 2677922"/>
                    <a:gd name="connsiteY74" fmla="*/ 1713817 h 2672762"/>
                    <a:gd name="connsiteX75" fmla="*/ 238972 w 2677922"/>
                    <a:gd name="connsiteY75" fmla="*/ 1654480 h 2672762"/>
                    <a:gd name="connsiteX76" fmla="*/ 222977 w 2677922"/>
                    <a:gd name="connsiteY76" fmla="*/ 1600818 h 2672762"/>
                    <a:gd name="connsiteX77" fmla="*/ 184279 w 2677922"/>
                    <a:gd name="connsiteY77" fmla="*/ 1575019 h 2672762"/>
                    <a:gd name="connsiteX78" fmla="*/ 59413 w 2677922"/>
                    <a:gd name="connsiteY78" fmla="*/ 1571407 h 2672762"/>
                    <a:gd name="connsiteX79" fmla="*/ 3687 w 2677922"/>
                    <a:gd name="connsiteY79" fmla="*/ 1524453 h 2672762"/>
                    <a:gd name="connsiteX80" fmla="*/ 1623 w 2677922"/>
                    <a:gd name="connsiteY80" fmla="*/ 1513618 h 2672762"/>
                    <a:gd name="connsiteX81" fmla="*/ 48577 w 2677922"/>
                    <a:gd name="connsiteY81" fmla="*/ 1442413 h 2672762"/>
                    <a:gd name="connsiteX82" fmla="*/ 160544 w 2677922"/>
                    <a:gd name="connsiteY82" fmla="*/ 1408358 h 2672762"/>
                    <a:gd name="connsiteX83" fmla="*/ 194083 w 2677922"/>
                    <a:gd name="connsiteY83" fmla="*/ 1370692 h 2672762"/>
                    <a:gd name="connsiteX84" fmla="*/ 192534 w 2677922"/>
                    <a:gd name="connsiteY84" fmla="*/ 1298971 h 2672762"/>
                    <a:gd name="connsiteX85" fmla="*/ 166220 w 2677922"/>
                    <a:gd name="connsiteY85" fmla="*/ 1269560 h 2672762"/>
                    <a:gd name="connsiteX86" fmla="*/ 47029 w 2677922"/>
                    <a:gd name="connsiteY86" fmla="*/ 1232926 h 2672762"/>
                    <a:gd name="connsiteX87" fmla="*/ 1623 w 2677922"/>
                    <a:gd name="connsiteY87" fmla="*/ 1166881 h 2672762"/>
                    <a:gd name="connsiteX88" fmla="*/ 6267 w 2677922"/>
                    <a:gd name="connsiteY88" fmla="*/ 1139534 h 2672762"/>
                    <a:gd name="connsiteX89" fmla="*/ 49093 w 2677922"/>
                    <a:gd name="connsiteY89" fmla="*/ 1105480 h 2672762"/>
                    <a:gd name="connsiteX90" fmla="*/ 164672 w 2677922"/>
                    <a:gd name="connsiteY90" fmla="*/ 1101868 h 2672762"/>
                    <a:gd name="connsiteX91" fmla="*/ 181699 w 2677922"/>
                    <a:gd name="connsiteY91" fmla="*/ 1101352 h 2672762"/>
                    <a:gd name="connsiteX92" fmla="*/ 227621 w 2677922"/>
                    <a:gd name="connsiteY92" fmla="*/ 1065233 h 2672762"/>
                    <a:gd name="connsiteX93" fmla="*/ 241036 w 2677922"/>
                    <a:gd name="connsiteY93" fmla="*/ 1014152 h 2672762"/>
                    <a:gd name="connsiteX94" fmla="*/ 219366 w 2677922"/>
                    <a:gd name="connsiteY94" fmla="*/ 965650 h 2672762"/>
                    <a:gd name="connsiteX95" fmla="*/ 113590 w 2677922"/>
                    <a:gd name="connsiteY95" fmla="*/ 899605 h 2672762"/>
                    <a:gd name="connsiteX96" fmla="*/ 89855 w 2677922"/>
                    <a:gd name="connsiteY96" fmla="*/ 832012 h 2672762"/>
                    <a:gd name="connsiteX97" fmla="*/ 104818 w 2677922"/>
                    <a:gd name="connsiteY97" fmla="*/ 799505 h 2672762"/>
                    <a:gd name="connsiteX98" fmla="*/ 151256 w 2677922"/>
                    <a:gd name="connsiteY98" fmla="*/ 779898 h 2672762"/>
                    <a:gd name="connsiteX99" fmla="*/ 283347 w 2677922"/>
                    <a:gd name="connsiteY99" fmla="*/ 810341 h 2672762"/>
                    <a:gd name="connsiteX100" fmla="*/ 331332 w 2677922"/>
                    <a:gd name="connsiteY100" fmla="*/ 794345 h 2672762"/>
                    <a:gd name="connsiteX101" fmla="*/ 363839 w 2677922"/>
                    <a:gd name="connsiteY101" fmla="*/ 737588 h 2672762"/>
                    <a:gd name="connsiteX102" fmla="*/ 354551 w 2677922"/>
                    <a:gd name="connsiteY102" fmla="*/ 689086 h 2672762"/>
                    <a:gd name="connsiteX103" fmla="*/ 266835 w 2677922"/>
                    <a:gd name="connsiteY103" fmla="*/ 595694 h 2672762"/>
                    <a:gd name="connsiteX104" fmla="*/ 261675 w 2677922"/>
                    <a:gd name="connsiteY104" fmla="*/ 529133 h 2672762"/>
                    <a:gd name="connsiteX105" fmla="*/ 270447 w 2677922"/>
                    <a:gd name="connsiteY105" fmla="*/ 516233 h 2672762"/>
                    <a:gd name="connsiteX106" fmla="*/ 349907 w 2677922"/>
                    <a:gd name="connsiteY106" fmla="*/ 498690 h 2672762"/>
                    <a:gd name="connsiteX107" fmla="*/ 457231 w 2677922"/>
                    <a:gd name="connsiteY107" fmla="*/ 555964 h 2672762"/>
                    <a:gd name="connsiteX108" fmla="*/ 507797 w 2677922"/>
                    <a:gd name="connsiteY108" fmla="*/ 551320 h 2672762"/>
                    <a:gd name="connsiteX109" fmla="*/ 551139 w 2677922"/>
                    <a:gd name="connsiteY109" fmla="*/ 508494 h 2672762"/>
                    <a:gd name="connsiteX110" fmla="*/ 556815 w 2677922"/>
                    <a:gd name="connsiteY110" fmla="*/ 456896 h 2672762"/>
                    <a:gd name="connsiteX111" fmla="*/ 494381 w 2677922"/>
                    <a:gd name="connsiteY111" fmla="*/ 339769 h 2672762"/>
                    <a:gd name="connsiteX112" fmla="*/ 505217 w 2677922"/>
                    <a:gd name="connsiteY112" fmla="*/ 280432 h 2672762"/>
                    <a:gd name="connsiteX113" fmla="*/ 537723 w 2677922"/>
                    <a:gd name="connsiteY113" fmla="*/ 256181 h 2672762"/>
                    <a:gd name="connsiteX114" fmla="*/ 590353 w 2677922"/>
                    <a:gd name="connsiteY114" fmla="*/ 261857 h 2672762"/>
                    <a:gd name="connsiteX115" fmla="*/ 679617 w 2677922"/>
                    <a:gd name="connsiteY115" fmla="*/ 344929 h 2672762"/>
                    <a:gd name="connsiteX116" fmla="*/ 754950 w 2677922"/>
                    <a:gd name="connsiteY116" fmla="*/ 355765 h 2672762"/>
                    <a:gd name="connsiteX117" fmla="*/ 797260 w 2677922"/>
                    <a:gd name="connsiteY117" fmla="*/ 329450 h 2672762"/>
                    <a:gd name="connsiteX118" fmla="*/ 811707 w 2677922"/>
                    <a:gd name="connsiteY118" fmla="*/ 285076 h 2672762"/>
                    <a:gd name="connsiteX119" fmla="*/ 781781 w 2677922"/>
                    <a:gd name="connsiteY119" fmla="*/ 156081 h 2672762"/>
                    <a:gd name="connsiteX120" fmla="*/ 807064 w 2677922"/>
                    <a:gd name="connsiteY120" fmla="*/ 100872 h 2672762"/>
                    <a:gd name="connsiteX121" fmla="*/ 841634 w 2677922"/>
                    <a:gd name="connsiteY121" fmla="*/ 86424 h 2672762"/>
                    <a:gd name="connsiteX122" fmla="*/ 896328 w 2677922"/>
                    <a:gd name="connsiteY122" fmla="*/ 106031 h 2672762"/>
                    <a:gd name="connsiteX123" fmla="*/ 965469 w 2677922"/>
                    <a:gd name="connsiteY123" fmla="*/ 217483 h 2672762"/>
                    <a:gd name="connsiteX124" fmla="*/ 1013455 w 2677922"/>
                    <a:gd name="connsiteY124" fmla="*/ 240702 h 2672762"/>
                    <a:gd name="connsiteX125" fmla="*/ 1077952 w 2677922"/>
                    <a:gd name="connsiteY125" fmla="*/ 222642 h 2672762"/>
                    <a:gd name="connsiteX126" fmla="*/ 1101687 w 2677922"/>
                    <a:gd name="connsiteY126" fmla="*/ 188072 h 2672762"/>
                    <a:gd name="connsiteX127" fmla="*/ 1106847 w 2677922"/>
                    <a:gd name="connsiteY127" fmla="*/ 53918 h 2672762"/>
                    <a:gd name="connsiteX128" fmla="*/ 1145029 w 2677922"/>
                    <a:gd name="connsiteY128" fmla="*/ 4900 h 2672762"/>
                    <a:gd name="connsiteX129" fmla="*/ 1158960 w 2677922"/>
                    <a:gd name="connsiteY129" fmla="*/ 1804 h 2672762"/>
                    <a:gd name="connsiteX130" fmla="*/ 1235841 w 2677922"/>
                    <a:gd name="connsiteY130" fmla="*/ 48758 h 2672762"/>
                    <a:gd name="connsiteX131" fmla="*/ 1269895 w 2677922"/>
                    <a:gd name="connsiteY131" fmla="*/ 162273 h 2672762"/>
                    <a:gd name="connsiteX132" fmla="*/ 1303434 w 2677922"/>
                    <a:gd name="connsiteY132" fmla="*/ 192716 h 2672762"/>
                    <a:gd name="connsiteX133" fmla="*/ 1376702 w 2677922"/>
                    <a:gd name="connsiteY133" fmla="*/ 192716 h 2672762"/>
                    <a:gd name="connsiteX134" fmla="*/ 1409209 w 2677922"/>
                    <a:gd name="connsiteY134" fmla="*/ 163305 h 2672762"/>
                    <a:gd name="connsiteX135" fmla="*/ 1447392 w 2677922"/>
                    <a:gd name="connsiteY135" fmla="*/ 37922 h 2672762"/>
                    <a:gd name="connsiteX136" fmla="*/ 1499505 w 2677922"/>
                    <a:gd name="connsiteY136" fmla="*/ 256 h 2672762"/>
                    <a:gd name="connsiteX137" fmla="*/ 1513436 w 2677922"/>
                    <a:gd name="connsiteY137" fmla="*/ 772 h 2672762"/>
                    <a:gd name="connsiteX138" fmla="*/ 1573290 w 2677922"/>
                    <a:gd name="connsiteY138" fmla="*/ 65269 h 2672762"/>
                    <a:gd name="connsiteX139" fmla="*/ 1576902 w 2677922"/>
                    <a:gd name="connsiteY139" fmla="*/ 185492 h 2672762"/>
                    <a:gd name="connsiteX140" fmla="*/ 1598057 w 2677922"/>
                    <a:gd name="connsiteY140" fmla="*/ 220578 h 2672762"/>
                    <a:gd name="connsiteX141" fmla="*/ 1674422 w 2677922"/>
                    <a:gd name="connsiteY141" fmla="*/ 240702 h 2672762"/>
                    <a:gd name="connsiteX142" fmla="*/ 1710540 w 2677922"/>
                    <a:gd name="connsiteY142" fmla="*/ 221610 h 2672762"/>
                    <a:gd name="connsiteX143" fmla="*/ 1779165 w 2677922"/>
                    <a:gd name="connsiteY143" fmla="*/ 111707 h 2672762"/>
                    <a:gd name="connsiteX144" fmla="*/ 1845726 w 2677922"/>
                    <a:gd name="connsiteY144" fmla="*/ 88488 h 2672762"/>
                    <a:gd name="connsiteX145" fmla="*/ 1857594 w 2677922"/>
                    <a:gd name="connsiteY145" fmla="*/ 92616 h 2672762"/>
                    <a:gd name="connsiteX146" fmla="*/ 1895260 w 2677922"/>
                    <a:gd name="connsiteY146" fmla="*/ 166401 h 2672762"/>
                    <a:gd name="connsiteX147" fmla="*/ 1868429 w 2677922"/>
                    <a:gd name="connsiteY147" fmla="*/ 281980 h 2672762"/>
                    <a:gd name="connsiteX148" fmla="*/ 1887004 w 2677922"/>
                    <a:gd name="connsiteY148" fmla="*/ 332030 h 2672762"/>
                    <a:gd name="connsiteX149" fmla="*/ 1946857 w 2677922"/>
                    <a:gd name="connsiteY149" fmla="*/ 365052 h 2672762"/>
                    <a:gd name="connsiteX150" fmla="*/ 1986588 w 2677922"/>
                    <a:gd name="connsiteY150" fmla="*/ 355765 h 2672762"/>
                    <a:gd name="connsiteX151" fmla="*/ 2081528 w 2677922"/>
                    <a:gd name="connsiteY151" fmla="*/ 267532 h 2672762"/>
                    <a:gd name="connsiteX152" fmla="*/ 2151701 w 2677922"/>
                    <a:gd name="connsiteY152" fmla="*/ 261857 h 2672762"/>
                    <a:gd name="connsiteX153" fmla="*/ 2155312 w 2677922"/>
                    <a:gd name="connsiteY153" fmla="*/ 264437 h 2672762"/>
                    <a:gd name="connsiteX154" fmla="*/ 2177500 w 2677922"/>
                    <a:gd name="connsiteY154" fmla="*/ 353701 h 2672762"/>
                    <a:gd name="connsiteX155" fmla="*/ 2122290 w 2677922"/>
                    <a:gd name="connsiteY155" fmla="*/ 456896 h 2672762"/>
                    <a:gd name="connsiteX156" fmla="*/ 2126934 w 2677922"/>
                    <a:gd name="connsiteY156" fmla="*/ 505914 h 2672762"/>
                    <a:gd name="connsiteX157" fmla="*/ 2173372 w 2677922"/>
                    <a:gd name="connsiteY157" fmla="*/ 551836 h 2672762"/>
                    <a:gd name="connsiteX158" fmla="*/ 2219810 w 2677922"/>
                    <a:gd name="connsiteY158" fmla="*/ 555964 h 2672762"/>
                    <a:gd name="connsiteX159" fmla="*/ 2336937 w 2677922"/>
                    <a:gd name="connsiteY159" fmla="*/ 494046 h 2672762"/>
                    <a:gd name="connsiteX160" fmla="*/ 2400917 w 2677922"/>
                    <a:gd name="connsiteY160" fmla="*/ 507462 h 2672762"/>
                    <a:gd name="connsiteX161" fmla="*/ 2420525 w 2677922"/>
                    <a:gd name="connsiteY161" fmla="*/ 533777 h 2672762"/>
                    <a:gd name="connsiteX162" fmla="*/ 2415365 w 2677922"/>
                    <a:gd name="connsiteY162" fmla="*/ 591566 h 2672762"/>
                    <a:gd name="connsiteX163" fmla="*/ 2321973 w 2677922"/>
                    <a:gd name="connsiteY163" fmla="*/ 692182 h 2672762"/>
                    <a:gd name="connsiteX164" fmla="*/ 2313718 w 2677922"/>
                    <a:gd name="connsiteY164" fmla="*/ 733460 h 2672762"/>
                    <a:gd name="connsiteX165" fmla="*/ 2349320 w 2677922"/>
                    <a:gd name="connsiteY165" fmla="*/ 795377 h 2672762"/>
                    <a:gd name="connsiteX166" fmla="*/ 2394726 w 2677922"/>
                    <a:gd name="connsiteY166" fmla="*/ 810341 h 2672762"/>
                    <a:gd name="connsiteX167" fmla="*/ 2526816 w 2677922"/>
                    <a:gd name="connsiteY167" fmla="*/ 780414 h 2672762"/>
                    <a:gd name="connsiteX168" fmla="*/ 2575834 w 2677922"/>
                    <a:gd name="connsiteY168" fmla="*/ 803117 h 2672762"/>
                    <a:gd name="connsiteX169" fmla="*/ 2591313 w 2677922"/>
                    <a:gd name="connsiteY169" fmla="*/ 838719 h 2672762"/>
                    <a:gd name="connsiteX170" fmla="*/ 2570158 w 2677922"/>
                    <a:gd name="connsiteY170" fmla="*/ 896509 h 2672762"/>
                    <a:gd name="connsiteX171" fmla="*/ 2461287 w 2677922"/>
                    <a:gd name="connsiteY171" fmla="*/ 964102 h 2672762"/>
                    <a:gd name="connsiteX172" fmla="*/ 2438068 w 2677922"/>
                    <a:gd name="connsiteY172" fmla="*/ 1014668 h 2672762"/>
                    <a:gd name="connsiteX173" fmla="*/ 2454063 w 2677922"/>
                    <a:gd name="connsiteY173" fmla="*/ 1073489 h 2672762"/>
                    <a:gd name="connsiteX174" fmla="*/ 2492762 w 2677922"/>
                    <a:gd name="connsiteY174" fmla="*/ 1100836 h 2672762"/>
                    <a:gd name="connsiteX175" fmla="*/ 2628464 w 2677922"/>
                    <a:gd name="connsiteY175" fmla="*/ 1105996 h 2672762"/>
                    <a:gd name="connsiteX176" fmla="*/ 2672322 w 2677922"/>
                    <a:gd name="connsiteY176" fmla="*/ 1140566 h 2672762"/>
                    <a:gd name="connsiteX177" fmla="*/ 2677998 w 2677922"/>
                    <a:gd name="connsiteY177" fmla="*/ 1182360 h 2672762"/>
                    <a:gd name="connsiteX178" fmla="*/ 2644459 w 2677922"/>
                    <a:gd name="connsiteY178" fmla="*/ 1229830 h 2672762"/>
                    <a:gd name="connsiteX179" fmla="*/ 2522172 w 2677922"/>
                    <a:gd name="connsiteY179" fmla="*/ 1267497 h 2672762"/>
                    <a:gd name="connsiteX180" fmla="*/ 2483990 w 2677922"/>
                    <a:gd name="connsiteY180" fmla="*/ 1315998 h 2672762"/>
                    <a:gd name="connsiteX181" fmla="*/ 2486570 w 2677922"/>
                    <a:gd name="connsiteY181" fmla="*/ 1379980 h 2672762"/>
                    <a:gd name="connsiteX182" fmla="*/ 2512885 w 2677922"/>
                    <a:gd name="connsiteY182" fmla="*/ 1407842 h 2672762"/>
                    <a:gd name="connsiteX183" fmla="*/ 2641363 w 2677922"/>
                    <a:gd name="connsiteY183" fmla="*/ 1447057 h 2672762"/>
                    <a:gd name="connsiteX184" fmla="*/ 2677998 w 2677922"/>
                    <a:gd name="connsiteY184" fmla="*/ 1498138 h 2672762"/>
                    <a:gd name="connsiteX185" fmla="*/ 2677998 w 2677922"/>
                    <a:gd name="connsiteY185" fmla="*/ 1507426 h 2672762"/>
                    <a:gd name="connsiteX186" fmla="*/ 2611952 w 2677922"/>
                    <a:gd name="connsiteY186" fmla="*/ 1572955 h 2672762"/>
                    <a:gd name="connsiteX187" fmla="*/ 2490182 w 2677922"/>
                    <a:gd name="connsiteY187" fmla="*/ 1576567 h 2672762"/>
                    <a:gd name="connsiteX188" fmla="*/ 2457675 w 2677922"/>
                    <a:gd name="connsiteY188" fmla="*/ 1596690 h 2672762"/>
                    <a:gd name="connsiteX189" fmla="*/ 2437036 w 2677922"/>
                    <a:gd name="connsiteY189" fmla="*/ 1673055 h 2672762"/>
                    <a:gd name="connsiteX190" fmla="*/ 2457159 w 2677922"/>
                    <a:gd name="connsiteY190" fmla="*/ 1710205 h 2672762"/>
                    <a:gd name="connsiteX191" fmla="*/ 2564483 w 2677922"/>
                    <a:gd name="connsiteY191" fmla="*/ 1777282 h 2672762"/>
                    <a:gd name="connsiteX192" fmla="*/ 2588733 w 2677922"/>
                    <a:gd name="connsiteY192" fmla="*/ 1845907 h 2672762"/>
                    <a:gd name="connsiteX193" fmla="*/ 2571706 w 2677922"/>
                    <a:gd name="connsiteY193" fmla="*/ 1880994 h 2672762"/>
                    <a:gd name="connsiteX194" fmla="*/ 2538684 w 2677922"/>
                    <a:gd name="connsiteY194" fmla="*/ 1897505 h 2672762"/>
                    <a:gd name="connsiteX195" fmla="*/ 1338521 w 2677922"/>
                    <a:gd name="connsiteY195" fmla="*/ 2312867 h 2672762"/>
                    <a:gd name="connsiteX196" fmla="*/ 2316814 w 2677922"/>
                    <a:gd name="connsiteY196" fmla="*/ 1335605 h 2672762"/>
                    <a:gd name="connsiteX197" fmla="*/ 1340068 w 2677922"/>
                    <a:gd name="connsiteY197" fmla="*/ 359376 h 2672762"/>
                    <a:gd name="connsiteX198" fmla="*/ 361775 w 2677922"/>
                    <a:gd name="connsiteY198" fmla="*/ 1331994 h 2672762"/>
                    <a:gd name="connsiteX199" fmla="*/ 1338521 w 2677922"/>
                    <a:gd name="connsiteY199" fmla="*/ 2312867 h 26727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</a:cxnLst>
                  <a:rect l="l" t="t" r="r" b="b"/>
                  <a:pathLst>
                    <a:path w="2677922" h="2672762">
                      <a:moveTo>
                        <a:pt x="2538684" y="1897505"/>
                      </a:moveTo>
                      <a:cubicBezTo>
                        <a:pt x="2511337" y="1891313"/>
                        <a:pt x="2483990" y="1885121"/>
                        <a:pt x="2456643" y="1879446"/>
                      </a:cubicBezTo>
                      <a:cubicBezTo>
                        <a:pt x="2434456" y="1874286"/>
                        <a:pt x="2411753" y="1869642"/>
                        <a:pt x="2389566" y="1863966"/>
                      </a:cubicBezTo>
                      <a:cubicBezTo>
                        <a:pt x="2375119" y="1860354"/>
                        <a:pt x="2363767" y="1864482"/>
                        <a:pt x="2354479" y="1874802"/>
                      </a:cubicBezTo>
                      <a:cubicBezTo>
                        <a:pt x="2335389" y="1896989"/>
                        <a:pt x="2320425" y="1922272"/>
                        <a:pt x="2312170" y="1950651"/>
                      </a:cubicBezTo>
                      <a:cubicBezTo>
                        <a:pt x="2308042" y="1964066"/>
                        <a:pt x="2314234" y="1973869"/>
                        <a:pt x="2322489" y="1983157"/>
                      </a:cubicBezTo>
                      <a:cubicBezTo>
                        <a:pt x="2352416" y="2015664"/>
                        <a:pt x="2382858" y="2048170"/>
                        <a:pt x="2412785" y="2080161"/>
                      </a:cubicBezTo>
                      <a:cubicBezTo>
                        <a:pt x="2435488" y="2104412"/>
                        <a:pt x="2436520" y="2118859"/>
                        <a:pt x="2418461" y="2146722"/>
                      </a:cubicBezTo>
                      <a:cubicBezTo>
                        <a:pt x="2417429" y="2148270"/>
                        <a:pt x="2416397" y="2150334"/>
                        <a:pt x="2414849" y="2151882"/>
                      </a:cubicBezTo>
                      <a:cubicBezTo>
                        <a:pt x="2380795" y="2197804"/>
                        <a:pt x="2365831" y="2198320"/>
                        <a:pt x="2324037" y="2174585"/>
                      </a:cubicBezTo>
                      <a:cubicBezTo>
                        <a:pt x="2289982" y="2154978"/>
                        <a:pt x="2253864" y="2137434"/>
                        <a:pt x="2219294" y="2118859"/>
                      </a:cubicBezTo>
                      <a:cubicBezTo>
                        <a:pt x="2204846" y="2111120"/>
                        <a:pt x="2191431" y="2111120"/>
                        <a:pt x="2178531" y="2120407"/>
                      </a:cubicBezTo>
                      <a:cubicBezTo>
                        <a:pt x="2157892" y="2134855"/>
                        <a:pt x="2140349" y="2152398"/>
                        <a:pt x="2125386" y="2172521"/>
                      </a:cubicBezTo>
                      <a:cubicBezTo>
                        <a:pt x="2114550" y="2186968"/>
                        <a:pt x="2114034" y="2201416"/>
                        <a:pt x="2122806" y="2217411"/>
                      </a:cubicBezTo>
                      <a:cubicBezTo>
                        <a:pt x="2143961" y="2256109"/>
                        <a:pt x="2164600" y="2295323"/>
                        <a:pt x="2184723" y="2334538"/>
                      </a:cubicBezTo>
                      <a:cubicBezTo>
                        <a:pt x="2198655" y="2361885"/>
                        <a:pt x="2196591" y="2374268"/>
                        <a:pt x="2174404" y="2395423"/>
                      </a:cubicBezTo>
                      <a:cubicBezTo>
                        <a:pt x="2170792" y="2398519"/>
                        <a:pt x="2167696" y="2402131"/>
                        <a:pt x="2164084" y="2404711"/>
                      </a:cubicBezTo>
                      <a:cubicBezTo>
                        <a:pt x="2131062" y="2428962"/>
                        <a:pt x="2114034" y="2440829"/>
                        <a:pt x="2075336" y="2401615"/>
                      </a:cubicBezTo>
                      <a:cubicBezTo>
                        <a:pt x="2047473" y="2373236"/>
                        <a:pt x="2017547" y="2347953"/>
                        <a:pt x="1988652" y="2320606"/>
                      </a:cubicBezTo>
                      <a:cubicBezTo>
                        <a:pt x="1975236" y="2307707"/>
                        <a:pt x="1960789" y="2305127"/>
                        <a:pt x="1944277" y="2311835"/>
                      </a:cubicBezTo>
                      <a:cubicBezTo>
                        <a:pt x="1922607" y="2320606"/>
                        <a:pt x="1901968" y="2331958"/>
                        <a:pt x="1883392" y="2346405"/>
                      </a:cubicBezTo>
                      <a:cubicBezTo>
                        <a:pt x="1867913" y="2358273"/>
                        <a:pt x="1863785" y="2373236"/>
                        <a:pt x="1868429" y="2391811"/>
                      </a:cubicBezTo>
                      <a:cubicBezTo>
                        <a:pt x="1879264" y="2436701"/>
                        <a:pt x="1889584" y="2482107"/>
                        <a:pt x="1899388" y="2526997"/>
                      </a:cubicBezTo>
                      <a:cubicBezTo>
                        <a:pt x="1903516" y="2546604"/>
                        <a:pt x="1896808" y="2561568"/>
                        <a:pt x="1879264" y="2571887"/>
                      </a:cubicBezTo>
                      <a:cubicBezTo>
                        <a:pt x="1867397" y="2579111"/>
                        <a:pt x="1854498" y="2584787"/>
                        <a:pt x="1841082" y="2588915"/>
                      </a:cubicBezTo>
                      <a:cubicBezTo>
                        <a:pt x="1813736" y="2597686"/>
                        <a:pt x="1798256" y="2592526"/>
                        <a:pt x="1782777" y="2568276"/>
                      </a:cubicBezTo>
                      <a:cubicBezTo>
                        <a:pt x="1760074" y="2532157"/>
                        <a:pt x="1736855" y="2496555"/>
                        <a:pt x="1715184" y="2459404"/>
                      </a:cubicBezTo>
                      <a:cubicBezTo>
                        <a:pt x="1703316" y="2439281"/>
                        <a:pt x="1687837" y="2431542"/>
                        <a:pt x="1664618" y="2435669"/>
                      </a:cubicBezTo>
                      <a:cubicBezTo>
                        <a:pt x="1646043" y="2439281"/>
                        <a:pt x="1627984" y="2443925"/>
                        <a:pt x="1610440" y="2450117"/>
                      </a:cubicBezTo>
                      <a:cubicBezTo>
                        <a:pt x="1586190" y="2458888"/>
                        <a:pt x="1578450" y="2469208"/>
                        <a:pt x="1577418" y="2495007"/>
                      </a:cubicBezTo>
                      <a:cubicBezTo>
                        <a:pt x="1575870" y="2535769"/>
                        <a:pt x="1574838" y="2576015"/>
                        <a:pt x="1573806" y="2616777"/>
                      </a:cubicBezTo>
                      <a:cubicBezTo>
                        <a:pt x="1572774" y="2653928"/>
                        <a:pt x="1563487" y="2665795"/>
                        <a:pt x="1526852" y="2672503"/>
                      </a:cubicBezTo>
                      <a:cubicBezTo>
                        <a:pt x="1517049" y="2674567"/>
                        <a:pt x="1507245" y="2675599"/>
                        <a:pt x="1497441" y="2676115"/>
                      </a:cubicBezTo>
                      <a:cubicBezTo>
                        <a:pt x="1473191" y="2677663"/>
                        <a:pt x="1457711" y="2667859"/>
                        <a:pt x="1449972" y="2644124"/>
                      </a:cubicBezTo>
                      <a:cubicBezTo>
                        <a:pt x="1436040" y="2600782"/>
                        <a:pt x="1422624" y="2557956"/>
                        <a:pt x="1410241" y="2514614"/>
                      </a:cubicBezTo>
                      <a:cubicBezTo>
                        <a:pt x="1404565" y="2495007"/>
                        <a:pt x="1392698" y="2485719"/>
                        <a:pt x="1373091" y="2482623"/>
                      </a:cubicBezTo>
                      <a:cubicBezTo>
                        <a:pt x="1350388" y="2479527"/>
                        <a:pt x="1327685" y="2479527"/>
                        <a:pt x="1304982" y="2483139"/>
                      </a:cubicBezTo>
                      <a:cubicBezTo>
                        <a:pt x="1287955" y="2485719"/>
                        <a:pt x="1277119" y="2494491"/>
                        <a:pt x="1271959" y="2511518"/>
                      </a:cubicBezTo>
                      <a:cubicBezTo>
                        <a:pt x="1260092" y="2552280"/>
                        <a:pt x="1247192" y="2593042"/>
                        <a:pt x="1234293" y="2633805"/>
                      </a:cubicBezTo>
                      <a:cubicBezTo>
                        <a:pt x="1222941" y="2670439"/>
                        <a:pt x="1208494" y="2679727"/>
                        <a:pt x="1170828" y="2674567"/>
                      </a:cubicBezTo>
                      <a:cubicBezTo>
                        <a:pt x="1114070" y="2666827"/>
                        <a:pt x="1107362" y="2659087"/>
                        <a:pt x="1106847" y="2602330"/>
                      </a:cubicBezTo>
                      <a:cubicBezTo>
                        <a:pt x="1106331" y="2565180"/>
                        <a:pt x="1104783" y="2528545"/>
                        <a:pt x="1103751" y="2491395"/>
                      </a:cubicBezTo>
                      <a:cubicBezTo>
                        <a:pt x="1103234" y="2474368"/>
                        <a:pt x="1096527" y="2460952"/>
                        <a:pt x="1080532" y="2454244"/>
                      </a:cubicBezTo>
                      <a:cubicBezTo>
                        <a:pt x="1056281" y="2443925"/>
                        <a:pt x="1031514" y="2436701"/>
                        <a:pt x="1005199" y="2435153"/>
                      </a:cubicBezTo>
                      <a:cubicBezTo>
                        <a:pt x="989203" y="2434121"/>
                        <a:pt x="977852" y="2440313"/>
                        <a:pt x="969080" y="2454244"/>
                      </a:cubicBezTo>
                      <a:cubicBezTo>
                        <a:pt x="946894" y="2491395"/>
                        <a:pt x="923159" y="2527513"/>
                        <a:pt x="900456" y="2564148"/>
                      </a:cubicBezTo>
                      <a:cubicBezTo>
                        <a:pt x="882396" y="2593042"/>
                        <a:pt x="868465" y="2598202"/>
                        <a:pt x="836474" y="2587367"/>
                      </a:cubicBezTo>
                      <a:cubicBezTo>
                        <a:pt x="834926" y="2586851"/>
                        <a:pt x="833379" y="2586335"/>
                        <a:pt x="831830" y="2585819"/>
                      </a:cubicBezTo>
                      <a:cubicBezTo>
                        <a:pt x="782297" y="2565696"/>
                        <a:pt x="772493" y="2554344"/>
                        <a:pt x="785392" y="2504810"/>
                      </a:cubicBezTo>
                      <a:cubicBezTo>
                        <a:pt x="795196" y="2467144"/>
                        <a:pt x="802420" y="2428962"/>
                        <a:pt x="811707" y="2390779"/>
                      </a:cubicBezTo>
                      <a:cubicBezTo>
                        <a:pt x="816351" y="2371172"/>
                        <a:pt x="811191" y="2356209"/>
                        <a:pt x="794680" y="2344341"/>
                      </a:cubicBezTo>
                      <a:cubicBezTo>
                        <a:pt x="777137" y="2331958"/>
                        <a:pt x="759078" y="2321122"/>
                        <a:pt x="739470" y="2312351"/>
                      </a:cubicBezTo>
                      <a:cubicBezTo>
                        <a:pt x="720895" y="2304095"/>
                        <a:pt x="704900" y="2307191"/>
                        <a:pt x="689421" y="2321638"/>
                      </a:cubicBezTo>
                      <a:cubicBezTo>
                        <a:pt x="658462" y="2351049"/>
                        <a:pt x="626988" y="2379944"/>
                        <a:pt x="596029" y="2408838"/>
                      </a:cubicBezTo>
                      <a:cubicBezTo>
                        <a:pt x="572810" y="2431026"/>
                        <a:pt x="557847" y="2432057"/>
                        <a:pt x="530500" y="2415030"/>
                      </a:cubicBezTo>
                      <a:cubicBezTo>
                        <a:pt x="527404" y="2412966"/>
                        <a:pt x="524308" y="2410902"/>
                        <a:pt x="521212" y="2408838"/>
                      </a:cubicBezTo>
                      <a:cubicBezTo>
                        <a:pt x="481482" y="2380460"/>
                        <a:pt x="477870" y="2365496"/>
                        <a:pt x="500573" y="2322670"/>
                      </a:cubicBezTo>
                      <a:cubicBezTo>
                        <a:pt x="519148" y="2287584"/>
                        <a:pt x="537207" y="2252497"/>
                        <a:pt x="556298" y="2217927"/>
                      </a:cubicBezTo>
                      <a:cubicBezTo>
                        <a:pt x="566102" y="2199868"/>
                        <a:pt x="564555" y="2184388"/>
                        <a:pt x="552171" y="2168909"/>
                      </a:cubicBezTo>
                      <a:cubicBezTo>
                        <a:pt x="538756" y="2151882"/>
                        <a:pt x="523276" y="2136402"/>
                        <a:pt x="505733" y="2122987"/>
                      </a:cubicBezTo>
                      <a:cubicBezTo>
                        <a:pt x="490254" y="2111120"/>
                        <a:pt x="474774" y="2110088"/>
                        <a:pt x="457747" y="2119375"/>
                      </a:cubicBezTo>
                      <a:cubicBezTo>
                        <a:pt x="419564" y="2140014"/>
                        <a:pt x="380866" y="2160653"/>
                        <a:pt x="341652" y="2180777"/>
                      </a:cubicBezTo>
                      <a:cubicBezTo>
                        <a:pt x="314305" y="2195224"/>
                        <a:pt x="298310" y="2191612"/>
                        <a:pt x="278187" y="2168909"/>
                      </a:cubicBezTo>
                      <a:cubicBezTo>
                        <a:pt x="276639" y="2167361"/>
                        <a:pt x="275607" y="2165813"/>
                        <a:pt x="274059" y="2164265"/>
                      </a:cubicBezTo>
                      <a:cubicBezTo>
                        <a:pt x="238456" y="2122987"/>
                        <a:pt x="238972" y="2108540"/>
                        <a:pt x="276639" y="2069325"/>
                      </a:cubicBezTo>
                      <a:cubicBezTo>
                        <a:pt x="302954" y="2041463"/>
                        <a:pt x="327721" y="2013084"/>
                        <a:pt x="354551" y="1986253"/>
                      </a:cubicBezTo>
                      <a:cubicBezTo>
                        <a:pt x="367967" y="1972322"/>
                        <a:pt x="370547" y="1957874"/>
                        <a:pt x="363839" y="1940847"/>
                      </a:cubicBezTo>
                      <a:cubicBezTo>
                        <a:pt x="355067" y="1918660"/>
                        <a:pt x="342684" y="1898021"/>
                        <a:pt x="328237" y="1878930"/>
                      </a:cubicBezTo>
                      <a:cubicBezTo>
                        <a:pt x="316369" y="1863450"/>
                        <a:pt x="300374" y="1861902"/>
                        <a:pt x="283347" y="1866030"/>
                      </a:cubicBezTo>
                      <a:cubicBezTo>
                        <a:pt x="245680" y="1874802"/>
                        <a:pt x="208530" y="1883573"/>
                        <a:pt x="170864" y="1891829"/>
                      </a:cubicBezTo>
                      <a:cubicBezTo>
                        <a:pt x="165704" y="1892861"/>
                        <a:pt x="160544" y="1894409"/>
                        <a:pt x="155900" y="1895441"/>
                      </a:cubicBezTo>
                      <a:cubicBezTo>
                        <a:pt x="127521" y="1900601"/>
                        <a:pt x="113074" y="1893893"/>
                        <a:pt x="100175" y="1868094"/>
                      </a:cubicBezTo>
                      <a:cubicBezTo>
                        <a:pt x="95531" y="1858291"/>
                        <a:pt x="90887" y="1848487"/>
                        <a:pt x="87275" y="1838168"/>
                      </a:cubicBezTo>
                      <a:cubicBezTo>
                        <a:pt x="77988" y="1810821"/>
                        <a:pt x="83147" y="1795341"/>
                        <a:pt x="107915" y="1779862"/>
                      </a:cubicBezTo>
                      <a:cubicBezTo>
                        <a:pt x="143001" y="1757675"/>
                        <a:pt x="178603" y="1735488"/>
                        <a:pt x="213690" y="1713817"/>
                      </a:cubicBezTo>
                      <a:cubicBezTo>
                        <a:pt x="241552" y="1696274"/>
                        <a:pt x="245680" y="1686470"/>
                        <a:pt x="238972" y="1654480"/>
                      </a:cubicBezTo>
                      <a:cubicBezTo>
                        <a:pt x="234845" y="1636420"/>
                        <a:pt x="230201" y="1617845"/>
                        <a:pt x="222977" y="1600818"/>
                      </a:cubicBezTo>
                      <a:cubicBezTo>
                        <a:pt x="215753" y="1583791"/>
                        <a:pt x="203370" y="1575535"/>
                        <a:pt x="184279" y="1575019"/>
                      </a:cubicBezTo>
                      <a:cubicBezTo>
                        <a:pt x="142485" y="1574503"/>
                        <a:pt x="101207" y="1572955"/>
                        <a:pt x="59413" y="1571407"/>
                      </a:cubicBezTo>
                      <a:cubicBezTo>
                        <a:pt x="21746" y="1570375"/>
                        <a:pt x="10395" y="1560572"/>
                        <a:pt x="3687" y="1524453"/>
                      </a:cubicBezTo>
                      <a:cubicBezTo>
                        <a:pt x="3171" y="1520841"/>
                        <a:pt x="2139" y="1517230"/>
                        <a:pt x="1623" y="1513618"/>
                      </a:cubicBezTo>
                      <a:cubicBezTo>
                        <a:pt x="-4053" y="1467696"/>
                        <a:pt x="3687" y="1455828"/>
                        <a:pt x="48577" y="1442413"/>
                      </a:cubicBezTo>
                      <a:cubicBezTo>
                        <a:pt x="85727" y="1431061"/>
                        <a:pt x="122877" y="1418678"/>
                        <a:pt x="160544" y="1408358"/>
                      </a:cubicBezTo>
                      <a:cubicBezTo>
                        <a:pt x="181183" y="1402683"/>
                        <a:pt x="192018" y="1390815"/>
                        <a:pt x="194083" y="1370692"/>
                      </a:cubicBezTo>
                      <a:cubicBezTo>
                        <a:pt x="196147" y="1346957"/>
                        <a:pt x="197178" y="1322706"/>
                        <a:pt x="192534" y="1298971"/>
                      </a:cubicBezTo>
                      <a:cubicBezTo>
                        <a:pt x="189954" y="1283492"/>
                        <a:pt x="181183" y="1274204"/>
                        <a:pt x="166220" y="1269560"/>
                      </a:cubicBezTo>
                      <a:cubicBezTo>
                        <a:pt x="126490" y="1257693"/>
                        <a:pt x="86759" y="1245310"/>
                        <a:pt x="47029" y="1232926"/>
                      </a:cubicBezTo>
                      <a:cubicBezTo>
                        <a:pt x="3687" y="1219511"/>
                        <a:pt x="-957" y="1212287"/>
                        <a:pt x="1623" y="1166881"/>
                      </a:cubicBezTo>
                      <a:cubicBezTo>
                        <a:pt x="2139" y="1157593"/>
                        <a:pt x="4203" y="1148306"/>
                        <a:pt x="6267" y="1139534"/>
                      </a:cubicBezTo>
                      <a:cubicBezTo>
                        <a:pt x="12459" y="1116831"/>
                        <a:pt x="25358" y="1106512"/>
                        <a:pt x="49093" y="1105480"/>
                      </a:cubicBezTo>
                      <a:cubicBezTo>
                        <a:pt x="87791" y="1103932"/>
                        <a:pt x="125974" y="1102900"/>
                        <a:pt x="164672" y="1101868"/>
                      </a:cubicBezTo>
                      <a:cubicBezTo>
                        <a:pt x="170348" y="1101868"/>
                        <a:pt x="176023" y="1101352"/>
                        <a:pt x="181699" y="1101352"/>
                      </a:cubicBezTo>
                      <a:cubicBezTo>
                        <a:pt x="207498" y="1102384"/>
                        <a:pt x="220913" y="1087936"/>
                        <a:pt x="227621" y="1065233"/>
                      </a:cubicBezTo>
                      <a:cubicBezTo>
                        <a:pt x="232781" y="1048206"/>
                        <a:pt x="237425" y="1031179"/>
                        <a:pt x="241036" y="1014152"/>
                      </a:cubicBezTo>
                      <a:cubicBezTo>
                        <a:pt x="245680" y="990417"/>
                        <a:pt x="240005" y="979065"/>
                        <a:pt x="219366" y="965650"/>
                      </a:cubicBezTo>
                      <a:cubicBezTo>
                        <a:pt x="184279" y="943463"/>
                        <a:pt x="148676" y="921276"/>
                        <a:pt x="113590" y="899605"/>
                      </a:cubicBezTo>
                      <a:cubicBezTo>
                        <a:pt x="82116" y="879997"/>
                        <a:pt x="77472" y="867614"/>
                        <a:pt x="89855" y="832012"/>
                      </a:cubicBezTo>
                      <a:cubicBezTo>
                        <a:pt x="93467" y="820660"/>
                        <a:pt x="98111" y="809309"/>
                        <a:pt x="104818" y="799505"/>
                      </a:cubicBezTo>
                      <a:cubicBezTo>
                        <a:pt x="115654" y="782994"/>
                        <a:pt x="130617" y="774738"/>
                        <a:pt x="151256" y="779898"/>
                      </a:cubicBezTo>
                      <a:cubicBezTo>
                        <a:pt x="195114" y="790217"/>
                        <a:pt x="239489" y="799505"/>
                        <a:pt x="283347" y="810341"/>
                      </a:cubicBezTo>
                      <a:cubicBezTo>
                        <a:pt x="303469" y="815500"/>
                        <a:pt x="318949" y="810857"/>
                        <a:pt x="331332" y="794345"/>
                      </a:cubicBezTo>
                      <a:cubicBezTo>
                        <a:pt x="344232" y="776802"/>
                        <a:pt x="355584" y="757711"/>
                        <a:pt x="363839" y="737588"/>
                      </a:cubicBezTo>
                      <a:cubicBezTo>
                        <a:pt x="371063" y="719529"/>
                        <a:pt x="368999" y="704049"/>
                        <a:pt x="354551" y="689086"/>
                      </a:cubicBezTo>
                      <a:cubicBezTo>
                        <a:pt x="324625" y="658643"/>
                        <a:pt x="296246" y="627169"/>
                        <a:pt x="266835" y="595694"/>
                      </a:cubicBezTo>
                      <a:cubicBezTo>
                        <a:pt x="244132" y="570927"/>
                        <a:pt x="243100" y="556996"/>
                        <a:pt x="261675" y="529133"/>
                      </a:cubicBezTo>
                      <a:cubicBezTo>
                        <a:pt x="264771" y="525005"/>
                        <a:pt x="267351" y="520361"/>
                        <a:pt x="270447" y="516233"/>
                      </a:cubicBezTo>
                      <a:cubicBezTo>
                        <a:pt x="296762" y="481663"/>
                        <a:pt x="311209" y="478567"/>
                        <a:pt x="349907" y="498690"/>
                      </a:cubicBezTo>
                      <a:cubicBezTo>
                        <a:pt x="386026" y="517781"/>
                        <a:pt x="422144" y="536357"/>
                        <a:pt x="457231" y="555964"/>
                      </a:cubicBezTo>
                      <a:cubicBezTo>
                        <a:pt x="475806" y="566283"/>
                        <a:pt x="492318" y="564219"/>
                        <a:pt x="507797" y="551320"/>
                      </a:cubicBezTo>
                      <a:cubicBezTo>
                        <a:pt x="523276" y="538421"/>
                        <a:pt x="537723" y="523973"/>
                        <a:pt x="551139" y="508494"/>
                      </a:cubicBezTo>
                      <a:cubicBezTo>
                        <a:pt x="564555" y="492499"/>
                        <a:pt x="567650" y="476503"/>
                        <a:pt x="556815" y="456896"/>
                      </a:cubicBezTo>
                      <a:cubicBezTo>
                        <a:pt x="535143" y="418198"/>
                        <a:pt x="515020" y="378983"/>
                        <a:pt x="494381" y="339769"/>
                      </a:cubicBezTo>
                      <a:cubicBezTo>
                        <a:pt x="480966" y="313970"/>
                        <a:pt x="484062" y="300039"/>
                        <a:pt x="505217" y="280432"/>
                      </a:cubicBezTo>
                      <a:cubicBezTo>
                        <a:pt x="515020" y="271144"/>
                        <a:pt x="525856" y="263405"/>
                        <a:pt x="537723" y="256181"/>
                      </a:cubicBezTo>
                      <a:cubicBezTo>
                        <a:pt x="558362" y="244313"/>
                        <a:pt x="572810" y="245861"/>
                        <a:pt x="590353" y="261857"/>
                      </a:cubicBezTo>
                      <a:cubicBezTo>
                        <a:pt x="620280" y="289203"/>
                        <a:pt x="650207" y="317066"/>
                        <a:pt x="679617" y="344929"/>
                      </a:cubicBezTo>
                      <a:cubicBezTo>
                        <a:pt x="710576" y="374340"/>
                        <a:pt x="717284" y="375372"/>
                        <a:pt x="754950" y="355765"/>
                      </a:cubicBezTo>
                      <a:cubicBezTo>
                        <a:pt x="769913" y="348025"/>
                        <a:pt x="783845" y="339769"/>
                        <a:pt x="797260" y="329450"/>
                      </a:cubicBezTo>
                      <a:cubicBezTo>
                        <a:pt x="811707" y="317582"/>
                        <a:pt x="816351" y="303651"/>
                        <a:pt x="811707" y="285076"/>
                      </a:cubicBezTo>
                      <a:cubicBezTo>
                        <a:pt x="800872" y="242249"/>
                        <a:pt x="791585" y="198907"/>
                        <a:pt x="781781" y="156081"/>
                      </a:cubicBezTo>
                      <a:cubicBezTo>
                        <a:pt x="775589" y="128218"/>
                        <a:pt x="782297" y="114287"/>
                        <a:pt x="807064" y="100872"/>
                      </a:cubicBezTo>
                      <a:cubicBezTo>
                        <a:pt x="818415" y="95196"/>
                        <a:pt x="829766" y="90552"/>
                        <a:pt x="841634" y="86424"/>
                      </a:cubicBezTo>
                      <a:cubicBezTo>
                        <a:pt x="866917" y="78685"/>
                        <a:pt x="881364" y="83328"/>
                        <a:pt x="896328" y="106031"/>
                      </a:cubicBezTo>
                      <a:cubicBezTo>
                        <a:pt x="920062" y="142666"/>
                        <a:pt x="943798" y="179300"/>
                        <a:pt x="965469" y="217483"/>
                      </a:cubicBezTo>
                      <a:cubicBezTo>
                        <a:pt x="976820" y="237090"/>
                        <a:pt x="992299" y="243797"/>
                        <a:pt x="1013455" y="240702"/>
                      </a:cubicBezTo>
                      <a:cubicBezTo>
                        <a:pt x="1035641" y="237090"/>
                        <a:pt x="1057313" y="231414"/>
                        <a:pt x="1077952" y="222642"/>
                      </a:cubicBezTo>
                      <a:cubicBezTo>
                        <a:pt x="1092915" y="215935"/>
                        <a:pt x="1101171" y="205615"/>
                        <a:pt x="1101687" y="188072"/>
                      </a:cubicBezTo>
                      <a:cubicBezTo>
                        <a:pt x="1102719" y="143182"/>
                        <a:pt x="1105298" y="98808"/>
                        <a:pt x="1106847" y="53918"/>
                      </a:cubicBezTo>
                      <a:cubicBezTo>
                        <a:pt x="1107878" y="25023"/>
                        <a:pt x="1117166" y="12640"/>
                        <a:pt x="1145029" y="4900"/>
                      </a:cubicBezTo>
                      <a:cubicBezTo>
                        <a:pt x="1149672" y="3868"/>
                        <a:pt x="1154316" y="2320"/>
                        <a:pt x="1158960" y="1804"/>
                      </a:cubicBezTo>
                      <a:cubicBezTo>
                        <a:pt x="1210042" y="-3872"/>
                        <a:pt x="1222426" y="1804"/>
                        <a:pt x="1235841" y="48758"/>
                      </a:cubicBezTo>
                      <a:cubicBezTo>
                        <a:pt x="1246676" y="86940"/>
                        <a:pt x="1259576" y="124091"/>
                        <a:pt x="1269895" y="162273"/>
                      </a:cubicBezTo>
                      <a:cubicBezTo>
                        <a:pt x="1275055" y="180332"/>
                        <a:pt x="1285890" y="190136"/>
                        <a:pt x="1303434" y="192716"/>
                      </a:cubicBezTo>
                      <a:cubicBezTo>
                        <a:pt x="1327685" y="195812"/>
                        <a:pt x="1352452" y="195812"/>
                        <a:pt x="1376702" y="192716"/>
                      </a:cubicBezTo>
                      <a:cubicBezTo>
                        <a:pt x="1393730" y="190652"/>
                        <a:pt x="1404049" y="180332"/>
                        <a:pt x="1409209" y="163305"/>
                      </a:cubicBezTo>
                      <a:cubicBezTo>
                        <a:pt x="1421593" y="121511"/>
                        <a:pt x="1434492" y="79717"/>
                        <a:pt x="1447392" y="37922"/>
                      </a:cubicBezTo>
                      <a:cubicBezTo>
                        <a:pt x="1457195" y="6964"/>
                        <a:pt x="1466998" y="-260"/>
                        <a:pt x="1499505" y="256"/>
                      </a:cubicBezTo>
                      <a:cubicBezTo>
                        <a:pt x="1504149" y="256"/>
                        <a:pt x="1508793" y="256"/>
                        <a:pt x="1513436" y="772"/>
                      </a:cubicBezTo>
                      <a:cubicBezTo>
                        <a:pt x="1559358" y="5416"/>
                        <a:pt x="1572258" y="19347"/>
                        <a:pt x="1573290" y="65269"/>
                      </a:cubicBezTo>
                      <a:cubicBezTo>
                        <a:pt x="1574322" y="105515"/>
                        <a:pt x="1575870" y="145246"/>
                        <a:pt x="1576902" y="185492"/>
                      </a:cubicBezTo>
                      <a:cubicBezTo>
                        <a:pt x="1577418" y="201487"/>
                        <a:pt x="1583093" y="213871"/>
                        <a:pt x="1598057" y="220578"/>
                      </a:cubicBezTo>
                      <a:cubicBezTo>
                        <a:pt x="1622308" y="231414"/>
                        <a:pt x="1647590" y="238638"/>
                        <a:pt x="1674422" y="240702"/>
                      </a:cubicBezTo>
                      <a:cubicBezTo>
                        <a:pt x="1690933" y="241733"/>
                        <a:pt x="1702285" y="235026"/>
                        <a:pt x="1710540" y="221610"/>
                      </a:cubicBezTo>
                      <a:cubicBezTo>
                        <a:pt x="1733243" y="184976"/>
                        <a:pt x="1756462" y="148342"/>
                        <a:pt x="1779165" y="111707"/>
                      </a:cubicBezTo>
                      <a:cubicBezTo>
                        <a:pt x="1798772" y="80749"/>
                        <a:pt x="1810640" y="76621"/>
                        <a:pt x="1845726" y="88488"/>
                      </a:cubicBezTo>
                      <a:cubicBezTo>
                        <a:pt x="1849854" y="90036"/>
                        <a:pt x="1853466" y="91068"/>
                        <a:pt x="1857594" y="92616"/>
                      </a:cubicBezTo>
                      <a:cubicBezTo>
                        <a:pt x="1898356" y="110159"/>
                        <a:pt x="1905063" y="123059"/>
                        <a:pt x="1895260" y="166401"/>
                      </a:cubicBezTo>
                      <a:cubicBezTo>
                        <a:pt x="1886488" y="205099"/>
                        <a:pt x="1877717" y="243281"/>
                        <a:pt x="1868429" y="281980"/>
                      </a:cubicBezTo>
                      <a:cubicBezTo>
                        <a:pt x="1863269" y="303135"/>
                        <a:pt x="1868429" y="319646"/>
                        <a:pt x="1887004" y="332030"/>
                      </a:cubicBezTo>
                      <a:cubicBezTo>
                        <a:pt x="1906096" y="344929"/>
                        <a:pt x="1925187" y="356796"/>
                        <a:pt x="1946857" y="365052"/>
                      </a:cubicBezTo>
                      <a:cubicBezTo>
                        <a:pt x="1962337" y="370728"/>
                        <a:pt x="1974720" y="367116"/>
                        <a:pt x="1986588" y="355765"/>
                      </a:cubicBezTo>
                      <a:cubicBezTo>
                        <a:pt x="2018062" y="325838"/>
                        <a:pt x="2049537" y="296943"/>
                        <a:pt x="2081528" y="267532"/>
                      </a:cubicBezTo>
                      <a:cubicBezTo>
                        <a:pt x="2107843" y="242765"/>
                        <a:pt x="2122290" y="241733"/>
                        <a:pt x="2151701" y="261857"/>
                      </a:cubicBezTo>
                      <a:cubicBezTo>
                        <a:pt x="2153248" y="262889"/>
                        <a:pt x="2154281" y="263405"/>
                        <a:pt x="2155312" y="264437"/>
                      </a:cubicBezTo>
                      <a:cubicBezTo>
                        <a:pt x="2205363" y="300555"/>
                        <a:pt x="2198139" y="316034"/>
                        <a:pt x="2177500" y="353701"/>
                      </a:cubicBezTo>
                      <a:cubicBezTo>
                        <a:pt x="2158925" y="387755"/>
                        <a:pt x="2141381" y="422842"/>
                        <a:pt x="2122290" y="456896"/>
                      </a:cubicBezTo>
                      <a:cubicBezTo>
                        <a:pt x="2112487" y="474955"/>
                        <a:pt x="2114550" y="490435"/>
                        <a:pt x="2126934" y="505914"/>
                      </a:cubicBezTo>
                      <a:cubicBezTo>
                        <a:pt x="2140865" y="522941"/>
                        <a:pt x="2156345" y="538421"/>
                        <a:pt x="2173372" y="551836"/>
                      </a:cubicBezTo>
                      <a:cubicBezTo>
                        <a:pt x="2187819" y="563187"/>
                        <a:pt x="2202783" y="564735"/>
                        <a:pt x="2219810" y="555964"/>
                      </a:cubicBezTo>
                      <a:cubicBezTo>
                        <a:pt x="2258508" y="534809"/>
                        <a:pt x="2297722" y="514170"/>
                        <a:pt x="2336937" y="494046"/>
                      </a:cubicBezTo>
                      <a:cubicBezTo>
                        <a:pt x="2364799" y="479599"/>
                        <a:pt x="2380795" y="482695"/>
                        <a:pt x="2400917" y="507462"/>
                      </a:cubicBezTo>
                      <a:cubicBezTo>
                        <a:pt x="2408141" y="515717"/>
                        <a:pt x="2414849" y="524489"/>
                        <a:pt x="2420525" y="533777"/>
                      </a:cubicBezTo>
                      <a:cubicBezTo>
                        <a:pt x="2434972" y="556480"/>
                        <a:pt x="2433424" y="571443"/>
                        <a:pt x="2415365" y="591566"/>
                      </a:cubicBezTo>
                      <a:cubicBezTo>
                        <a:pt x="2384406" y="625105"/>
                        <a:pt x="2353448" y="659159"/>
                        <a:pt x="2321973" y="692182"/>
                      </a:cubicBezTo>
                      <a:cubicBezTo>
                        <a:pt x="2310106" y="704565"/>
                        <a:pt x="2307526" y="717981"/>
                        <a:pt x="2313718" y="733460"/>
                      </a:cubicBezTo>
                      <a:cubicBezTo>
                        <a:pt x="2323005" y="755647"/>
                        <a:pt x="2334357" y="776286"/>
                        <a:pt x="2349320" y="795377"/>
                      </a:cubicBezTo>
                      <a:cubicBezTo>
                        <a:pt x="2361187" y="810857"/>
                        <a:pt x="2375635" y="814984"/>
                        <a:pt x="2394726" y="810341"/>
                      </a:cubicBezTo>
                      <a:cubicBezTo>
                        <a:pt x="2438584" y="799505"/>
                        <a:pt x="2482958" y="789701"/>
                        <a:pt x="2526816" y="780414"/>
                      </a:cubicBezTo>
                      <a:cubicBezTo>
                        <a:pt x="2550035" y="775254"/>
                        <a:pt x="2563967" y="781962"/>
                        <a:pt x="2575834" y="803117"/>
                      </a:cubicBezTo>
                      <a:cubicBezTo>
                        <a:pt x="2582026" y="814468"/>
                        <a:pt x="2587186" y="826336"/>
                        <a:pt x="2591313" y="838719"/>
                      </a:cubicBezTo>
                      <a:cubicBezTo>
                        <a:pt x="2600085" y="867098"/>
                        <a:pt x="2595441" y="880514"/>
                        <a:pt x="2570158" y="896509"/>
                      </a:cubicBezTo>
                      <a:cubicBezTo>
                        <a:pt x="2534040" y="919212"/>
                        <a:pt x="2498437" y="942947"/>
                        <a:pt x="2461287" y="964102"/>
                      </a:cubicBezTo>
                      <a:cubicBezTo>
                        <a:pt x="2440132" y="976485"/>
                        <a:pt x="2434456" y="992997"/>
                        <a:pt x="2438068" y="1014668"/>
                      </a:cubicBezTo>
                      <a:cubicBezTo>
                        <a:pt x="2441164" y="1034791"/>
                        <a:pt x="2446840" y="1054398"/>
                        <a:pt x="2454063" y="1073489"/>
                      </a:cubicBezTo>
                      <a:cubicBezTo>
                        <a:pt x="2460771" y="1091032"/>
                        <a:pt x="2472638" y="1100320"/>
                        <a:pt x="2492762" y="1100836"/>
                      </a:cubicBezTo>
                      <a:cubicBezTo>
                        <a:pt x="2538168" y="1101352"/>
                        <a:pt x="2583058" y="1104448"/>
                        <a:pt x="2628464" y="1105996"/>
                      </a:cubicBezTo>
                      <a:cubicBezTo>
                        <a:pt x="2653230" y="1107028"/>
                        <a:pt x="2665614" y="1116831"/>
                        <a:pt x="2672322" y="1140566"/>
                      </a:cubicBezTo>
                      <a:cubicBezTo>
                        <a:pt x="2676449" y="1153982"/>
                        <a:pt x="2677998" y="1167913"/>
                        <a:pt x="2677998" y="1182360"/>
                      </a:cubicBezTo>
                      <a:cubicBezTo>
                        <a:pt x="2677998" y="1210223"/>
                        <a:pt x="2670258" y="1221575"/>
                        <a:pt x="2644459" y="1229830"/>
                      </a:cubicBezTo>
                      <a:cubicBezTo>
                        <a:pt x="2603697" y="1242730"/>
                        <a:pt x="2562934" y="1255113"/>
                        <a:pt x="2522172" y="1267497"/>
                      </a:cubicBezTo>
                      <a:cubicBezTo>
                        <a:pt x="2492762" y="1276268"/>
                        <a:pt x="2485022" y="1285556"/>
                        <a:pt x="2483990" y="1315998"/>
                      </a:cubicBezTo>
                      <a:cubicBezTo>
                        <a:pt x="2483474" y="1337153"/>
                        <a:pt x="2481926" y="1358824"/>
                        <a:pt x="2486570" y="1379980"/>
                      </a:cubicBezTo>
                      <a:cubicBezTo>
                        <a:pt x="2489666" y="1394427"/>
                        <a:pt x="2498437" y="1403199"/>
                        <a:pt x="2512885" y="1407842"/>
                      </a:cubicBezTo>
                      <a:cubicBezTo>
                        <a:pt x="2555711" y="1420742"/>
                        <a:pt x="2598537" y="1433641"/>
                        <a:pt x="2641363" y="1447057"/>
                      </a:cubicBezTo>
                      <a:cubicBezTo>
                        <a:pt x="2671290" y="1456344"/>
                        <a:pt x="2678514" y="1466664"/>
                        <a:pt x="2677998" y="1498138"/>
                      </a:cubicBezTo>
                      <a:cubicBezTo>
                        <a:pt x="2677998" y="1501234"/>
                        <a:pt x="2677998" y="1504330"/>
                        <a:pt x="2677998" y="1507426"/>
                      </a:cubicBezTo>
                      <a:cubicBezTo>
                        <a:pt x="2675934" y="1555928"/>
                        <a:pt x="2660454" y="1571407"/>
                        <a:pt x="2611952" y="1572955"/>
                      </a:cubicBezTo>
                      <a:cubicBezTo>
                        <a:pt x="2571190" y="1573987"/>
                        <a:pt x="2530944" y="1576051"/>
                        <a:pt x="2490182" y="1576567"/>
                      </a:cubicBezTo>
                      <a:cubicBezTo>
                        <a:pt x="2474702" y="1577083"/>
                        <a:pt x="2463867" y="1583791"/>
                        <a:pt x="2457675" y="1596690"/>
                      </a:cubicBezTo>
                      <a:cubicBezTo>
                        <a:pt x="2446324" y="1620941"/>
                        <a:pt x="2439100" y="1646224"/>
                        <a:pt x="2437036" y="1673055"/>
                      </a:cubicBezTo>
                      <a:cubicBezTo>
                        <a:pt x="2435488" y="1690082"/>
                        <a:pt x="2442712" y="1701434"/>
                        <a:pt x="2457159" y="1710205"/>
                      </a:cubicBezTo>
                      <a:cubicBezTo>
                        <a:pt x="2493278" y="1732392"/>
                        <a:pt x="2528880" y="1754579"/>
                        <a:pt x="2564483" y="1777282"/>
                      </a:cubicBezTo>
                      <a:cubicBezTo>
                        <a:pt x="2596989" y="1797405"/>
                        <a:pt x="2601117" y="1809789"/>
                        <a:pt x="2588733" y="1845907"/>
                      </a:cubicBezTo>
                      <a:cubicBezTo>
                        <a:pt x="2584606" y="1858291"/>
                        <a:pt x="2578930" y="1870158"/>
                        <a:pt x="2571706" y="1880994"/>
                      </a:cubicBezTo>
                      <a:cubicBezTo>
                        <a:pt x="2564998" y="1890797"/>
                        <a:pt x="2554163" y="1897505"/>
                        <a:pt x="2538684" y="1897505"/>
                      </a:cubicBezTo>
                      <a:close/>
                      <a:moveTo>
                        <a:pt x="1338521" y="2312867"/>
                      </a:moveTo>
                      <a:cubicBezTo>
                        <a:pt x="1869461" y="2314931"/>
                        <a:pt x="2317329" y="1887701"/>
                        <a:pt x="2316814" y="1335605"/>
                      </a:cubicBezTo>
                      <a:cubicBezTo>
                        <a:pt x="2316298" y="792797"/>
                        <a:pt x="1880813" y="359892"/>
                        <a:pt x="1340068" y="359376"/>
                      </a:cubicBezTo>
                      <a:cubicBezTo>
                        <a:pt x="796228" y="358860"/>
                        <a:pt x="363839" y="794861"/>
                        <a:pt x="361775" y="1331994"/>
                      </a:cubicBezTo>
                      <a:cubicBezTo>
                        <a:pt x="359711" y="1882026"/>
                        <a:pt x="806032" y="2314415"/>
                        <a:pt x="1338521" y="2312867"/>
                      </a:cubicBezTo>
                      <a:close/>
                    </a:path>
                  </a:pathLst>
                </a:custGeom>
                <a:grpFill/>
                <a:ln w="515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1" name="Freeform: Shape 20">
                  <a:extLst>
                    <a:ext uri="{FF2B5EF4-FFF2-40B4-BE49-F238E27FC236}">
                      <a16:creationId xmlns:a16="http://schemas.microsoft.com/office/drawing/2014/main" id="{A9D3A2AA-E3A6-42DB-936E-D30F8E2F943A}"/>
                    </a:ext>
                  </a:extLst>
                </p:cNvPr>
                <p:cNvSpPr/>
                <p:nvPr/>
              </p:nvSpPr>
              <p:spPr>
                <a:xfrm>
                  <a:off x="7558586" y="2011427"/>
                  <a:ext cx="1898797" cy="1893637"/>
                </a:xfrm>
                <a:custGeom>
                  <a:avLst/>
                  <a:gdLst>
                    <a:gd name="connsiteX0" fmla="*/ 30 w 1898796"/>
                    <a:gd name="connsiteY0" fmla="*/ 947852 h 1893636"/>
                    <a:gd name="connsiteX1" fmla="*/ 950461 w 1898796"/>
                    <a:gd name="connsiteY1" fmla="*/ 2 h 1893636"/>
                    <a:gd name="connsiteX2" fmla="*/ 1898827 w 1898796"/>
                    <a:gd name="connsiteY2" fmla="*/ 950948 h 1893636"/>
                    <a:gd name="connsiteX3" fmla="*/ 946849 w 1898796"/>
                    <a:gd name="connsiteY3" fmla="*/ 1898283 h 1893636"/>
                    <a:gd name="connsiteX4" fmla="*/ 30 w 1898796"/>
                    <a:gd name="connsiteY4" fmla="*/ 947852 h 1893636"/>
                    <a:gd name="connsiteX5" fmla="*/ 1187811 w 1898796"/>
                    <a:gd name="connsiteY5" fmla="*/ 949916 h 1893636"/>
                    <a:gd name="connsiteX6" fmla="*/ 949429 w 1898796"/>
                    <a:gd name="connsiteY6" fmla="*/ 710503 h 1893636"/>
                    <a:gd name="connsiteX7" fmla="*/ 710532 w 1898796"/>
                    <a:gd name="connsiteY7" fmla="*/ 948368 h 1893636"/>
                    <a:gd name="connsiteX8" fmla="*/ 948397 w 1898796"/>
                    <a:gd name="connsiteY8" fmla="*/ 1188298 h 1893636"/>
                    <a:gd name="connsiteX9" fmla="*/ 1187811 w 1898796"/>
                    <a:gd name="connsiteY9" fmla="*/ 949916 h 18936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898796" h="1893636">
                      <a:moveTo>
                        <a:pt x="30" y="947852"/>
                      </a:moveTo>
                      <a:cubicBezTo>
                        <a:pt x="-3065" y="428263"/>
                        <a:pt x="426228" y="-1030"/>
                        <a:pt x="950461" y="2"/>
                      </a:cubicBezTo>
                      <a:cubicBezTo>
                        <a:pt x="1472114" y="1034"/>
                        <a:pt x="1899859" y="427747"/>
                        <a:pt x="1898827" y="950948"/>
                      </a:cubicBezTo>
                      <a:cubicBezTo>
                        <a:pt x="1897795" y="1468473"/>
                        <a:pt x="1477790" y="1899315"/>
                        <a:pt x="946849" y="1898283"/>
                      </a:cubicBezTo>
                      <a:cubicBezTo>
                        <a:pt x="411781" y="1896735"/>
                        <a:pt x="-4097" y="1460218"/>
                        <a:pt x="30" y="947852"/>
                      </a:cubicBezTo>
                      <a:close/>
                      <a:moveTo>
                        <a:pt x="1187811" y="949916"/>
                      </a:moveTo>
                      <a:cubicBezTo>
                        <a:pt x="1188327" y="817310"/>
                        <a:pt x="1084099" y="710503"/>
                        <a:pt x="949429" y="710503"/>
                      </a:cubicBezTo>
                      <a:cubicBezTo>
                        <a:pt x="805987" y="710503"/>
                        <a:pt x="710015" y="828146"/>
                        <a:pt x="710532" y="948368"/>
                      </a:cubicBezTo>
                      <a:cubicBezTo>
                        <a:pt x="711048" y="1081490"/>
                        <a:pt x="815791" y="1188298"/>
                        <a:pt x="948397" y="1188298"/>
                      </a:cubicBezTo>
                      <a:cubicBezTo>
                        <a:pt x="1081003" y="1188298"/>
                        <a:pt x="1187294" y="1083038"/>
                        <a:pt x="1187811" y="949916"/>
                      </a:cubicBezTo>
                      <a:close/>
                    </a:path>
                  </a:pathLst>
                </a:custGeom>
                <a:grpFill/>
                <a:ln w="515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7C996FD-CF0A-4F68-895E-6062455A1573}"/>
                </a:ext>
              </a:extLst>
            </p:cNvPr>
            <p:cNvSpPr/>
            <p:nvPr/>
          </p:nvSpPr>
          <p:spPr>
            <a:xfrm>
              <a:off x="4309443" y="5224203"/>
              <a:ext cx="936646" cy="931442"/>
            </a:xfrm>
            <a:custGeom>
              <a:avLst/>
              <a:gdLst>
                <a:gd name="connsiteX0" fmla="*/ 959201 w 1857518"/>
                <a:gd name="connsiteY0" fmla="*/ 1852264 h 1847198"/>
                <a:gd name="connsiteX1" fmla="*/ 910700 w 1857518"/>
                <a:gd name="connsiteY1" fmla="*/ 1852264 h 1847198"/>
                <a:gd name="connsiteX2" fmla="*/ 891608 w 1857518"/>
                <a:gd name="connsiteY2" fmla="*/ 1830593 h 1847198"/>
                <a:gd name="connsiteX3" fmla="*/ 838463 w 1857518"/>
                <a:gd name="connsiteY3" fmla="*/ 1669608 h 1847198"/>
                <a:gd name="connsiteX4" fmla="*/ 813180 w 1857518"/>
                <a:gd name="connsiteY4" fmla="*/ 1646905 h 1847198"/>
                <a:gd name="connsiteX5" fmla="*/ 730624 w 1857518"/>
                <a:gd name="connsiteY5" fmla="*/ 1628330 h 1847198"/>
                <a:gd name="connsiteX6" fmla="*/ 693990 w 1857518"/>
                <a:gd name="connsiteY6" fmla="*/ 1639165 h 1847198"/>
                <a:gd name="connsiteX7" fmla="*/ 573251 w 1857518"/>
                <a:gd name="connsiteY7" fmla="*/ 1761452 h 1847198"/>
                <a:gd name="connsiteX8" fmla="*/ 542292 w 1857518"/>
                <a:gd name="connsiteY8" fmla="*/ 1766612 h 1847198"/>
                <a:gd name="connsiteX9" fmla="*/ 412782 w 1857518"/>
                <a:gd name="connsiteY9" fmla="*/ 1693859 h 1847198"/>
                <a:gd name="connsiteX10" fmla="*/ 398334 w 1857518"/>
                <a:gd name="connsiteY10" fmla="*/ 1660836 h 1847198"/>
                <a:gd name="connsiteX11" fmla="*/ 440644 w 1857518"/>
                <a:gd name="connsiteY11" fmla="*/ 1494176 h 1847198"/>
                <a:gd name="connsiteX12" fmla="*/ 432904 w 1857518"/>
                <a:gd name="connsiteY12" fmla="*/ 1462185 h 1847198"/>
                <a:gd name="connsiteX13" fmla="*/ 370471 w 1857518"/>
                <a:gd name="connsiteY13" fmla="*/ 1397172 h 1847198"/>
                <a:gd name="connsiteX14" fmla="*/ 340545 w 1857518"/>
                <a:gd name="connsiteY14" fmla="*/ 1388400 h 1847198"/>
                <a:gd name="connsiteX15" fmla="*/ 310618 w 1857518"/>
                <a:gd name="connsiteY15" fmla="*/ 1395108 h 1847198"/>
                <a:gd name="connsiteX16" fmla="*/ 170273 w 1857518"/>
                <a:gd name="connsiteY16" fmla="*/ 1426583 h 1847198"/>
                <a:gd name="connsiteX17" fmla="*/ 141377 w 1857518"/>
                <a:gd name="connsiteY17" fmla="*/ 1413683 h 1847198"/>
                <a:gd name="connsiteX18" fmla="*/ 70689 w 1857518"/>
                <a:gd name="connsiteY18" fmla="*/ 1276949 h 1847198"/>
                <a:gd name="connsiteX19" fmla="*/ 75848 w 1857518"/>
                <a:gd name="connsiteY19" fmla="*/ 1247539 h 1847198"/>
                <a:gd name="connsiteX20" fmla="*/ 206391 w 1857518"/>
                <a:gd name="connsiteY20" fmla="*/ 1126284 h 1847198"/>
                <a:gd name="connsiteX21" fmla="*/ 216710 w 1857518"/>
                <a:gd name="connsiteY21" fmla="*/ 1096873 h 1847198"/>
                <a:gd name="connsiteX22" fmla="*/ 201231 w 1857518"/>
                <a:gd name="connsiteY22" fmla="*/ 1012769 h 1847198"/>
                <a:gd name="connsiteX23" fmla="*/ 181108 w 1857518"/>
                <a:gd name="connsiteY23" fmla="*/ 989034 h 1847198"/>
                <a:gd name="connsiteX24" fmla="*/ 67077 w 1857518"/>
                <a:gd name="connsiteY24" fmla="*/ 947240 h 1847198"/>
                <a:gd name="connsiteX25" fmla="*/ 0 w 1857518"/>
                <a:gd name="connsiteY25" fmla="*/ 921957 h 1847198"/>
                <a:gd name="connsiteX26" fmla="*/ 0 w 1857518"/>
                <a:gd name="connsiteY26" fmla="*/ 893062 h 1847198"/>
                <a:gd name="connsiteX27" fmla="*/ 4643 w 1857518"/>
                <a:gd name="connsiteY27" fmla="*/ 842496 h 1847198"/>
                <a:gd name="connsiteX28" fmla="*/ 17543 w 1857518"/>
                <a:gd name="connsiteY28" fmla="*/ 743945 h 1847198"/>
                <a:gd name="connsiteX29" fmla="*/ 38182 w 1857518"/>
                <a:gd name="connsiteY29" fmla="*/ 723305 h 1847198"/>
                <a:gd name="connsiteX30" fmla="*/ 214131 w 1857518"/>
                <a:gd name="connsiteY30" fmla="*/ 691315 h 1847198"/>
                <a:gd name="connsiteX31" fmla="*/ 239929 w 1857518"/>
                <a:gd name="connsiteY31" fmla="*/ 671192 h 1847198"/>
                <a:gd name="connsiteX32" fmla="*/ 266760 w 1857518"/>
                <a:gd name="connsiteY32" fmla="*/ 606695 h 1847198"/>
                <a:gd name="connsiteX33" fmla="*/ 262116 w 1857518"/>
                <a:gd name="connsiteY33" fmla="*/ 570060 h 1847198"/>
                <a:gd name="connsiteX34" fmla="*/ 159437 w 1857518"/>
                <a:gd name="connsiteY34" fmla="*/ 434874 h 1847198"/>
                <a:gd name="connsiteX35" fmla="*/ 159953 w 1857518"/>
                <a:gd name="connsiteY35" fmla="*/ 401336 h 1847198"/>
                <a:gd name="connsiteX36" fmla="*/ 259536 w 1857518"/>
                <a:gd name="connsiteY36" fmla="*/ 278017 h 1847198"/>
                <a:gd name="connsiteX37" fmla="*/ 294623 w 1857518"/>
                <a:gd name="connsiteY37" fmla="*/ 268729 h 1847198"/>
                <a:gd name="connsiteX38" fmla="*/ 457672 w 1857518"/>
                <a:gd name="connsiteY38" fmla="*/ 336322 h 1847198"/>
                <a:gd name="connsiteX39" fmla="*/ 489146 w 1857518"/>
                <a:gd name="connsiteY39" fmla="*/ 333743 h 1847198"/>
                <a:gd name="connsiteX40" fmla="*/ 540744 w 1857518"/>
                <a:gd name="connsiteY40" fmla="*/ 298140 h 1847198"/>
                <a:gd name="connsiteX41" fmla="*/ 553127 w 1857518"/>
                <a:gd name="connsiteY41" fmla="*/ 273889 h 1847198"/>
                <a:gd name="connsiteX42" fmla="*/ 552096 w 1857518"/>
                <a:gd name="connsiteY42" fmla="*/ 255830 h 1847198"/>
                <a:gd name="connsiteX43" fmla="*/ 545904 w 1857518"/>
                <a:gd name="connsiteY43" fmla="*/ 175854 h 1847198"/>
                <a:gd name="connsiteX44" fmla="*/ 539712 w 1857518"/>
                <a:gd name="connsiteY44" fmla="*/ 95877 h 1847198"/>
                <a:gd name="connsiteX45" fmla="*/ 556739 w 1857518"/>
                <a:gd name="connsiteY45" fmla="*/ 69562 h 1847198"/>
                <a:gd name="connsiteX46" fmla="*/ 716176 w 1857518"/>
                <a:gd name="connsiteY46" fmla="*/ 15901 h 1847198"/>
                <a:gd name="connsiteX47" fmla="*/ 726496 w 1857518"/>
                <a:gd name="connsiteY47" fmla="*/ 14353 h 1847198"/>
                <a:gd name="connsiteX48" fmla="*/ 748167 w 1857518"/>
                <a:gd name="connsiteY48" fmla="*/ 28800 h 1847198"/>
                <a:gd name="connsiteX49" fmla="*/ 847750 w 1857518"/>
                <a:gd name="connsiteY49" fmla="*/ 172758 h 1847198"/>
                <a:gd name="connsiteX50" fmla="*/ 878709 w 1857518"/>
                <a:gd name="connsiteY50" fmla="*/ 187721 h 1847198"/>
                <a:gd name="connsiteX51" fmla="*/ 931855 w 1857518"/>
                <a:gd name="connsiteY51" fmla="*/ 185657 h 1847198"/>
                <a:gd name="connsiteX52" fmla="*/ 948366 w 1857518"/>
                <a:gd name="connsiteY52" fmla="*/ 177401 h 1847198"/>
                <a:gd name="connsiteX53" fmla="*/ 954042 w 1857518"/>
                <a:gd name="connsiteY53" fmla="*/ 169146 h 1847198"/>
                <a:gd name="connsiteX54" fmla="*/ 979840 w 1857518"/>
                <a:gd name="connsiteY54" fmla="*/ 121676 h 1847198"/>
                <a:gd name="connsiteX55" fmla="*/ 1037630 w 1857518"/>
                <a:gd name="connsiteY55" fmla="*/ 13837 h 1847198"/>
                <a:gd name="connsiteX56" fmla="*/ 1066525 w 1857518"/>
                <a:gd name="connsiteY56" fmla="*/ 937 h 1847198"/>
                <a:gd name="connsiteX57" fmla="*/ 1233702 w 1857518"/>
                <a:gd name="connsiteY57" fmla="*/ 40667 h 1847198"/>
                <a:gd name="connsiteX58" fmla="*/ 1253309 w 1857518"/>
                <a:gd name="connsiteY58" fmla="*/ 64918 h 1847198"/>
                <a:gd name="connsiteX59" fmla="*/ 1254341 w 1857518"/>
                <a:gd name="connsiteY59" fmla="*/ 85042 h 1847198"/>
                <a:gd name="connsiteX60" fmla="*/ 1258468 w 1857518"/>
                <a:gd name="connsiteY60" fmla="*/ 209908 h 1847198"/>
                <a:gd name="connsiteX61" fmla="*/ 1260016 w 1857518"/>
                <a:gd name="connsiteY61" fmla="*/ 244478 h 1847198"/>
                <a:gd name="connsiteX62" fmla="*/ 1276012 w 1857518"/>
                <a:gd name="connsiteY62" fmla="*/ 270277 h 1847198"/>
                <a:gd name="connsiteX63" fmla="*/ 1313678 w 1857518"/>
                <a:gd name="connsiteY63" fmla="*/ 291948 h 1847198"/>
                <a:gd name="connsiteX64" fmla="*/ 1349797 w 1857518"/>
                <a:gd name="connsiteY64" fmla="*/ 291948 h 1847198"/>
                <a:gd name="connsiteX65" fmla="*/ 1502526 w 1857518"/>
                <a:gd name="connsiteY65" fmla="*/ 206812 h 1847198"/>
                <a:gd name="connsiteX66" fmla="*/ 1535033 w 1857518"/>
                <a:gd name="connsiteY66" fmla="*/ 211456 h 1847198"/>
                <a:gd name="connsiteX67" fmla="*/ 1653707 w 1857518"/>
                <a:gd name="connsiteY67" fmla="*/ 332711 h 1847198"/>
                <a:gd name="connsiteX68" fmla="*/ 1657835 w 1857518"/>
                <a:gd name="connsiteY68" fmla="*/ 366249 h 1847198"/>
                <a:gd name="connsiteX69" fmla="*/ 1569087 w 1857518"/>
                <a:gd name="connsiteY69" fmla="*/ 515883 h 1847198"/>
                <a:gd name="connsiteX70" fmla="*/ 1568571 w 1857518"/>
                <a:gd name="connsiteY70" fmla="*/ 550453 h 1847198"/>
                <a:gd name="connsiteX71" fmla="*/ 1591274 w 1857518"/>
                <a:gd name="connsiteY71" fmla="*/ 592247 h 1847198"/>
                <a:gd name="connsiteX72" fmla="*/ 1617589 w 1857518"/>
                <a:gd name="connsiteY72" fmla="*/ 608759 h 1847198"/>
                <a:gd name="connsiteX73" fmla="*/ 1676926 w 1857518"/>
                <a:gd name="connsiteY73" fmla="*/ 612886 h 1847198"/>
                <a:gd name="connsiteX74" fmla="*/ 1797665 w 1857518"/>
                <a:gd name="connsiteY74" fmla="*/ 620626 h 1847198"/>
                <a:gd name="connsiteX75" fmla="*/ 1820884 w 1857518"/>
                <a:gd name="connsiteY75" fmla="*/ 640233 h 1847198"/>
                <a:gd name="connsiteX76" fmla="*/ 1857518 w 1857518"/>
                <a:gd name="connsiteY76" fmla="*/ 808442 h 1847198"/>
                <a:gd name="connsiteX77" fmla="*/ 1851842 w 1857518"/>
                <a:gd name="connsiteY77" fmla="*/ 829081 h 1847198"/>
                <a:gd name="connsiteX78" fmla="*/ 1841523 w 1857518"/>
                <a:gd name="connsiteY78" fmla="*/ 836305 h 1847198"/>
                <a:gd name="connsiteX79" fmla="*/ 1686214 w 1857518"/>
                <a:gd name="connsiteY79" fmla="*/ 913701 h 1847198"/>
                <a:gd name="connsiteX80" fmla="*/ 1668670 w 1857518"/>
                <a:gd name="connsiteY80" fmla="*/ 940016 h 1847198"/>
                <a:gd name="connsiteX81" fmla="*/ 1665059 w 1857518"/>
                <a:gd name="connsiteY81" fmla="*/ 998322 h 1847198"/>
                <a:gd name="connsiteX82" fmla="*/ 1678474 w 1857518"/>
                <a:gd name="connsiteY82" fmla="*/ 1026184 h 1847198"/>
                <a:gd name="connsiteX83" fmla="*/ 1821916 w 1857518"/>
                <a:gd name="connsiteY83" fmla="*/ 1131960 h 1847198"/>
                <a:gd name="connsiteX84" fmla="*/ 1831720 w 1857518"/>
                <a:gd name="connsiteY84" fmla="*/ 1163950 h 1847198"/>
                <a:gd name="connsiteX85" fmla="*/ 1805404 w 1857518"/>
                <a:gd name="connsiteY85" fmla="*/ 1236703 h 1847198"/>
                <a:gd name="connsiteX86" fmla="*/ 1775478 w 1857518"/>
                <a:gd name="connsiteY86" fmla="*/ 1317711 h 1847198"/>
                <a:gd name="connsiteX87" fmla="*/ 1750195 w 1857518"/>
                <a:gd name="connsiteY87" fmla="*/ 1334223 h 1847198"/>
                <a:gd name="connsiteX88" fmla="*/ 1685698 w 1857518"/>
                <a:gd name="connsiteY88" fmla="*/ 1327515 h 1847198"/>
                <a:gd name="connsiteX89" fmla="*/ 1574247 w 1857518"/>
                <a:gd name="connsiteY89" fmla="*/ 1315648 h 1847198"/>
                <a:gd name="connsiteX90" fmla="*/ 1545868 w 1857518"/>
                <a:gd name="connsiteY90" fmla="*/ 1328547 h 1847198"/>
                <a:gd name="connsiteX91" fmla="*/ 1505622 w 1857518"/>
                <a:gd name="connsiteY91" fmla="*/ 1383241 h 1847198"/>
                <a:gd name="connsiteX92" fmla="*/ 1500978 w 1857518"/>
                <a:gd name="connsiteY92" fmla="*/ 1417811 h 1847198"/>
                <a:gd name="connsiteX93" fmla="*/ 1563411 w 1857518"/>
                <a:gd name="connsiteY93" fmla="*/ 1581892 h 1847198"/>
                <a:gd name="connsiteX94" fmla="*/ 1554124 w 1857518"/>
                <a:gd name="connsiteY94" fmla="*/ 1615430 h 1847198"/>
                <a:gd name="connsiteX95" fmla="*/ 1430805 w 1857518"/>
                <a:gd name="connsiteY95" fmla="*/ 1708822 h 1847198"/>
                <a:gd name="connsiteX96" fmla="*/ 1397266 w 1857518"/>
                <a:gd name="connsiteY96" fmla="*/ 1708306 h 1847198"/>
                <a:gd name="connsiteX97" fmla="*/ 1263628 w 1857518"/>
                <a:gd name="connsiteY97" fmla="*/ 1600467 h 1847198"/>
                <a:gd name="connsiteX98" fmla="*/ 1232154 w 1857518"/>
                <a:gd name="connsiteY98" fmla="*/ 1594275 h 1847198"/>
                <a:gd name="connsiteX99" fmla="*/ 1153725 w 1857518"/>
                <a:gd name="connsiteY99" fmla="*/ 1624202 h 1847198"/>
                <a:gd name="connsiteX100" fmla="*/ 1134634 w 1857518"/>
                <a:gd name="connsiteY100" fmla="*/ 1646905 h 1847198"/>
                <a:gd name="connsiteX101" fmla="*/ 1123798 w 1857518"/>
                <a:gd name="connsiteY101" fmla="*/ 1698503 h 1847198"/>
                <a:gd name="connsiteX102" fmla="*/ 1097999 w 1857518"/>
                <a:gd name="connsiteY102" fmla="*/ 1821821 h 1847198"/>
                <a:gd name="connsiteX103" fmla="*/ 1076329 w 1857518"/>
                <a:gd name="connsiteY103" fmla="*/ 1842460 h 1847198"/>
                <a:gd name="connsiteX104" fmla="*/ 994288 w 1857518"/>
                <a:gd name="connsiteY104" fmla="*/ 1851232 h 1847198"/>
                <a:gd name="connsiteX105" fmla="*/ 959201 w 1857518"/>
                <a:gd name="connsiteY105" fmla="*/ 1852264 h 1847198"/>
                <a:gd name="connsiteX106" fmla="*/ 928759 w 1857518"/>
                <a:gd name="connsiteY106" fmla="*/ 382245 h 1847198"/>
                <a:gd name="connsiteX107" fmla="*/ 386983 w 1857518"/>
                <a:gd name="connsiteY107" fmla="*/ 921957 h 1847198"/>
                <a:gd name="connsiteX108" fmla="*/ 926695 w 1857518"/>
                <a:gd name="connsiteY108" fmla="*/ 1465797 h 1847198"/>
                <a:gd name="connsiteX109" fmla="*/ 1470535 w 1857518"/>
                <a:gd name="connsiteY109" fmla="*/ 924537 h 1847198"/>
                <a:gd name="connsiteX110" fmla="*/ 928759 w 1857518"/>
                <a:gd name="connsiteY110" fmla="*/ 382245 h 1847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1857518" h="1847198">
                  <a:moveTo>
                    <a:pt x="959201" y="1852264"/>
                  </a:moveTo>
                  <a:cubicBezTo>
                    <a:pt x="943206" y="1852264"/>
                    <a:pt x="927211" y="1852264"/>
                    <a:pt x="910700" y="1852264"/>
                  </a:cubicBezTo>
                  <a:cubicBezTo>
                    <a:pt x="900380" y="1848652"/>
                    <a:pt x="894704" y="1840913"/>
                    <a:pt x="891608" y="1830593"/>
                  </a:cubicBezTo>
                  <a:cubicBezTo>
                    <a:pt x="874065" y="1776931"/>
                    <a:pt x="856006" y="1723270"/>
                    <a:pt x="838463" y="1669608"/>
                  </a:cubicBezTo>
                  <a:cubicBezTo>
                    <a:pt x="834335" y="1657224"/>
                    <a:pt x="826080" y="1649485"/>
                    <a:pt x="813180" y="1646905"/>
                  </a:cubicBezTo>
                  <a:cubicBezTo>
                    <a:pt x="785833" y="1640713"/>
                    <a:pt x="757970" y="1635037"/>
                    <a:pt x="730624" y="1628330"/>
                  </a:cubicBezTo>
                  <a:cubicBezTo>
                    <a:pt x="716176" y="1624718"/>
                    <a:pt x="704309" y="1628330"/>
                    <a:pt x="693990" y="1639165"/>
                  </a:cubicBezTo>
                  <a:cubicBezTo>
                    <a:pt x="654259" y="1680443"/>
                    <a:pt x="613497" y="1720690"/>
                    <a:pt x="573251" y="1761452"/>
                  </a:cubicBezTo>
                  <a:cubicBezTo>
                    <a:pt x="563963" y="1770739"/>
                    <a:pt x="553127" y="1772804"/>
                    <a:pt x="542292" y="1766612"/>
                  </a:cubicBezTo>
                  <a:cubicBezTo>
                    <a:pt x="498950" y="1742361"/>
                    <a:pt x="456123" y="1718110"/>
                    <a:pt x="412782" y="1693859"/>
                  </a:cubicBezTo>
                  <a:cubicBezTo>
                    <a:pt x="397818" y="1685603"/>
                    <a:pt x="394206" y="1676832"/>
                    <a:pt x="398334" y="1660836"/>
                  </a:cubicBezTo>
                  <a:cubicBezTo>
                    <a:pt x="412265" y="1605111"/>
                    <a:pt x="426713" y="1549901"/>
                    <a:pt x="440644" y="1494176"/>
                  </a:cubicBezTo>
                  <a:cubicBezTo>
                    <a:pt x="443741" y="1482308"/>
                    <a:pt x="441676" y="1471473"/>
                    <a:pt x="432904" y="1462185"/>
                  </a:cubicBezTo>
                  <a:cubicBezTo>
                    <a:pt x="412265" y="1440514"/>
                    <a:pt x="391110" y="1418843"/>
                    <a:pt x="370471" y="1397172"/>
                  </a:cubicBezTo>
                  <a:cubicBezTo>
                    <a:pt x="362216" y="1388400"/>
                    <a:pt x="351896" y="1385820"/>
                    <a:pt x="340545" y="1388400"/>
                  </a:cubicBezTo>
                  <a:cubicBezTo>
                    <a:pt x="330226" y="1390464"/>
                    <a:pt x="320422" y="1393044"/>
                    <a:pt x="310618" y="1395108"/>
                  </a:cubicBezTo>
                  <a:cubicBezTo>
                    <a:pt x="263664" y="1405428"/>
                    <a:pt x="217226" y="1416263"/>
                    <a:pt x="170273" y="1426583"/>
                  </a:cubicBezTo>
                  <a:cubicBezTo>
                    <a:pt x="157373" y="1429679"/>
                    <a:pt x="147054" y="1425035"/>
                    <a:pt x="141377" y="1413683"/>
                  </a:cubicBezTo>
                  <a:cubicBezTo>
                    <a:pt x="117642" y="1368277"/>
                    <a:pt x="94423" y="1322355"/>
                    <a:pt x="70689" y="1276949"/>
                  </a:cubicBezTo>
                  <a:cubicBezTo>
                    <a:pt x="65529" y="1266630"/>
                    <a:pt x="67593" y="1255278"/>
                    <a:pt x="75848" y="1247539"/>
                  </a:cubicBezTo>
                  <a:cubicBezTo>
                    <a:pt x="119191" y="1207292"/>
                    <a:pt x="163049" y="1166530"/>
                    <a:pt x="206391" y="1126284"/>
                  </a:cubicBezTo>
                  <a:cubicBezTo>
                    <a:pt x="215162" y="1118544"/>
                    <a:pt x="218258" y="1108225"/>
                    <a:pt x="216710" y="1096873"/>
                  </a:cubicBezTo>
                  <a:cubicBezTo>
                    <a:pt x="211551" y="1069010"/>
                    <a:pt x="206391" y="1040631"/>
                    <a:pt x="201231" y="1012769"/>
                  </a:cubicBezTo>
                  <a:cubicBezTo>
                    <a:pt x="199167" y="1000901"/>
                    <a:pt x="192459" y="993162"/>
                    <a:pt x="181108" y="989034"/>
                  </a:cubicBezTo>
                  <a:cubicBezTo>
                    <a:pt x="142925" y="975103"/>
                    <a:pt x="104743" y="961171"/>
                    <a:pt x="67077" y="947240"/>
                  </a:cubicBezTo>
                  <a:cubicBezTo>
                    <a:pt x="44890" y="938984"/>
                    <a:pt x="22187" y="931760"/>
                    <a:pt x="0" y="921957"/>
                  </a:cubicBezTo>
                  <a:cubicBezTo>
                    <a:pt x="0" y="912153"/>
                    <a:pt x="0" y="902866"/>
                    <a:pt x="0" y="893062"/>
                  </a:cubicBezTo>
                  <a:cubicBezTo>
                    <a:pt x="1548" y="876035"/>
                    <a:pt x="3096" y="859524"/>
                    <a:pt x="4643" y="842496"/>
                  </a:cubicBezTo>
                  <a:cubicBezTo>
                    <a:pt x="7740" y="809474"/>
                    <a:pt x="12383" y="776451"/>
                    <a:pt x="17543" y="743945"/>
                  </a:cubicBezTo>
                  <a:cubicBezTo>
                    <a:pt x="19091" y="733109"/>
                    <a:pt x="26831" y="725369"/>
                    <a:pt x="38182" y="723305"/>
                  </a:cubicBezTo>
                  <a:cubicBezTo>
                    <a:pt x="97003" y="712470"/>
                    <a:pt x="155309" y="702150"/>
                    <a:pt x="214131" y="691315"/>
                  </a:cubicBezTo>
                  <a:cubicBezTo>
                    <a:pt x="226514" y="689251"/>
                    <a:pt x="234770" y="682543"/>
                    <a:pt x="239929" y="671192"/>
                  </a:cubicBezTo>
                  <a:cubicBezTo>
                    <a:pt x="248701" y="649521"/>
                    <a:pt x="257989" y="627850"/>
                    <a:pt x="266760" y="606695"/>
                  </a:cubicBezTo>
                  <a:cubicBezTo>
                    <a:pt x="272436" y="593279"/>
                    <a:pt x="270888" y="581928"/>
                    <a:pt x="262116" y="570060"/>
                  </a:cubicBezTo>
                  <a:cubicBezTo>
                    <a:pt x="227546" y="525170"/>
                    <a:pt x="193492" y="479764"/>
                    <a:pt x="159437" y="434874"/>
                  </a:cubicBezTo>
                  <a:cubicBezTo>
                    <a:pt x="150665" y="423007"/>
                    <a:pt x="150665" y="412687"/>
                    <a:pt x="159953" y="401336"/>
                  </a:cubicBezTo>
                  <a:cubicBezTo>
                    <a:pt x="192975" y="360058"/>
                    <a:pt x="225998" y="319295"/>
                    <a:pt x="259536" y="278017"/>
                  </a:cubicBezTo>
                  <a:cubicBezTo>
                    <a:pt x="270372" y="265118"/>
                    <a:pt x="279144" y="262538"/>
                    <a:pt x="294623" y="268729"/>
                  </a:cubicBezTo>
                  <a:cubicBezTo>
                    <a:pt x="348801" y="291433"/>
                    <a:pt x="402978" y="313620"/>
                    <a:pt x="457672" y="336322"/>
                  </a:cubicBezTo>
                  <a:cubicBezTo>
                    <a:pt x="468507" y="340966"/>
                    <a:pt x="479342" y="340450"/>
                    <a:pt x="489146" y="333743"/>
                  </a:cubicBezTo>
                  <a:cubicBezTo>
                    <a:pt x="506690" y="321875"/>
                    <a:pt x="523717" y="310008"/>
                    <a:pt x="540744" y="298140"/>
                  </a:cubicBezTo>
                  <a:cubicBezTo>
                    <a:pt x="548999" y="292464"/>
                    <a:pt x="553127" y="284209"/>
                    <a:pt x="553127" y="273889"/>
                  </a:cubicBezTo>
                  <a:cubicBezTo>
                    <a:pt x="553127" y="267697"/>
                    <a:pt x="552612" y="261506"/>
                    <a:pt x="552096" y="255830"/>
                  </a:cubicBezTo>
                  <a:cubicBezTo>
                    <a:pt x="550032" y="228999"/>
                    <a:pt x="547968" y="202684"/>
                    <a:pt x="545904" y="175854"/>
                  </a:cubicBezTo>
                  <a:cubicBezTo>
                    <a:pt x="543840" y="149023"/>
                    <a:pt x="541776" y="122708"/>
                    <a:pt x="539712" y="95877"/>
                  </a:cubicBezTo>
                  <a:cubicBezTo>
                    <a:pt x="538680" y="83493"/>
                    <a:pt x="544872" y="73690"/>
                    <a:pt x="556739" y="69562"/>
                  </a:cubicBezTo>
                  <a:cubicBezTo>
                    <a:pt x="609885" y="51503"/>
                    <a:pt x="663031" y="33444"/>
                    <a:pt x="716176" y="15901"/>
                  </a:cubicBezTo>
                  <a:cubicBezTo>
                    <a:pt x="719788" y="14869"/>
                    <a:pt x="722884" y="14353"/>
                    <a:pt x="726496" y="14353"/>
                  </a:cubicBezTo>
                  <a:cubicBezTo>
                    <a:pt x="736299" y="14869"/>
                    <a:pt x="742491" y="21060"/>
                    <a:pt x="748167" y="28800"/>
                  </a:cubicBezTo>
                  <a:cubicBezTo>
                    <a:pt x="781189" y="76786"/>
                    <a:pt x="814728" y="124772"/>
                    <a:pt x="847750" y="172758"/>
                  </a:cubicBezTo>
                  <a:cubicBezTo>
                    <a:pt x="855490" y="183593"/>
                    <a:pt x="865810" y="188753"/>
                    <a:pt x="878709" y="187721"/>
                  </a:cubicBezTo>
                  <a:cubicBezTo>
                    <a:pt x="896252" y="186173"/>
                    <a:pt x="914312" y="185657"/>
                    <a:pt x="931855" y="185657"/>
                  </a:cubicBezTo>
                  <a:cubicBezTo>
                    <a:pt x="939079" y="185657"/>
                    <a:pt x="944239" y="183077"/>
                    <a:pt x="948366" y="177401"/>
                  </a:cubicBezTo>
                  <a:cubicBezTo>
                    <a:pt x="950430" y="174822"/>
                    <a:pt x="952494" y="171726"/>
                    <a:pt x="954042" y="169146"/>
                  </a:cubicBezTo>
                  <a:cubicBezTo>
                    <a:pt x="962814" y="153150"/>
                    <a:pt x="971069" y="137155"/>
                    <a:pt x="979840" y="121676"/>
                  </a:cubicBezTo>
                  <a:cubicBezTo>
                    <a:pt x="998932" y="85558"/>
                    <a:pt x="1018539" y="49955"/>
                    <a:pt x="1037630" y="13837"/>
                  </a:cubicBezTo>
                  <a:cubicBezTo>
                    <a:pt x="1043822" y="2485"/>
                    <a:pt x="1053626" y="-2159"/>
                    <a:pt x="1066525" y="937"/>
                  </a:cubicBezTo>
                  <a:cubicBezTo>
                    <a:pt x="1122251" y="14353"/>
                    <a:pt x="1177976" y="27252"/>
                    <a:pt x="1233702" y="40667"/>
                  </a:cubicBezTo>
                  <a:cubicBezTo>
                    <a:pt x="1245569" y="43763"/>
                    <a:pt x="1252793" y="52535"/>
                    <a:pt x="1253309" y="64918"/>
                  </a:cubicBezTo>
                  <a:cubicBezTo>
                    <a:pt x="1253825" y="71626"/>
                    <a:pt x="1253825" y="78334"/>
                    <a:pt x="1254341" y="85042"/>
                  </a:cubicBezTo>
                  <a:cubicBezTo>
                    <a:pt x="1255888" y="126836"/>
                    <a:pt x="1256921" y="168630"/>
                    <a:pt x="1258468" y="209908"/>
                  </a:cubicBezTo>
                  <a:cubicBezTo>
                    <a:pt x="1258985" y="221260"/>
                    <a:pt x="1259501" y="233127"/>
                    <a:pt x="1260016" y="244478"/>
                  </a:cubicBezTo>
                  <a:cubicBezTo>
                    <a:pt x="1260532" y="255830"/>
                    <a:pt x="1266208" y="264602"/>
                    <a:pt x="1276012" y="270277"/>
                  </a:cubicBezTo>
                  <a:cubicBezTo>
                    <a:pt x="1288395" y="277501"/>
                    <a:pt x="1301295" y="284209"/>
                    <a:pt x="1313678" y="291948"/>
                  </a:cubicBezTo>
                  <a:cubicBezTo>
                    <a:pt x="1326062" y="299172"/>
                    <a:pt x="1337413" y="298656"/>
                    <a:pt x="1349797" y="291948"/>
                  </a:cubicBezTo>
                  <a:cubicBezTo>
                    <a:pt x="1400879" y="263570"/>
                    <a:pt x="1451444" y="235191"/>
                    <a:pt x="1502526" y="206812"/>
                  </a:cubicBezTo>
                  <a:cubicBezTo>
                    <a:pt x="1514394" y="200105"/>
                    <a:pt x="1525745" y="202168"/>
                    <a:pt x="1535033" y="211456"/>
                  </a:cubicBezTo>
                  <a:cubicBezTo>
                    <a:pt x="1574763" y="251702"/>
                    <a:pt x="1613977" y="292464"/>
                    <a:pt x="1653707" y="332711"/>
                  </a:cubicBezTo>
                  <a:cubicBezTo>
                    <a:pt x="1664027" y="343546"/>
                    <a:pt x="1665575" y="353350"/>
                    <a:pt x="1657835" y="366249"/>
                  </a:cubicBezTo>
                  <a:cubicBezTo>
                    <a:pt x="1628424" y="416299"/>
                    <a:pt x="1598497" y="465833"/>
                    <a:pt x="1569087" y="515883"/>
                  </a:cubicBezTo>
                  <a:cubicBezTo>
                    <a:pt x="1562379" y="527234"/>
                    <a:pt x="1561863" y="539102"/>
                    <a:pt x="1568571" y="550453"/>
                  </a:cubicBezTo>
                  <a:cubicBezTo>
                    <a:pt x="1576311" y="564384"/>
                    <a:pt x="1583534" y="578316"/>
                    <a:pt x="1591274" y="592247"/>
                  </a:cubicBezTo>
                  <a:cubicBezTo>
                    <a:pt x="1596950" y="602567"/>
                    <a:pt x="1605721" y="608243"/>
                    <a:pt x="1617589" y="608759"/>
                  </a:cubicBezTo>
                  <a:cubicBezTo>
                    <a:pt x="1637196" y="610307"/>
                    <a:pt x="1657319" y="611339"/>
                    <a:pt x="1676926" y="612886"/>
                  </a:cubicBezTo>
                  <a:cubicBezTo>
                    <a:pt x="1717172" y="615466"/>
                    <a:pt x="1757419" y="618046"/>
                    <a:pt x="1797665" y="620626"/>
                  </a:cubicBezTo>
                  <a:cubicBezTo>
                    <a:pt x="1809016" y="621142"/>
                    <a:pt x="1818304" y="628882"/>
                    <a:pt x="1820884" y="640233"/>
                  </a:cubicBezTo>
                  <a:cubicBezTo>
                    <a:pt x="1833267" y="695959"/>
                    <a:pt x="1845135" y="752200"/>
                    <a:pt x="1857518" y="808442"/>
                  </a:cubicBezTo>
                  <a:cubicBezTo>
                    <a:pt x="1859066" y="816181"/>
                    <a:pt x="1857002" y="822889"/>
                    <a:pt x="1851842" y="829081"/>
                  </a:cubicBezTo>
                  <a:cubicBezTo>
                    <a:pt x="1849262" y="832177"/>
                    <a:pt x="1845135" y="834241"/>
                    <a:pt x="1841523" y="836305"/>
                  </a:cubicBezTo>
                  <a:cubicBezTo>
                    <a:pt x="1789925" y="862103"/>
                    <a:pt x="1738327" y="887902"/>
                    <a:pt x="1686214" y="913701"/>
                  </a:cubicBezTo>
                  <a:cubicBezTo>
                    <a:pt x="1675378" y="919377"/>
                    <a:pt x="1669187" y="927633"/>
                    <a:pt x="1668670" y="940016"/>
                  </a:cubicBezTo>
                  <a:cubicBezTo>
                    <a:pt x="1667639" y="959623"/>
                    <a:pt x="1666090" y="978714"/>
                    <a:pt x="1665059" y="998322"/>
                  </a:cubicBezTo>
                  <a:cubicBezTo>
                    <a:pt x="1664543" y="1009673"/>
                    <a:pt x="1668670" y="1019477"/>
                    <a:pt x="1678474" y="1026184"/>
                  </a:cubicBezTo>
                  <a:cubicBezTo>
                    <a:pt x="1726460" y="1061271"/>
                    <a:pt x="1773930" y="1096873"/>
                    <a:pt x="1821916" y="1131960"/>
                  </a:cubicBezTo>
                  <a:cubicBezTo>
                    <a:pt x="1833267" y="1140215"/>
                    <a:pt x="1836879" y="1150535"/>
                    <a:pt x="1831720" y="1163950"/>
                  </a:cubicBezTo>
                  <a:cubicBezTo>
                    <a:pt x="1822948" y="1188201"/>
                    <a:pt x="1814176" y="1212452"/>
                    <a:pt x="1805404" y="1236703"/>
                  </a:cubicBezTo>
                  <a:cubicBezTo>
                    <a:pt x="1795601" y="1263534"/>
                    <a:pt x="1785798" y="1290881"/>
                    <a:pt x="1775478" y="1317711"/>
                  </a:cubicBezTo>
                  <a:cubicBezTo>
                    <a:pt x="1771350" y="1329063"/>
                    <a:pt x="1761546" y="1335255"/>
                    <a:pt x="1750195" y="1334223"/>
                  </a:cubicBezTo>
                  <a:cubicBezTo>
                    <a:pt x="1728524" y="1332159"/>
                    <a:pt x="1707369" y="1329579"/>
                    <a:pt x="1685698" y="1327515"/>
                  </a:cubicBezTo>
                  <a:cubicBezTo>
                    <a:pt x="1648548" y="1323387"/>
                    <a:pt x="1611397" y="1319259"/>
                    <a:pt x="1574247" y="1315648"/>
                  </a:cubicBezTo>
                  <a:cubicBezTo>
                    <a:pt x="1562379" y="1314616"/>
                    <a:pt x="1553092" y="1318743"/>
                    <a:pt x="1545868" y="1328547"/>
                  </a:cubicBezTo>
                  <a:cubicBezTo>
                    <a:pt x="1532453" y="1346606"/>
                    <a:pt x="1519553" y="1365181"/>
                    <a:pt x="1505622" y="1383241"/>
                  </a:cubicBezTo>
                  <a:cubicBezTo>
                    <a:pt x="1497366" y="1394076"/>
                    <a:pt x="1496334" y="1405428"/>
                    <a:pt x="1500978" y="1417811"/>
                  </a:cubicBezTo>
                  <a:cubicBezTo>
                    <a:pt x="1521617" y="1472505"/>
                    <a:pt x="1542772" y="1527198"/>
                    <a:pt x="1563411" y="1581892"/>
                  </a:cubicBezTo>
                  <a:cubicBezTo>
                    <a:pt x="1569087" y="1596339"/>
                    <a:pt x="1565991" y="1606143"/>
                    <a:pt x="1554124" y="1615430"/>
                  </a:cubicBezTo>
                  <a:cubicBezTo>
                    <a:pt x="1512845" y="1646389"/>
                    <a:pt x="1472083" y="1677864"/>
                    <a:pt x="1430805" y="1708822"/>
                  </a:cubicBezTo>
                  <a:cubicBezTo>
                    <a:pt x="1418938" y="1717594"/>
                    <a:pt x="1408618" y="1717594"/>
                    <a:pt x="1397266" y="1708306"/>
                  </a:cubicBezTo>
                  <a:cubicBezTo>
                    <a:pt x="1352892" y="1672704"/>
                    <a:pt x="1308003" y="1636585"/>
                    <a:pt x="1263628" y="1600467"/>
                  </a:cubicBezTo>
                  <a:cubicBezTo>
                    <a:pt x="1253825" y="1592727"/>
                    <a:pt x="1243505" y="1590147"/>
                    <a:pt x="1232154" y="1594275"/>
                  </a:cubicBezTo>
                  <a:cubicBezTo>
                    <a:pt x="1205839" y="1604079"/>
                    <a:pt x="1179524" y="1613883"/>
                    <a:pt x="1153725" y="1624202"/>
                  </a:cubicBezTo>
                  <a:cubicBezTo>
                    <a:pt x="1143406" y="1628330"/>
                    <a:pt x="1137214" y="1636070"/>
                    <a:pt x="1134634" y="1646905"/>
                  </a:cubicBezTo>
                  <a:cubicBezTo>
                    <a:pt x="1131022" y="1663932"/>
                    <a:pt x="1127411" y="1681475"/>
                    <a:pt x="1123798" y="1698503"/>
                  </a:cubicBezTo>
                  <a:cubicBezTo>
                    <a:pt x="1115027" y="1739781"/>
                    <a:pt x="1106771" y="1780543"/>
                    <a:pt x="1097999" y="1821821"/>
                  </a:cubicBezTo>
                  <a:cubicBezTo>
                    <a:pt x="1095420" y="1833689"/>
                    <a:pt x="1088196" y="1840913"/>
                    <a:pt x="1076329" y="1842460"/>
                  </a:cubicBezTo>
                  <a:cubicBezTo>
                    <a:pt x="1048982" y="1846072"/>
                    <a:pt x="1021635" y="1848652"/>
                    <a:pt x="994288" y="1851232"/>
                  </a:cubicBezTo>
                  <a:cubicBezTo>
                    <a:pt x="980873" y="1850200"/>
                    <a:pt x="970037" y="1851232"/>
                    <a:pt x="959201" y="1852264"/>
                  </a:cubicBezTo>
                  <a:close/>
                  <a:moveTo>
                    <a:pt x="928759" y="382245"/>
                  </a:moveTo>
                  <a:cubicBezTo>
                    <a:pt x="633620" y="381729"/>
                    <a:pt x="388015" y="619594"/>
                    <a:pt x="386983" y="921957"/>
                  </a:cubicBezTo>
                  <a:cubicBezTo>
                    <a:pt x="385951" y="1222772"/>
                    <a:pt x="627428" y="1464765"/>
                    <a:pt x="926695" y="1465797"/>
                  </a:cubicBezTo>
                  <a:cubicBezTo>
                    <a:pt x="1229058" y="1466829"/>
                    <a:pt x="1470019" y="1222772"/>
                    <a:pt x="1470535" y="924537"/>
                  </a:cubicBezTo>
                  <a:cubicBezTo>
                    <a:pt x="1470535" y="625270"/>
                    <a:pt x="1228026" y="381729"/>
                    <a:pt x="928759" y="382245"/>
                  </a:cubicBezTo>
                  <a:close/>
                </a:path>
              </a:pathLst>
            </a:custGeom>
            <a:grpFill/>
            <a:ln w="51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96A48627-8991-4822-BA51-E0B5CA3A4F9C}"/>
                </a:ext>
              </a:extLst>
            </p:cNvPr>
            <p:cNvSpPr/>
            <p:nvPr/>
          </p:nvSpPr>
          <p:spPr>
            <a:xfrm>
              <a:off x="3167084" y="4595897"/>
              <a:ext cx="1051669" cy="1070562"/>
            </a:xfrm>
            <a:custGeom>
              <a:avLst/>
              <a:gdLst>
                <a:gd name="connsiteX0" fmla="*/ 879664 w 1723364"/>
                <a:gd name="connsiteY0" fmla="*/ 267 h 1754322"/>
                <a:gd name="connsiteX1" fmla="*/ 964801 w 1723364"/>
                <a:gd name="connsiteY1" fmla="*/ 5943 h 1754322"/>
                <a:gd name="connsiteX2" fmla="*/ 979248 w 1723364"/>
                <a:gd name="connsiteY2" fmla="*/ 18843 h 1754322"/>
                <a:gd name="connsiteX3" fmla="*/ 977700 w 1723364"/>
                <a:gd name="connsiteY3" fmla="*/ 158673 h 1754322"/>
                <a:gd name="connsiteX4" fmla="*/ 968928 w 1723364"/>
                <a:gd name="connsiteY4" fmla="*/ 213366 h 1754322"/>
                <a:gd name="connsiteX5" fmla="*/ 979764 w 1723364"/>
                <a:gd name="connsiteY5" fmla="*/ 229877 h 1754322"/>
                <a:gd name="connsiteX6" fmla="*/ 1149520 w 1723364"/>
                <a:gd name="connsiteY6" fmla="*/ 285087 h 1754322"/>
                <a:gd name="connsiteX7" fmla="*/ 1166548 w 1723364"/>
                <a:gd name="connsiteY7" fmla="*/ 278379 h 1754322"/>
                <a:gd name="connsiteX8" fmla="*/ 1210406 w 1723364"/>
                <a:gd name="connsiteY8" fmla="*/ 190663 h 1754322"/>
                <a:gd name="connsiteX9" fmla="*/ 1263035 w 1723364"/>
                <a:gd name="connsiteY9" fmla="*/ 123070 h 1754322"/>
                <a:gd name="connsiteX10" fmla="*/ 1304314 w 1723364"/>
                <a:gd name="connsiteY10" fmla="*/ 119458 h 1754322"/>
                <a:gd name="connsiteX11" fmla="*/ 1458075 w 1723364"/>
                <a:gd name="connsiteY11" fmla="*/ 231941 h 1754322"/>
                <a:gd name="connsiteX12" fmla="*/ 1462203 w 1723364"/>
                <a:gd name="connsiteY12" fmla="*/ 251549 h 1754322"/>
                <a:gd name="connsiteX13" fmla="*/ 1461171 w 1723364"/>
                <a:gd name="connsiteY13" fmla="*/ 254128 h 1754322"/>
                <a:gd name="connsiteX14" fmla="*/ 1396158 w 1723364"/>
                <a:gd name="connsiteY14" fmla="*/ 347004 h 1754322"/>
                <a:gd name="connsiteX15" fmla="*/ 1337336 w 1723364"/>
                <a:gd name="connsiteY15" fmla="*/ 404794 h 1754322"/>
                <a:gd name="connsiteX16" fmla="*/ 1336304 w 1723364"/>
                <a:gd name="connsiteY16" fmla="*/ 419757 h 1754322"/>
                <a:gd name="connsiteX17" fmla="*/ 1369327 w 1723364"/>
                <a:gd name="connsiteY17" fmla="*/ 457939 h 1754322"/>
                <a:gd name="connsiteX18" fmla="*/ 1442596 w 1723364"/>
                <a:gd name="connsiteY18" fmla="*/ 565263 h 1754322"/>
                <a:gd name="connsiteX19" fmla="*/ 1462719 w 1723364"/>
                <a:gd name="connsiteY19" fmla="*/ 570938 h 1754322"/>
                <a:gd name="connsiteX20" fmla="*/ 1573138 w 1723364"/>
                <a:gd name="connsiteY20" fmla="*/ 514697 h 1754322"/>
                <a:gd name="connsiteX21" fmla="*/ 1650018 w 1723364"/>
                <a:gd name="connsiteY21" fmla="*/ 501281 h 1754322"/>
                <a:gd name="connsiteX22" fmla="*/ 1659822 w 1723364"/>
                <a:gd name="connsiteY22" fmla="*/ 509537 h 1754322"/>
                <a:gd name="connsiteX23" fmla="*/ 1724835 w 1723364"/>
                <a:gd name="connsiteY23" fmla="*/ 709220 h 1754322"/>
                <a:gd name="connsiteX24" fmla="*/ 1717611 w 1723364"/>
                <a:gd name="connsiteY24" fmla="*/ 723668 h 1754322"/>
                <a:gd name="connsiteX25" fmla="*/ 1671173 w 1723364"/>
                <a:gd name="connsiteY25" fmla="*/ 748950 h 1754322"/>
                <a:gd name="connsiteX26" fmla="*/ 1618544 w 1723364"/>
                <a:gd name="connsiteY26" fmla="*/ 760302 h 1754322"/>
                <a:gd name="connsiteX27" fmla="*/ 1529280 w 1723364"/>
                <a:gd name="connsiteY27" fmla="*/ 774234 h 1754322"/>
                <a:gd name="connsiteX28" fmla="*/ 1515349 w 1723364"/>
                <a:gd name="connsiteY28" fmla="*/ 791777 h 1754322"/>
                <a:gd name="connsiteX29" fmla="*/ 1521024 w 1723364"/>
                <a:gd name="connsiteY29" fmla="*/ 857306 h 1754322"/>
                <a:gd name="connsiteX30" fmla="*/ 1516380 w 1723364"/>
                <a:gd name="connsiteY30" fmla="*/ 953794 h 1754322"/>
                <a:gd name="connsiteX31" fmla="*/ 1538567 w 1723364"/>
                <a:gd name="connsiteY31" fmla="*/ 983720 h 1754322"/>
                <a:gd name="connsiteX32" fmla="*/ 1653114 w 1723364"/>
                <a:gd name="connsiteY32" fmla="*/ 1001779 h 1754322"/>
                <a:gd name="connsiteX33" fmla="*/ 1700584 w 1723364"/>
                <a:gd name="connsiteY33" fmla="*/ 1024483 h 1754322"/>
                <a:gd name="connsiteX34" fmla="*/ 1719675 w 1723364"/>
                <a:gd name="connsiteY34" fmla="*/ 1067825 h 1754322"/>
                <a:gd name="connsiteX35" fmla="*/ 1661370 w 1723364"/>
                <a:gd name="connsiteY35" fmla="*/ 1243773 h 1754322"/>
                <a:gd name="connsiteX36" fmla="*/ 1641763 w 1723364"/>
                <a:gd name="connsiteY36" fmla="*/ 1255124 h 1754322"/>
                <a:gd name="connsiteX37" fmla="*/ 1541663 w 1723364"/>
                <a:gd name="connsiteY37" fmla="*/ 1226230 h 1754322"/>
                <a:gd name="connsiteX38" fmla="*/ 1461687 w 1723364"/>
                <a:gd name="connsiteY38" fmla="*/ 1184436 h 1754322"/>
                <a:gd name="connsiteX39" fmla="*/ 1444143 w 1723364"/>
                <a:gd name="connsiteY39" fmla="*/ 1189079 h 1754322"/>
                <a:gd name="connsiteX40" fmla="*/ 1339400 w 1723364"/>
                <a:gd name="connsiteY40" fmla="*/ 1333553 h 1754322"/>
                <a:gd name="connsiteX41" fmla="*/ 1339916 w 1723364"/>
                <a:gd name="connsiteY41" fmla="*/ 1353160 h 1754322"/>
                <a:gd name="connsiteX42" fmla="*/ 1430212 w 1723364"/>
                <a:gd name="connsiteY42" fmla="*/ 1443456 h 1754322"/>
                <a:gd name="connsiteX43" fmla="*/ 1465814 w 1723364"/>
                <a:gd name="connsiteY43" fmla="*/ 1511565 h 1754322"/>
                <a:gd name="connsiteX44" fmla="*/ 1461171 w 1723364"/>
                <a:gd name="connsiteY44" fmla="*/ 1521369 h 1754322"/>
                <a:gd name="connsiteX45" fmla="*/ 1290382 w 1723364"/>
                <a:gd name="connsiteY45" fmla="*/ 1645203 h 1754322"/>
                <a:gd name="connsiteX46" fmla="*/ 1275419 w 1723364"/>
                <a:gd name="connsiteY46" fmla="*/ 1643655 h 1754322"/>
                <a:gd name="connsiteX47" fmla="*/ 1207310 w 1723364"/>
                <a:gd name="connsiteY47" fmla="*/ 1558003 h 1754322"/>
                <a:gd name="connsiteX48" fmla="*/ 1167064 w 1723364"/>
                <a:gd name="connsiteY48" fmla="*/ 1477511 h 1754322"/>
                <a:gd name="connsiteX49" fmla="*/ 1150036 w 1723364"/>
                <a:gd name="connsiteY49" fmla="*/ 1470803 h 1754322"/>
                <a:gd name="connsiteX50" fmla="*/ 981312 w 1723364"/>
                <a:gd name="connsiteY50" fmla="*/ 1526013 h 1754322"/>
                <a:gd name="connsiteX51" fmla="*/ 969960 w 1723364"/>
                <a:gd name="connsiteY51" fmla="*/ 1544072 h 1754322"/>
                <a:gd name="connsiteX52" fmla="*/ 989052 w 1723364"/>
                <a:gd name="connsiteY52" fmla="*/ 1663779 h 1754322"/>
                <a:gd name="connsiteX53" fmla="*/ 978216 w 1723364"/>
                <a:gd name="connsiteY53" fmla="*/ 1743755 h 1754322"/>
                <a:gd name="connsiteX54" fmla="*/ 966864 w 1723364"/>
                <a:gd name="connsiteY54" fmla="*/ 1749947 h 1754322"/>
                <a:gd name="connsiteX55" fmla="*/ 758410 w 1723364"/>
                <a:gd name="connsiteY55" fmla="*/ 1749947 h 1754322"/>
                <a:gd name="connsiteX56" fmla="*/ 745510 w 1723364"/>
                <a:gd name="connsiteY56" fmla="*/ 1737047 h 1754322"/>
                <a:gd name="connsiteX57" fmla="*/ 747058 w 1723364"/>
                <a:gd name="connsiteY57" fmla="*/ 1598249 h 1754322"/>
                <a:gd name="connsiteX58" fmla="*/ 756346 w 1723364"/>
                <a:gd name="connsiteY58" fmla="*/ 1543556 h 1754322"/>
                <a:gd name="connsiteX59" fmla="*/ 744478 w 1723364"/>
                <a:gd name="connsiteY59" fmla="*/ 1525496 h 1754322"/>
                <a:gd name="connsiteX60" fmla="*/ 575754 w 1723364"/>
                <a:gd name="connsiteY60" fmla="*/ 1470287 h 1754322"/>
                <a:gd name="connsiteX61" fmla="*/ 559758 w 1723364"/>
                <a:gd name="connsiteY61" fmla="*/ 1475963 h 1754322"/>
                <a:gd name="connsiteX62" fmla="*/ 504549 w 1723364"/>
                <a:gd name="connsiteY62" fmla="*/ 1585350 h 1754322"/>
                <a:gd name="connsiteX63" fmla="*/ 447275 w 1723364"/>
                <a:gd name="connsiteY63" fmla="*/ 1645719 h 1754322"/>
                <a:gd name="connsiteX64" fmla="*/ 434376 w 1723364"/>
                <a:gd name="connsiteY64" fmla="*/ 1643655 h 1754322"/>
                <a:gd name="connsiteX65" fmla="*/ 290418 w 1723364"/>
                <a:gd name="connsiteY65" fmla="*/ 1542008 h 1754322"/>
                <a:gd name="connsiteX66" fmla="*/ 265651 w 1723364"/>
                <a:gd name="connsiteY66" fmla="*/ 1521369 h 1754322"/>
                <a:gd name="connsiteX67" fmla="*/ 262039 w 1723364"/>
                <a:gd name="connsiteY67" fmla="*/ 1505889 h 1754322"/>
                <a:gd name="connsiteX68" fmla="*/ 321893 w 1723364"/>
                <a:gd name="connsiteY68" fmla="*/ 1415593 h 1754322"/>
                <a:gd name="connsiteX69" fmla="*/ 386906 w 1723364"/>
                <a:gd name="connsiteY69" fmla="*/ 1351096 h 1754322"/>
                <a:gd name="connsiteX70" fmla="*/ 387938 w 1723364"/>
                <a:gd name="connsiteY70" fmla="*/ 1334069 h 1754322"/>
                <a:gd name="connsiteX71" fmla="*/ 354915 w 1723364"/>
                <a:gd name="connsiteY71" fmla="*/ 1295887 h 1754322"/>
                <a:gd name="connsiteX72" fmla="*/ 282678 w 1723364"/>
                <a:gd name="connsiteY72" fmla="*/ 1189595 h 1754322"/>
                <a:gd name="connsiteX73" fmla="*/ 262555 w 1723364"/>
                <a:gd name="connsiteY73" fmla="*/ 1183920 h 1754322"/>
                <a:gd name="connsiteX74" fmla="*/ 152136 w 1723364"/>
                <a:gd name="connsiteY74" fmla="*/ 1240161 h 1754322"/>
                <a:gd name="connsiteX75" fmla="*/ 75256 w 1723364"/>
                <a:gd name="connsiteY75" fmla="*/ 1253577 h 1754322"/>
                <a:gd name="connsiteX76" fmla="*/ 65452 w 1723364"/>
                <a:gd name="connsiteY76" fmla="*/ 1245321 h 1754322"/>
                <a:gd name="connsiteX77" fmla="*/ 439 w 1723364"/>
                <a:gd name="connsiteY77" fmla="*/ 1045637 h 1754322"/>
                <a:gd name="connsiteX78" fmla="*/ 7663 w 1723364"/>
                <a:gd name="connsiteY78" fmla="*/ 1031190 h 1754322"/>
                <a:gd name="connsiteX79" fmla="*/ 54101 w 1723364"/>
                <a:gd name="connsiteY79" fmla="*/ 1005907 h 1754322"/>
                <a:gd name="connsiteX80" fmla="*/ 106730 w 1723364"/>
                <a:gd name="connsiteY80" fmla="*/ 994556 h 1754322"/>
                <a:gd name="connsiteX81" fmla="*/ 197026 w 1723364"/>
                <a:gd name="connsiteY81" fmla="*/ 980109 h 1754322"/>
                <a:gd name="connsiteX82" fmla="*/ 209410 w 1723364"/>
                <a:gd name="connsiteY82" fmla="*/ 964113 h 1754322"/>
                <a:gd name="connsiteX83" fmla="*/ 203734 w 1723364"/>
                <a:gd name="connsiteY83" fmla="*/ 897552 h 1754322"/>
                <a:gd name="connsiteX84" fmla="*/ 208378 w 1723364"/>
                <a:gd name="connsiteY84" fmla="*/ 801064 h 1754322"/>
                <a:gd name="connsiteX85" fmla="*/ 185159 w 1723364"/>
                <a:gd name="connsiteY85" fmla="*/ 770622 h 1754322"/>
                <a:gd name="connsiteX86" fmla="*/ 73192 w 1723364"/>
                <a:gd name="connsiteY86" fmla="*/ 753079 h 1754322"/>
                <a:gd name="connsiteX87" fmla="*/ 24690 w 1723364"/>
                <a:gd name="connsiteY87" fmla="*/ 730375 h 1754322"/>
                <a:gd name="connsiteX88" fmla="*/ 5599 w 1723364"/>
                <a:gd name="connsiteY88" fmla="*/ 687033 h 1754322"/>
                <a:gd name="connsiteX89" fmla="*/ 63904 w 1723364"/>
                <a:gd name="connsiteY89" fmla="*/ 511085 h 1754322"/>
                <a:gd name="connsiteX90" fmla="*/ 83511 w 1723364"/>
                <a:gd name="connsiteY90" fmla="*/ 499733 h 1754322"/>
                <a:gd name="connsiteX91" fmla="*/ 183611 w 1723364"/>
                <a:gd name="connsiteY91" fmla="*/ 528628 h 1754322"/>
                <a:gd name="connsiteX92" fmla="*/ 262555 w 1723364"/>
                <a:gd name="connsiteY92" fmla="*/ 569390 h 1754322"/>
                <a:gd name="connsiteX93" fmla="*/ 282163 w 1723364"/>
                <a:gd name="connsiteY93" fmla="*/ 564231 h 1754322"/>
                <a:gd name="connsiteX94" fmla="*/ 386906 w 1723364"/>
                <a:gd name="connsiteY94" fmla="*/ 419757 h 1754322"/>
                <a:gd name="connsiteX95" fmla="*/ 386390 w 1723364"/>
                <a:gd name="connsiteY95" fmla="*/ 402214 h 1754322"/>
                <a:gd name="connsiteX96" fmla="*/ 296094 w 1723364"/>
                <a:gd name="connsiteY96" fmla="*/ 311918 h 1754322"/>
                <a:gd name="connsiteX97" fmla="*/ 259975 w 1723364"/>
                <a:gd name="connsiteY97" fmla="*/ 242777 h 1754322"/>
                <a:gd name="connsiteX98" fmla="*/ 264619 w 1723364"/>
                <a:gd name="connsiteY98" fmla="*/ 232973 h 1754322"/>
                <a:gd name="connsiteX99" fmla="*/ 435408 w 1723364"/>
                <a:gd name="connsiteY99" fmla="*/ 109139 h 1754322"/>
                <a:gd name="connsiteX100" fmla="*/ 450371 w 1723364"/>
                <a:gd name="connsiteY100" fmla="*/ 110687 h 1754322"/>
                <a:gd name="connsiteX101" fmla="*/ 518480 w 1723364"/>
                <a:gd name="connsiteY101" fmla="*/ 196339 h 1754322"/>
                <a:gd name="connsiteX102" fmla="*/ 559758 w 1723364"/>
                <a:gd name="connsiteY102" fmla="*/ 277863 h 1754322"/>
                <a:gd name="connsiteX103" fmla="*/ 574722 w 1723364"/>
                <a:gd name="connsiteY103" fmla="*/ 283539 h 1754322"/>
                <a:gd name="connsiteX104" fmla="*/ 746026 w 1723364"/>
                <a:gd name="connsiteY104" fmla="*/ 227813 h 1754322"/>
                <a:gd name="connsiteX105" fmla="*/ 756346 w 1723364"/>
                <a:gd name="connsiteY105" fmla="*/ 211302 h 1754322"/>
                <a:gd name="connsiteX106" fmla="*/ 737254 w 1723364"/>
                <a:gd name="connsiteY106" fmla="*/ 91596 h 1754322"/>
                <a:gd name="connsiteX107" fmla="*/ 748090 w 1723364"/>
                <a:gd name="connsiteY107" fmla="*/ 10587 h 1754322"/>
                <a:gd name="connsiteX108" fmla="*/ 758410 w 1723364"/>
                <a:gd name="connsiteY108" fmla="*/ 4395 h 1754322"/>
                <a:gd name="connsiteX109" fmla="*/ 879664 w 1723364"/>
                <a:gd name="connsiteY109" fmla="*/ 267 h 1754322"/>
                <a:gd name="connsiteX110" fmla="*/ 861605 w 1723364"/>
                <a:gd name="connsiteY110" fmla="*/ 1409918 h 1754322"/>
                <a:gd name="connsiteX111" fmla="*/ 1392546 w 1723364"/>
                <a:gd name="connsiteY111" fmla="*/ 879493 h 1754322"/>
                <a:gd name="connsiteX112" fmla="*/ 862637 w 1723364"/>
                <a:gd name="connsiteY112" fmla="*/ 348552 h 1754322"/>
                <a:gd name="connsiteX113" fmla="*/ 331180 w 1723364"/>
                <a:gd name="connsiteY113" fmla="*/ 879493 h 1754322"/>
                <a:gd name="connsiteX114" fmla="*/ 861605 w 1723364"/>
                <a:gd name="connsiteY114" fmla="*/ 1409918 h 1754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1723364" h="1754322">
                  <a:moveTo>
                    <a:pt x="879664" y="267"/>
                  </a:moveTo>
                  <a:cubicBezTo>
                    <a:pt x="907527" y="2332"/>
                    <a:pt x="935906" y="4395"/>
                    <a:pt x="964801" y="5943"/>
                  </a:cubicBezTo>
                  <a:cubicBezTo>
                    <a:pt x="974088" y="6459"/>
                    <a:pt x="976668" y="11103"/>
                    <a:pt x="979248" y="18843"/>
                  </a:cubicBezTo>
                  <a:cubicBezTo>
                    <a:pt x="994727" y="65797"/>
                    <a:pt x="985956" y="112235"/>
                    <a:pt x="977700" y="158673"/>
                  </a:cubicBezTo>
                  <a:cubicBezTo>
                    <a:pt x="974604" y="176732"/>
                    <a:pt x="972024" y="195307"/>
                    <a:pt x="968928" y="213366"/>
                  </a:cubicBezTo>
                  <a:cubicBezTo>
                    <a:pt x="967380" y="222654"/>
                    <a:pt x="969960" y="227813"/>
                    <a:pt x="979764" y="229877"/>
                  </a:cubicBezTo>
                  <a:cubicBezTo>
                    <a:pt x="1038585" y="240713"/>
                    <a:pt x="1095343" y="259804"/>
                    <a:pt x="1149520" y="285087"/>
                  </a:cubicBezTo>
                  <a:cubicBezTo>
                    <a:pt x="1158808" y="289215"/>
                    <a:pt x="1162420" y="286119"/>
                    <a:pt x="1166548" y="278379"/>
                  </a:cubicBezTo>
                  <a:cubicBezTo>
                    <a:pt x="1180995" y="248969"/>
                    <a:pt x="1197506" y="220590"/>
                    <a:pt x="1210406" y="190663"/>
                  </a:cubicBezTo>
                  <a:cubicBezTo>
                    <a:pt x="1222273" y="163316"/>
                    <a:pt x="1240848" y="142161"/>
                    <a:pt x="1263035" y="123070"/>
                  </a:cubicBezTo>
                  <a:cubicBezTo>
                    <a:pt x="1282643" y="106043"/>
                    <a:pt x="1282127" y="106559"/>
                    <a:pt x="1304314" y="119458"/>
                  </a:cubicBezTo>
                  <a:cubicBezTo>
                    <a:pt x="1359523" y="151449"/>
                    <a:pt x="1409573" y="190663"/>
                    <a:pt x="1458075" y="231941"/>
                  </a:cubicBezTo>
                  <a:cubicBezTo>
                    <a:pt x="1465299" y="238133"/>
                    <a:pt x="1467362" y="243809"/>
                    <a:pt x="1462203" y="251549"/>
                  </a:cubicBezTo>
                  <a:cubicBezTo>
                    <a:pt x="1461687" y="252064"/>
                    <a:pt x="1461171" y="253096"/>
                    <a:pt x="1461171" y="254128"/>
                  </a:cubicBezTo>
                  <a:cubicBezTo>
                    <a:pt x="1448271" y="291279"/>
                    <a:pt x="1425052" y="320689"/>
                    <a:pt x="1396158" y="347004"/>
                  </a:cubicBezTo>
                  <a:cubicBezTo>
                    <a:pt x="1375518" y="365064"/>
                    <a:pt x="1356943" y="385703"/>
                    <a:pt x="1337336" y="404794"/>
                  </a:cubicBezTo>
                  <a:cubicBezTo>
                    <a:pt x="1332177" y="409954"/>
                    <a:pt x="1330628" y="413565"/>
                    <a:pt x="1336304" y="419757"/>
                  </a:cubicBezTo>
                  <a:cubicBezTo>
                    <a:pt x="1347656" y="432141"/>
                    <a:pt x="1357459" y="445556"/>
                    <a:pt x="1369327" y="457939"/>
                  </a:cubicBezTo>
                  <a:cubicBezTo>
                    <a:pt x="1399769" y="489930"/>
                    <a:pt x="1419893" y="528628"/>
                    <a:pt x="1442596" y="565263"/>
                  </a:cubicBezTo>
                  <a:cubicBezTo>
                    <a:pt x="1448271" y="574550"/>
                    <a:pt x="1452915" y="576098"/>
                    <a:pt x="1462719" y="570938"/>
                  </a:cubicBezTo>
                  <a:cubicBezTo>
                    <a:pt x="1499353" y="551847"/>
                    <a:pt x="1535988" y="533272"/>
                    <a:pt x="1573138" y="514697"/>
                  </a:cubicBezTo>
                  <a:cubicBezTo>
                    <a:pt x="1597389" y="502830"/>
                    <a:pt x="1624220" y="504893"/>
                    <a:pt x="1650018" y="501281"/>
                  </a:cubicBezTo>
                  <a:cubicBezTo>
                    <a:pt x="1655694" y="500250"/>
                    <a:pt x="1658274" y="505409"/>
                    <a:pt x="1659822" y="509537"/>
                  </a:cubicBezTo>
                  <a:cubicBezTo>
                    <a:pt x="1687685" y="574034"/>
                    <a:pt x="1709872" y="640595"/>
                    <a:pt x="1724835" y="709220"/>
                  </a:cubicBezTo>
                  <a:cubicBezTo>
                    <a:pt x="1726383" y="716444"/>
                    <a:pt x="1723803" y="720572"/>
                    <a:pt x="1717611" y="723668"/>
                  </a:cubicBezTo>
                  <a:cubicBezTo>
                    <a:pt x="1702132" y="731923"/>
                    <a:pt x="1686653" y="740695"/>
                    <a:pt x="1671173" y="748950"/>
                  </a:cubicBezTo>
                  <a:cubicBezTo>
                    <a:pt x="1654662" y="757722"/>
                    <a:pt x="1636087" y="757206"/>
                    <a:pt x="1618544" y="760302"/>
                  </a:cubicBezTo>
                  <a:cubicBezTo>
                    <a:pt x="1589133" y="765462"/>
                    <a:pt x="1559207" y="770106"/>
                    <a:pt x="1529280" y="774234"/>
                  </a:cubicBezTo>
                  <a:cubicBezTo>
                    <a:pt x="1517412" y="775781"/>
                    <a:pt x="1514316" y="780941"/>
                    <a:pt x="1515349" y="791777"/>
                  </a:cubicBezTo>
                  <a:cubicBezTo>
                    <a:pt x="1517412" y="813448"/>
                    <a:pt x="1518444" y="835635"/>
                    <a:pt x="1521024" y="857306"/>
                  </a:cubicBezTo>
                  <a:cubicBezTo>
                    <a:pt x="1524636" y="889813"/>
                    <a:pt x="1518960" y="921803"/>
                    <a:pt x="1516380" y="953794"/>
                  </a:cubicBezTo>
                  <a:cubicBezTo>
                    <a:pt x="1514316" y="980109"/>
                    <a:pt x="1513284" y="980109"/>
                    <a:pt x="1538567" y="983720"/>
                  </a:cubicBezTo>
                  <a:cubicBezTo>
                    <a:pt x="1576750" y="989912"/>
                    <a:pt x="1614932" y="995588"/>
                    <a:pt x="1653114" y="1001779"/>
                  </a:cubicBezTo>
                  <a:cubicBezTo>
                    <a:pt x="1671173" y="1004875"/>
                    <a:pt x="1685105" y="1016227"/>
                    <a:pt x="1700584" y="1024483"/>
                  </a:cubicBezTo>
                  <a:cubicBezTo>
                    <a:pt x="1726899" y="1038414"/>
                    <a:pt x="1725867" y="1038930"/>
                    <a:pt x="1719675" y="1067825"/>
                  </a:cubicBezTo>
                  <a:cubicBezTo>
                    <a:pt x="1706260" y="1128710"/>
                    <a:pt x="1685105" y="1186500"/>
                    <a:pt x="1661370" y="1243773"/>
                  </a:cubicBezTo>
                  <a:cubicBezTo>
                    <a:pt x="1657242" y="1253577"/>
                    <a:pt x="1651566" y="1256157"/>
                    <a:pt x="1641763" y="1255124"/>
                  </a:cubicBezTo>
                  <a:cubicBezTo>
                    <a:pt x="1606160" y="1252028"/>
                    <a:pt x="1572622" y="1244805"/>
                    <a:pt x="1541663" y="1226230"/>
                  </a:cubicBezTo>
                  <a:cubicBezTo>
                    <a:pt x="1515864" y="1210750"/>
                    <a:pt x="1488001" y="1198883"/>
                    <a:pt x="1461687" y="1184436"/>
                  </a:cubicBezTo>
                  <a:cubicBezTo>
                    <a:pt x="1453947" y="1180308"/>
                    <a:pt x="1448787" y="1180308"/>
                    <a:pt x="1444143" y="1189079"/>
                  </a:cubicBezTo>
                  <a:cubicBezTo>
                    <a:pt x="1415249" y="1241709"/>
                    <a:pt x="1380162" y="1290211"/>
                    <a:pt x="1339400" y="1333553"/>
                  </a:cubicBezTo>
                  <a:cubicBezTo>
                    <a:pt x="1332177" y="1341293"/>
                    <a:pt x="1332177" y="1345936"/>
                    <a:pt x="1339916" y="1353160"/>
                  </a:cubicBezTo>
                  <a:cubicBezTo>
                    <a:pt x="1370359" y="1382571"/>
                    <a:pt x="1400801" y="1412498"/>
                    <a:pt x="1430212" y="1443456"/>
                  </a:cubicBezTo>
                  <a:cubicBezTo>
                    <a:pt x="1448271" y="1462547"/>
                    <a:pt x="1453947" y="1488862"/>
                    <a:pt x="1465814" y="1511565"/>
                  </a:cubicBezTo>
                  <a:cubicBezTo>
                    <a:pt x="1467879" y="1515693"/>
                    <a:pt x="1464267" y="1518789"/>
                    <a:pt x="1461171" y="1521369"/>
                  </a:cubicBezTo>
                  <a:cubicBezTo>
                    <a:pt x="1408025" y="1568323"/>
                    <a:pt x="1351784" y="1610117"/>
                    <a:pt x="1290382" y="1645203"/>
                  </a:cubicBezTo>
                  <a:cubicBezTo>
                    <a:pt x="1284707" y="1648815"/>
                    <a:pt x="1280579" y="1648299"/>
                    <a:pt x="1275419" y="1643655"/>
                  </a:cubicBezTo>
                  <a:cubicBezTo>
                    <a:pt x="1247040" y="1619404"/>
                    <a:pt x="1221757" y="1593606"/>
                    <a:pt x="1207310" y="1558003"/>
                  </a:cubicBezTo>
                  <a:cubicBezTo>
                    <a:pt x="1195958" y="1530140"/>
                    <a:pt x="1179963" y="1504341"/>
                    <a:pt x="1167064" y="1477511"/>
                  </a:cubicBezTo>
                  <a:cubicBezTo>
                    <a:pt x="1162936" y="1469255"/>
                    <a:pt x="1158808" y="1467191"/>
                    <a:pt x="1150036" y="1470803"/>
                  </a:cubicBezTo>
                  <a:cubicBezTo>
                    <a:pt x="1096375" y="1496086"/>
                    <a:pt x="1040133" y="1514661"/>
                    <a:pt x="981312" y="1526013"/>
                  </a:cubicBezTo>
                  <a:cubicBezTo>
                    <a:pt x="969960" y="1528076"/>
                    <a:pt x="967896" y="1534268"/>
                    <a:pt x="969960" y="1544072"/>
                  </a:cubicBezTo>
                  <a:cubicBezTo>
                    <a:pt x="976668" y="1583802"/>
                    <a:pt x="982860" y="1623532"/>
                    <a:pt x="989052" y="1663779"/>
                  </a:cubicBezTo>
                  <a:cubicBezTo>
                    <a:pt x="993179" y="1691641"/>
                    <a:pt x="982344" y="1716924"/>
                    <a:pt x="978216" y="1743755"/>
                  </a:cubicBezTo>
                  <a:cubicBezTo>
                    <a:pt x="977184" y="1749431"/>
                    <a:pt x="971508" y="1749431"/>
                    <a:pt x="966864" y="1749947"/>
                  </a:cubicBezTo>
                  <a:cubicBezTo>
                    <a:pt x="897207" y="1757170"/>
                    <a:pt x="828067" y="1756655"/>
                    <a:pt x="758410" y="1749947"/>
                  </a:cubicBezTo>
                  <a:cubicBezTo>
                    <a:pt x="749638" y="1748915"/>
                    <a:pt x="748090" y="1744271"/>
                    <a:pt x="745510" y="1737047"/>
                  </a:cubicBezTo>
                  <a:cubicBezTo>
                    <a:pt x="730031" y="1690609"/>
                    <a:pt x="738286" y="1644687"/>
                    <a:pt x="747058" y="1598249"/>
                  </a:cubicBezTo>
                  <a:cubicBezTo>
                    <a:pt x="750154" y="1580190"/>
                    <a:pt x="752734" y="1561615"/>
                    <a:pt x="756346" y="1543556"/>
                  </a:cubicBezTo>
                  <a:cubicBezTo>
                    <a:pt x="758410" y="1533236"/>
                    <a:pt x="755314" y="1527560"/>
                    <a:pt x="744478" y="1525496"/>
                  </a:cubicBezTo>
                  <a:cubicBezTo>
                    <a:pt x="685657" y="1514661"/>
                    <a:pt x="629931" y="1496086"/>
                    <a:pt x="575754" y="1470287"/>
                  </a:cubicBezTo>
                  <a:cubicBezTo>
                    <a:pt x="568014" y="1466675"/>
                    <a:pt x="563886" y="1467707"/>
                    <a:pt x="559758" y="1475963"/>
                  </a:cubicBezTo>
                  <a:cubicBezTo>
                    <a:pt x="541699" y="1512597"/>
                    <a:pt x="522608" y="1548715"/>
                    <a:pt x="504549" y="1585350"/>
                  </a:cubicBezTo>
                  <a:cubicBezTo>
                    <a:pt x="491649" y="1611149"/>
                    <a:pt x="466882" y="1626112"/>
                    <a:pt x="447275" y="1645719"/>
                  </a:cubicBezTo>
                  <a:cubicBezTo>
                    <a:pt x="442631" y="1650363"/>
                    <a:pt x="438504" y="1646235"/>
                    <a:pt x="434376" y="1643655"/>
                  </a:cubicBezTo>
                  <a:cubicBezTo>
                    <a:pt x="384326" y="1612697"/>
                    <a:pt x="334276" y="1581738"/>
                    <a:pt x="290418" y="1542008"/>
                  </a:cubicBezTo>
                  <a:cubicBezTo>
                    <a:pt x="282678" y="1534784"/>
                    <a:pt x="273907" y="1528076"/>
                    <a:pt x="265651" y="1521369"/>
                  </a:cubicBezTo>
                  <a:cubicBezTo>
                    <a:pt x="259975" y="1516725"/>
                    <a:pt x="259459" y="1512597"/>
                    <a:pt x="262039" y="1505889"/>
                  </a:cubicBezTo>
                  <a:cubicBezTo>
                    <a:pt x="276487" y="1472351"/>
                    <a:pt x="292998" y="1440360"/>
                    <a:pt x="321893" y="1415593"/>
                  </a:cubicBezTo>
                  <a:cubicBezTo>
                    <a:pt x="345112" y="1395986"/>
                    <a:pt x="365235" y="1372767"/>
                    <a:pt x="386906" y="1351096"/>
                  </a:cubicBezTo>
                  <a:cubicBezTo>
                    <a:pt x="393098" y="1345421"/>
                    <a:pt x="394129" y="1341293"/>
                    <a:pt x="387938" y="1334069"/>
                  </a:cubicBezTo>
                  <a:cubicBezTo>
                    <a:pt x="376586" y="1321685"/>
                    <a:pt x="366783" y="1308270"/>
                    <a:pt x="354915" y="1295887"/>
                  </a:cubicBezTo>
                  <a:cubicBezTo>
                    <a:pt x="324989" y="1264412"/>
                    <a:pt x="305382" y="1225714"/>
                    <a:pt x="282678" y="1189595"/>
                  </a:cubicBezTo>
                  <a:cubicBezTo>
                    <a:pt x="277003" y="1180308"/>
                    <a:pt x="272359" y="1178760"/>
                    <a:pt x="262555" y="1183920"/>
                  </a:cubicBezTo>
                  <a:cubicBezTo>
                    <a:pt x="225921" y="1203011"/>
                    <a:pt x="189287" y="1221586"/>
                    <a:pt x="152136" y="1240161"/>
                  </a:cubicBezTo>
                  <a:cubicBezTo>
                    <a:pt x="127885" y="1252545"/>
                    <a:pt x="101054" y="1249965"/>
                    <a:pt x="75256" y="1253577"/>
                  </a:cubicBezTo>
                  <a:cubicBezTo>
                    <a:pt x="69580" y="1254608"/>
                    <a:pt x="67000" y="1249965"/>
                    <a:pt x="65452" y="1245321"/>
                  </a:cubicBezTo>
                  <a:cubicBezTo>
                    <a:pt x="37589" y="1180824"/>
                    <a:pt x="15402" y="1114263"/>
                    <a:pt x="439" y="1045637"/>
                  </a:cubicBezTo>
                  <a:cubicBezTo>
                    <a:pt x="-1109" y="1038414"/>
                    <a:pt x="1471" y="1034286"/>
                    <a:pt x="7663" y="1031190"/>
                  </a:cubicBezTo>
                  <a:cubicBezTo>
                    <a:pt x="23142" y="1022935"/>
                    <a:pt x="38621" y="1014163"/>
                    <a:pt x="54101" y="1005907"/>
                  </a:cubicBezTo>
                  <a:cubicBezTo>
                    <a:pt x="70612" y="997136"/>
                    <a:pt x="89187" y="997652"/>
                    <a:pt x="106730" y="994556"/>
                  </a:cubicBezTo>
                  <a:cubicBezTo>
                    <a:pt x="136657" y="989396"/>
                    <a:pt x="167099" y="984236"/>
                    <a:pt x="197026" y="980109"/>
                  </a:cubicBezTo>
                  <a:cubicBezTo>
                    <a:pt x="207346" y="978560"/>
                    <a:pt x="210442" y="973917"/>
                    <a:pt x="209410" y="964113"/>
                  </a:cubicBezTo>
                  <a:cubicBezTo>
                    <a:pt x="207346" y="941926"/>
                    <a:pt x="206314" y="919739"/>
                    <a:pt x="203734" y="897552"/>
                  </a:cubicBezTo>
                  <a:cubicBezTo>
                    <a:pt x="200122" y="865045"/>
                    <a:pt x="205798" y="833055"/>
                    <a:pt x="208378" y="801064"/>
                  </a:cubicBezTo>
                  <a:cubicBezTo>
                    <a:pt x="210442" y="774749"/>
                    <a:pt x="211474" y="774749"/>
                    <a:pt x="185159" y="770622"/>
                  </a:cubicBezTo>
                  <a:cubicBezTo>
                    <a:pt x="148009" y="764430"/>
                    <a:pt x="110342" y="758754"/>
                    <a:pt x="73192" y="753079"/>
                  </a:cubicBezTo>
                  <a:cubicBezTo>
                    <a:pt x="54616" y="750499"/>
                    <a:pt x="40169" y="738631"/>
                    <a:pt x="24690" y="730375"/>
                  </a:cubicBezTo>
                  <a:cubicBezTo>
                    <a:pt x="-1625" y="715928"/>
                    <a:pt x="-593" y="715928"/>
                    <a:pt x="5599" y="687033"/>
                  </a:cubicBezTo>
                  <a:cubicBezTo>
                    <a:pt x="19014" y="626148"/>
                    <a:pt x="40169" y="568358"/>
                    <a:pt x="63904" y="511085"/>
                  </a:cubicBezTo>
                  <a:cubicBezTo>
                    <a:pt x="68032" y="501281"/>
                    <a:pt x="73192" y="498701"/>
                    <a:pt x="83511" y="499733"/>
                  </a:cubicBezTo>
                  <a:cubicBezTo>
                    <a:pt x="119114" y="502830"/>
                    <a:pt x="152652" y="510053"/>
                    <a:pt x="183611" y="528628"/>
                  </a:cubicBezTo>
                  <a:cubicBezTo>
                    <a:pt x="208894" y="543592"/>
                    <a:pt x="236241" y="555459"/>
                    <a:pt x="262555" y="569390"/>
                  </a:cubicBezTo>
                  <a:cubicBezTo>
                    <a:pt x="271327" y="574034"/>
                    <a:pt x="277003" y="574034"/>
                    <a:pt x="282163" y="564231"/>
                  </a:cubicBezTo>
                  <a:cubicBezTo>
                    <a:pt x="311057" y="511601"/>
                    <a:pt x="346144" y="463615"/>
                    <a:pt x="386906" y="419757"/>
                  </a:cubicBezTo>
                  <a:cubicBezTo>
                    <a:pt x="393614" y="412534"/>
                    <a:pt x="393098" y="408922"/>
                    <a:pt x="386390" y="402214"/>
                  </a:cubicBezTo>
                  <a:cubicBezTo>
                    <a:pt x="355947" y="372287"/>
                    <a:pt x="325505" y="342360"/>
                    <a:pt x="296094" y="311918"/>
                  </a:cubicBezTo>
                  <a:cubicBezTo>
                    <a:pt x="277519" y="292827"/>
                    <a:pt x="271843" y="265996"/>
                    <a:pt x="259975" y="242777"/>
                  </a:cubicBezTo>
                  <a:cubicBezTo>
                    <a:pt x="257912" y="238649"/>
                    <a:pt x="261524" y="235553"/>
                    <a:pt x="264619" y="232973"/>
                  </a:cubicBezTo>
                  <a:cubicBezTo>
                    <a:pt x="317765" y="186019"/>
                    <a:pt x="374007" y="144225"/>
                    <a:pt x="435408" y="109139"/>
                  </a:cubicBezTo>
                  <a:cubicBezTo>
                    <a:pt x="441084" y="105527"/>
                    <a:pt x="445211" y="106043"/>
                    <a:pt x="450371" y="110687"/>
                  </a:cubicBezTo>
                  <a:cubicBezTo>
                    <a:pt x="478750" y="134937"/>
                    <a:pt x="504033" y="160736"/>
                    <a:pt x="518480" y="196339"/>
                  </a:cubicBezTo>
                  <a:cubicBezTo>
                    <a:pt x="530348" y="224202"/>
                    <a:pt x="545827" y="250516"/>
                    <a:pt x="559758" y="277863"/>
                  </a:cubicBezTo>
                  <a:cubicBezTo>
                    <a:pt x="563370" y="285087"/>
                    <a:pt x="566982" y="287151"/>
                    <a:pt x="574722" y="283539"/>
                  </a:cubicBezTo>
                  <a:cubicBezTo>
                    <a:pt x="629415" y="257740"/>
                    <a:pt x="686173" y="238649"/>
                    <a:pt x="746026" y="227813"/>
                  </a:cubicBezTo>
                  <a:cubicBezTo>
                    <a:pt x="756346" y="225750"/>
                    <a:pt x="757893" y="220074"/>
                    <a:pt x="756346" y="211302"/>
                  </a:cubicBezTo>
                  <a:cubicBezTo>
                    <a:pt x="749638" y="171572"/>
                    <a:pt x="743446" y="131326"/>
                    <a:pt x="737254" y="91596"/>
                  </a:cubicBezTo>
                  <a:cubicBezTo>
                    <a:pt x="732611" y="63217"/>
                    <a:pt x="743446" y="37418"/>
                    <a:pt x="748090" y="10587"/>
                  </a:cubicBezTo>
                  <a:cubicBezTo>
                    <a:pt x="749122" y="5427"/>
                    <a:pt x="753766" y="4395"/>
                    <a:pt x="758410" y="4395"/>
                  </a:cubicBezTo>
                  <a:cubicBezTo>
                    <a:pt x="797624" y="4395"/>
                    <a:pt x="837870" y="-1280"/>
                    <a:pt x="879664" y="267"/>
                  </a:cubicBezTo>
                  <a:close/>
                  <a:moveTo>
                    <a:pt x="861605" y="1409918"/>
                  </a:moveTo>
                  <a:cubicBezTo>
                    <a:pt x="1155712" y="1407338"/>
                    <a:pt x="1392030" y="1176180"/>
                    <a:pt x="1392546" y="879493"/>
                  </a:cubicBezTo>
                  <a:cubicBezTo>
                    <a:pt x="1393062" y="585902"/>
                    <a:pt x="1160356" y="349068"/>
                    <a:pt x="862637" y="348552"/>
                  </a:cubicBezTo>
                  <a:cubicBezTo>
                    <a:pt x="568014" y="348036"/>
                    <a:pt x="331180" y="581774"/>
                    <a:pt x="331180" y="879493"/>
                  </a:cubicBezTo>
                  <a:cubicBezTo>
                    <a:pt x="331180" y="1173600"/>
                    <a:pt x="565950" y="1406822"/>
                    <a:pt x="861605" y="1409918"/>
                  </a:cubicBezTo>
                  <a:close/>
                </a:path>
              </a:pathLst>
            </a:custGeom>
            <a:grpFill/>
            <a:ln w="51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5F068BD-5041-4E65-88AE-B9DC621AE8FB}"/>
                </a:ext>
              </a:extLst>
            </p:cNvPr>
            <p:cNvSpPr/>
            <p:nvPr/>
          </p:nvSpPr>
          <p:spPr>
            <a:xfrm rot="2246763">
              <a:off x="322349" y="3332008"/>
              <a:ext cx="1218879" cy="1218879"/>
            </a:xfrm>
            <a:custGeom>
              <a:avLst/>
              <a:gdLst>
                <a:gd name="connsiteX0" fmla="*/ 894776 w 1774962"/>
                <a:gd name="connsiteY0" fmla="*/ 1775736 h 1774962"/>
                <a:gd name="connsiteX1" fmla="*/ 852466 w 1774962"/>
                <a:gd name="connsiteY1" fmla="*/ 1775736 h 1774962"/>
                <a:gd name="connsiteX2" fmla="*/ 839567 w 1774962"/>
                <a:gd name="connsiteY2" fmla="*/ 1764901 h 1774962"/>
                <a:gd name="connsiteX3" fmla="*/ 819960 w 1774962"/>
                <a:gd name="connsiteY3" fmla="*/ 1666349 h 1774962"/>
                <a:gd name="connsiteX4" fmla="*/ 822024 w 1774962"/>
                <a:gd name="connsiteY4" fmla="*/ 1636938 h 1774962"/>
                <a:gd name="connsiteX5" fmla="*/ 811704 w 1774962"/>
                <a:gd name="connsiteY5" fmla="*/ 1623523 h 1774962"/>
                <a:gd name="connsiteX6" fmla="*/ 695093 w 1774962"/>
                <a:gd name="connsiteY6" fmla="*/ 1601852 h 1774962"/>
                <a:gd name="connsiteX7" fmla="*/ 680130 w 1774962"/>
                <a:gd name="connsiteY7" fmla="*/ 1610623 h 1774962"/>
                <a:gd name="connsiteX8" fmla="*/ 615116 w 1774962"/>
                <a:gd name="connsiteY8" fmla="*/ 1727234 h 1774962"/>
                <a:gd name="connsiteX9" fmla="*/ 603765 w 1774962"/>
                <a:gd name="connsiteY9" fmla="*/ 1730330 h 1774962"/>
                <a:gd name="connsiteX10" fmla="*/ 512953 w 1774962"/>
                <a:gd name="connsiteY10" fmla="*/ 1694212 h 1774962"/>
                <a:gd name="connsiteX11" fmla="*/ 507277 w 1774962"/>
                <a:gd name="connsiteY11" fmla="*/ 1681828 h 1774962"/>
                <a:gd name="connsiteX12" fmla="*/ 527400 w 1774962"/>
                <a:gd name="connsiteY12" fmla="*/ 1583277 h 1774962"/>
                <a:gd name="connsiteX13" fmla="*/ 541848 w 1774962"/>
                <a:gd name="connsiteY13" fmla="*/ 1552834 h 1774962"/>
                <a:gd name="connsiteX14" fmla="*/ 537720 w 1774962"/>
                <a:gd name="connsiteY14" fmla="*/ 1539418 h 1774962"/>
                <a:gd name="connsiteX15" fmla="*/ 435041 w 1774962"/>
                <a:gd name="connsiteY15" fmla="*/ 1472857 h 1774962"/>
                <a:gd name="connsiteX16" fmla="*/ 420593 w 1774962"/>
                <a:gd name="connsiteY16" fmla="*/ 1474921 h 1774962"/>
                <a:gd name="connsiteX17" fmla="*/ 315334 w 1774962"/>
                <a:gd name="connsiteY17" fmla="*/ 1559026 h 1774962"/>
                <a:gd name="connsiteX18" fmla="*/ 302950 w 1774962"/>
                <a:gd name="connsiteY18" fmla="*/ 1557478 h 1774962"/>
                <a:gd name="connsiteX19" fmla="*/ 233809 w 1774962"/>
                <a:gd name="connsiteY19" fmla="*/ 1490401 h 1774962"/>
                <a:gd name="connsiteX20" fmla="*/ 232777 w 1774962"/>
                <a:gd name="connsiteY20" fmla="*/ 1476985 h 1774962"/>
                <a:gd name="connsiteX21" fmla="*/ 289019 w 1774962"/>
                <a:gd name="connsiteY21" fmla="*/ 1393397 h 1774962"/>
                <a:gd name="connsiteX22" fmla="*/ 312754 w 1774962"/>
                <a:gd name="connsiteY22" fmla="*/ 1371726 h 1774962"/>
                <a:gd name="connsiteX23" fmla="*/ 314818 w 1774962"/>
                <a:gd name="connsiteY23" fmla="*/ 1355731 h 1774962"/>
                <a:gd name="connsiteX24" fmla="*/ 246193 w 1774962"/>
                <a:gd name="connsiteY24" fmla="*/ 1255631 h 1774962"/>
                <a:gd name="connsiteX25" fmla="*/ 230713 w 1774962"/>
                <a:gd name="connsiteY25" fmla="*/ 1253051 h 1774962"/>
                <a:gd name="connsiteX26" fmla="*/ 102751 w 1774962"/>
                <a:gd name="connsiteY26" fmla="*/ 1289685 h 1774962"/>
                <a:gd name="connsiteX27" fmla="*/ 91916 w 1774962"/>
                <a:gd name="connsiteY27" fmla="*/ 1282978 h 1774962"/>
                <a:gd name="connsiteX28" fmla="*/ 53733 w 1774962"/>
                <a:gd name="connsiteY28" fmla="*/ 1194230 h 1774962"/>
                <a:gd name="connsiteX29" fmla="*/ 58377 w 1774962"/>
                <a:gd name="connsiteY29" fmla="*/ 1181330 h 1774962"/>
                <a:gd name="connsiteX30" fmla="*/ 142481 w 1774962"/>
                <a:gd name="connsiteY30" fmla="*/ 1125605 h 1774962"/>
                <a:gd name="connsiteX31" fmla="*/ 173956 w 1774962"/>
                <a:gd name="connsiteY31" fmla="*/ 1114253 h 1774962"/>
                <a:gd name="connsiteX32" fmla="*/ 180664 w 1774962"/>
                <a:gd name="connsiteY32" fmla="*/ 1101870 h 1774962"/>
                <a:gd name="connsiteX33" fmla="*/ 154865 w 1774962"/>
                <a:gd name="connsiteY33" fmla="*/ 981131 h 1774962"/>
                <a:gd name="connsiteX34" fmla="*/ 144029 w 1774962"/>
                <a:gd name="connsiteY34" fmla="*/ 973391 h 1774962"/>
                <a:gd name="connsiteX35" fmla="*/ 10391 w 1774962"/>
                <a:gd name="connsiteY35" fmla="*/ 958428 h 1774962"/>
                <a:gd name="connsiteX36" fmla="*/ 2135 w 1774962"/>
                <a:gd name="connsiteY36" fmla="*/ 948624 h 1774962"/>
                <a:gd name="connsiteX37" fmla="*/ 588 w 1774962"/>
                <a:gd name="connsiteY37" fmla="*/ 850589 h 1774962"/>
                <a:gd name="connsiteX38" fmla="*/ 10391 w 1774962"/>
                <a:gd name="connsiteY38" fmla="*/ 840785 h 1774962"/>
                <a:gd name="connsiteX39" fmla="*/ 110491 w 1774962"/>
                <a:gd name="connsiteY39" fmla="*/ 820662 h 1774962"/>
                <a:gd name="connsiteX40" fmla="*/ 139901 w 1774962"/>
                <a:gd name="connsiteY40" fmla="*/ 822726 h 1774962"/>
                <a:gd name="connsiteX41" fmla="*/ 153317 w 1774962"/>
                <a:gd name="connsiteY41" fmla="*/ 811890 h 1774962"/>
                <a:gd name="connsiteX42" fmla="*/ 174472 w 1774962"/>
                <a:gd name="connsiteY42" fmla="*/ 696827 h 1774962"/>
                <a:gd name="connsiteX43" fmla="*/ 164152 w 1774962"/>
                <a:gd name="connsiteY43" fmla="*/ 680316 h 1774962"/>
                <a:gd name="connsiteX44" fmla="*/ 49090 w 1774962"/>
                <a:gd name="connsiteY44" fmla="*/ 615819 h 1774962"/>
                <a:gd name="connsiteX45" fmla="*/ 45993 w 1774962"/>
                <a:gd name="connsiteY45" fmla="*/ 606015 h 1774962"/>
                <a:gd name="connsiteX46" fmla="*/ 82628 w 1774962"/>
                <a:gd name="connsiteY46" fmla="*/ 513655 h 1774962"/>
                <a:gd name="connsiteX47" fmla="*/ 93979 w 1774962"/>
                <a:gd name="connsiteY47" fmla="*/ 508496 h 1774962"/>
                <a:gd name="connsiteX48" fmla="*/ 224006 w 1774962"/>
                <a:gd name="connsiteY48" fmla="*/ 543066 h 1774962"/>
                <a:gd name="connsiteX49" fmla="*/ 236905 w 1774962"/>
                <a:gd name="connsiteY49" fmla="*/ 538938 h 1774962"/>
                <a:gd name="connsiteX50" fmla="*/ 302434 w 1774962"/>
                <a:gd name="connsiteY50" fmla="*/ 437291 h 1774962"/>
                <a:gd name="connsiteX51" fmla="*/ 302950 w 1774962"/>
                <a:gd name="connsiteY51" fmla="*/ 423359 h 1774962"/>
                <a:gd name="connsiteX52" fmla="*/ 238453 w 1774962"/>
                <a:gd name="connsiteY52" fmla="*/ 346995 h 1774962"/>
                <a:gd name="connsiteX53" fmla="*/ 228650 w 1774962"/>
                <a:gd name="connsiteY53" fmla="*/ 333063 h 1774962"/>
                <a:gd name="connsiteX54" fmla="*/ 230713 w 1774962"/>
                <a:gd name="connsiteY54" fmla="*/ 290237 h 1774962"/>
                <a:gd name="connsiteX55" fmla="*/ 283859 w 1774962"/>
                <a:gd name="connsiteY55" fmla="*/ 236060 h 1774962"/>
                <a:gd name="connsiteX56" fmla="*/ 300370 w 1774962"/>
                <a:gd name="connsiteY56" fmla="*/ 234512 h 1774962"/>
                <a:gd name="connsiteX57" fmla="*/ 380863 w 1774962"/>
                <a:gd name="connsiteY57" fmla="*/ 288173 h 1774962"/>
                <a:gd name="connsiteX58" fmla="*/ 403050 w 1774962"/>
                <a:gd name="connsiteY58" fmla="*/ 311392 h 1774962"/>
                <a:gd name="connsiteX59" fmla="*/ 422141 w 1774962"/>
                <a:gd name="connsiteY59" fmla="*/ 313972 h 1774962"/>
                <a:gd name="connsiteX60" fmla="*/ 519661 w 1774962"/>
                <a:gd name="connsiteY60" fmla="*/ 246895 h 1774962"/>
                <a:gd name="connsiteX61" fmla="*/ 524820 w 1774962"/>
                <a:gd name="connsiteY61" fmla="*/ 233996 h 1774962"/>
                <a:gd name="connsiteX62" fmla="*/ 492314 w 1774962"/>
                <a:gd name="connsiteY62" fmla="*/ 127704 h 1774962"/>
                <a:gd name="connsiteX63" fmla="*/ 514501 w 1774962"/>
                <a:gd name="connsiteY63" fmla="*/ 82298 h 1774962"/>
                <a:gd name="connsiteX64" fmla="*/ 578482 w 1774962"/>
                <a:gd name="connsiteY64" fmla="*/ 55468 h 1774962"/>
                <a:gd name="connsiteX65" fmla="*/ 595509 w 1774962"/>
                <a:gd name="connsiteY65" fmla="*/ 60111 h 1774962"/>
                <a:gd name="connsiteX66" fmla="*/ 648655 w 1774962"/>
                <a:gd name="connsiteY66" fmla="*/ 139572 h 1774962"/>
                <a:gd name="connsiteX67" fmla="*/ 661039 w 1774962"/>
                <a:gd name="connsiteY67" fmla="*/ 172078 h 1774962"/>
                <a:gd name="connsiteX68" fmla="*/ 675486 w 1774962"/>
                <a:gd name="connsiteY68" fmla="*/ 180334 h 1774962"/>
                <a:gd name="connsiteX69" fmla="*/ 792613 w 1774962"/>
                <a:gd name="connsiteY69" fmla="*/ 155567 h 1774962"/>
                <a:gd name="connsiteX70" fmla="*/ 801900 w 1774962"/>
                <a:gd name="connsiteY70" fmla="*/ 143700 h 1774962"/>
                <a:gd name="connsiteX71" fmla="*/ 816864 w 1774962"/>
                <a:gd name="connsiteY71" fmla="*/ 11094 h 1774962"/>
                <a:gd name="connsiteX72" fmla="*/ 826151 w 1774962"/>
                <a:gd name="connsiteY72" fmla="*/ 2322 h 1774962"/>
                <a:gd name="connsiteX73" fmla="*/ 925219 w 1774962"/>
                <a:gd name="connsiteY73" fmla="*/ 774 h 1774962"/>
                <a:gd name="connsiteX74" fmla="*/ 934507 w 1774962"/>
                <a:gd name="connsiteY74" fmla="*/ 10062 h 1774962"/>
                <a:gd name="connsiteX75" fmla="*/ 954114 w 1774962"/>
                <a:gd name="connsiteY75" fmla="*/ 111193 h 1774962"/>
                <a:gd name="connsiteX76" fmla="*/ 952050 w 1774962"/>
                <a:gd name="connsiteY76" fmla="*/ 140604 h 1774962"/>
                <a:gd name="connsiteX77" fmla="*/ 962369 w 1774962"/>
                <a:gd name="connsiteY77" fmla="*/ 152987 h 1774962"/>
                <a:gd name="connsiteX78" fmla="*/ 1078980 w 1774962"/>
                <a:gd name="connsiteY78" fmla="*/ 174658 h 1774962"/>
                <a:gd name="connsiteX79" fmla="*/ 1093428 w 1774962"/>
                <a:gd name="connsiteY79" fmla="*/ 168467 h 1774962"/>
                <a:gd name="connsiteX80" fmla="*/ 1147089 w 1774962"/>
                <a:gd name="connsiteY80" fmla="*/ 69399 h 1774962"/>
                <a:gd name="connsiteX81" fmla="*/ 1192495 w 1774962"/>
                <a:gd name="connsiteY81" fmla="*/ 54436 h 1774962"/>
                <a:gd name="connsiteX82" fmla="*/ 1258024 w 1774962"/>
                <a:gd name="connsiteY82" fmla="*/ 81266 h 1774962"/>
                <a:gd name="connsiteX83" fmla="*/ 1267312 w 1774962"/>
                <a:gd name="connsiteY83" fmla="*/ 96746 h 1774962"/>
                <a:gd name="connsiteX84" fmla="*/ 1247705 w 1774962"/>
                <a:gd name="connsiteY84" fmla="*/ 192718 h 1774962"/>
                <a:gd name="connsiteX85" fmla="*/ 1233258 w 1774962"/>
                <a:gd name="connsiteY85" fmla="*/ 224192 h 1774962"/>
                <a:gd name="connsiteX86" fmla="*/ 1237385 w 1774962"/>
                <a:gd name="connsiteY86" fmla="*/ 237608 h 1774962"/>
                <a:gd name="connsiteX87" fmla="*/ 1340065 w 1774962"/>
                <a:gd name="connsiteY87" fmla="*/ 304169 h 1774962"/>
                <a:gd name="connsiteX88" fmla="*/ 1354512 w 1774962"/>
                <a:gd name="connsiteY88" fmla="*/ 302621 h 1774962"/>
                <a:gd name="connsiteX89" fmla="*/ 1459771 w 1774962"/>
                <a:gd name="connsiteY89" fmla="*/ 218516 h 1774962"/>
                <a:gd name="connsiteX90" fmla="*/ 1472155 w 1774962"/>
                <a:gd name="connsiteY90" fmla="*/ 220064 h 1774962"/>
                <a:gd name="connsiteX91" fmla="*/ 1541296 w 1774962"/>
                <a:gd name="connsiteY91" fmla="*/ 287657 h 1774962"/>
                <a:gd name="connsiteX92" fmla="*/ 1542328 w 1774962"/>
                <a:gd name="connsiteY92" fmla="*/ 301073 h 1774962"/>
                <a:gd name="connsiteX93" fmla="*/ 1485570 w 1774962"/>
                <a:gd name="connsiteY93" fmla="*/ 385693 h 1774962"/>
                <a:gd name="connsiteX94" fmla="*/ 1462868 w 1774962"/>
                <a:gd name="connsiteY94" fmla="*/ 406332 h 1774962"/>
                <a:gd name="connsiteX95" fmla="*/ 1460803 w 1774962"/>
                <a:gd name="connsiteY95" fmla="*/ 422327 h 1774962"/>
                <a:gd name="connsiteX96" fmla="*/ 1529428 w 1774962"/>
                <a:gd name="connsiteY96" fmla="*/ 522427 h 1774962"/>
                <a:gd name="connsiteX97" fmla="*/ 1544908 w 1774962"/>
                <a:gd name="connsiteY97" fmla="*/ 525007 h 1774962"/>
                <a:gd name="connsiteX98" fmla="*/ 1672870 w 1774962"/>
                <a:gd name="connsiteY98" fmla="*/ 488373 h 1774962"/>
                <a:gd name="connsiteX99" fmla="*/ 1683706 w 1774962"/>
                <a:gd name="connsiteY99" fmla="*/ 495080 h 1774962"/>
                <a:gd name="connsiteX100" fmla="*/ 1721888 w 1774962"/>
                <a:gd name="connsiteY100" fmla="*/ 583828 h 1774962"/>
                <a:gd name="connsiteX101" fmla="*/ 1717244 w 1774962"/>
                <a:gd name="connsiteY101" fmla="*/ 596728 h 1774962"/>
                <a:gd name="connsiteX102" fmla="*/ 1633140 w 1774962"/>
                <a:gd name="connsiteY102" fmla="*/ 652453 h 1774962"/>
                <a:gd name="connsiteX103" fmla="*/ 1601665 w 1774962"/>
                <a:gd name="connsiteY103" fmla="*/ 663805 h 1774962"/>
                <a:gd name="connsiteX104" fmla="*/ 1594958 w 1774962"/>
                <a:gd name="connsiteY104" fmla="*/ 676188 h 1774962"/>
                <a:gd name="connsiteX105" fmla="*/ 1620241 w 1774962"/>
                <a:gd name="connsiteY105" fmla="*/ 795895 h 1774962"/>
                <a:gd name="connsiteX106" fmla="*/ 1631076 w 1774962"/>
                <a:gd name="connsiteY106" fmla="*/ 804667 h 1774962"/>
                <a:gd name="connsiteX107" fmla="*/ 1763682 w 1774962"/>
                <a:gd name="connsiteY107" fmla="*/ 819630 h 1774962"/>
                <a:gd name="connsiteX108" fmla="*/ 1773486 w 1774962"/>
                <a:gd name="connsiteY108" fmla="*/ 829950 h 1774962"/>
                <a:gd name="connsiteX109" fmla="*/ 1775034 w 1774962"/>
                <a:gd name="connsiteY109" fmla="*/ 927985 h 1774962"/>
                <a:gd name="connsiteX110" fmla="*/ 1766262 w 1774962"/>
                <a:gd name="connsiteY110" fmla="*/ 937273 h 1774962"/>
                <a:gd name="connsiteX111" fmla="*/ 1663583 w 1774962"/>
                <a:gd name="connsiteY111" fmla="*/ 957396 h 1774962"/>
                <a:gd name="connsiteX112" fmla="*/ 1636752 w 1774962"/>
                <a:gd name="connsiteY112" fmla="*/ 955332 h 1774962"/>
                <a:gd name="connsiteX113" fmla="*/ 1622304 w 1774962"/>
                <a:gd name="connsiteY113" fmla="*/ 966684 h 1774962"/>
                <a:gd name="connsiteX114" fmla="*/ 1601149 w 1774962"/>
                <a:gd name="connsiteY114" fmla="*/ 1081746 h 1774962"/>
                <a:gd name="connsiteX115" fmla="*/ 1610437 w 1774962"/>
                <a:gd name="connsiteY115" fmla="*/ 1097742 h 1774962"/>
                <a:gd name="connsiteX116" fmla="*/ 1726016 w 1774962"/>
                <a:gd name="connsiteY116" fmla="*/ 1161723 h 1774962"/>
                <a:gd name="connsiteX117" fmla="*/ 1729112 w 1774962"/>
                <a:gd name="connsiteY117" fmla="*/ 1174107 h 1774962"/>
                <a:gd name="connsiteX118" fmla="*/ 1693509 w 1774962"/>
                <a:gd name="connsiteY118" fmla="*/ 1263887 h 1774962"/>
                <a:gd name="connsiteX119" fmla="*/ 1681126 w 1774962"/>
                <a:gd name="connsiteY119" fmla="*/ 1270078 h 1774962"/>
                <a:gd name="connsiteX120" fmla="*/ 1581542 w 1774962"/>
                <a:gd name="connsiteY120" fmla="*/ 1249955 h 1774962"/>
                <a:gd name="connsiteX121" fmla="*/ 1552647 w 1774962"/>
                <a:gd name="connsiteY121" fmla="*/ 1236024 h 1774962"/>
                <a:gd name="connsiteX122" fmla="*/ 1538200 w 1774962"/>
                <a:gd name="connsiteY122" fmla="*/ 1240152 h 1774962"/>
                <a:gd name="connsiteX123" fmla="*/ 1473187 w 1774962"/>
                <a:gd name="connsiteY123" fmla="*/ 1340767 h 1774962"/>
                <a:gd name="connsiteX124" fmla="*/ 1475251 w 1774962"/>
                <a:gd name="connsiteY124" fmla="*/ 1358310 h 1774962"/>
                <a:gd name="connsiteX125" fmla="*/ 1535104 w 1774962"/>
                <a:gd name="connsiteY125" fmla="*/ 1430031 h 1774962"/>
                <a:gd name="connsiteX126" fmla="*/ 1545424 w 1774962"/>
                <a:gd name="connsiteY126" fmla="*/ 1444995 h 1774962"/>
                <a:gd name="connsiteX127" fmla="*/ 1542844 w 1774962"/>
                <a:gd name="connsiteY127" fmla="*/ 1489885 h 1774962"/>
                <a:gd name="connsiteX128" fmla="*/ 1491246 w 1774962"/>
                <a:gd name="connsiteY128" fmla="*/ 1542514 h 1774962"/>
                <a:gd name="connsiteX129" fmla="*/ 1472155 w 1774962"/>
                <a:gd name="connsiteY129" fmla="*/ 1544062 h 1774962"/>
                <a:gd name="connsiteX130" fmla="*/ 1393726 w 1774962"/>
                <a:gd name="connsiteY130" fmla="*/ 1491948 h 1774962"/>
                <a:gd name="connsiteX131" fmla="*/ 1369992 w 1774962"/>
                <a:gd name="connsiteY131" fmla="*/ 1466666 h 1774962"/>
                <a:gd name="connsiteX132" fmla="*/ 1352964 w 1774962"/>
                <a:gd name="connsiteY132" fmla="*/ 1464602 h 1774962"/>
                <a:gd name="connsiteX133" fmla="*/ 1254413 w 1774962"/>
                <a:gd name="connsiteY133" fmla="*/ 1532711 h 1774962"/>
                <a:gd name="connsiteX134" fmla="*/ 1248737 w 1774962"/>
                <a:gd name="connsiteY134" fmla="*/ 1544578 h 1774962"/>
                <a:gd name="connsiteX135" fmla="*/ 1284339 w 1774962"/>
                <a:gd name="connsiteY135" fmla="*/ 1662221 h 1774962"/>
                <a:gd name="connsiteX136" fmla="*/ 1268860 w 1774962"/>
                <a:gd name="connsiteY136" fmla="*/ 1693180 h 1774962"/>
                <a:gd name="connsiteX137" fmla="*/ 1195591 w 1774962"/>
                <a:gd name="connsiteY137" fmla="*/ 1724654 h 1774962"/>
                <a:gd name="connsiteX138" fmla="*/ 1178564 w 1774962"/>
                <a:gd name="connsiteY138" fmla="*/ 1719495 h 1774962"/>
                <a:gd name="connsiteX139" fmla="*/ 1125418 w 1774962"/>
                <a:gd name="connsiteY139" fmla="*/ 1640034 h 1774962"/>
                <a:gd name="connsiteX140" fmla="*/ 1113035 w 1774962"/>
                <a:gd name="connsiteY140" fmla="*/ 1606496 h 1774962"/>
                <a:gd name="connsiteX141" fmla="*/ 1099619 w 1774962"/>
                <a:gd name="connsiteY141" fmla="*/ 1599272 h 1774962"/>
                <a:gd name="connsiteX142" fmla="*/ 979913 w 1774962"/>
                <a:gd name="connsiteY142" fmla="*/ 1624555 h 1774962"/>
                <a:gd name="connsiteX143" fmla="*/ 972173 w 1774962"/>
                <a:gd name="connsiteY143" fmla="*/ 1634874 h 1774962"/>
                <a:gd name="connsiteX144" fmla="*/ 957726 w 1774962"/>
                <a:gd name="connsiteY144" fmla="*/ 1767481 h 1774962"/>
                <a:gd name="connsiteX145" fmla="*/ 945858 w 1774962"/>
                <a:gd name="connsiteY145" fmla="*/ 1777800 h 1774962"/>
                <a:gd name="connsiteX146" fmla="*/ 895808 w 1774962"/>
                <a:gd name="connsiteY146" fmla="*/ 1779864 h 1774962"/>
                <a:gd name="connsiteX147" fmla="*/ 894776 w 1774962"/>
                <a:gd name="connsiteY147" fmla="*/ 1775736 h 1774962"/>
                <a:gd name="connsiteX148" fmla="*/ 890648 w 1774962"/>
                <a:gd name="connsiteY148" fmla="*/ 1454798 h 1774962"/>
                <a:gd name="connsiteX149" fmla="*/ 1452548 w 1774962"/>
                <a:gd name="connsiteY149" fmla="*/ 884127 h 1774962"/>
                <a:gd name="connsiteX150" fmla="*/ 881361 w 1774962"/>
                <a:gd name="connsiteY150" fmla="*/ 322228 h 1774962"/>
                <a:gd name="connsiteX151" fmla="*/ 320494 w 1774962"/>
                <a:gd name="connsiteY151" fmla="*/ 893415 h 1774962"/>
                <a:gd name="connsiteX152" fmla="*/ 890648 w 1774962"/>
                <a:gd name="connsiteY152" fmla="*/ 1454798 h 1774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</a:cxnLst>
              <a:rect l="l" t="t" r="r" b="b"/>
              <a:pathLst>
                <a:path w="1774962" h="1774962">
                  <a:moveTo>
                    <a:pt x="894776" y="1775736"/>
                  </a:moveTo>
                  <a:cubicBezTo>
                    <a:pt x="880845" y="1775736"/>
                    <a:pt x="866397" y="1775736"/>
                    <a:pt x="852466" y="1775736"/>
                  </a:cubicBezTo>
                  <a:cubicBezTo>
                    <a:pt x="844726" y="1775736"/>
                    <a:pt x="840599" y="1772640"/>
                    <a:pt x="839567" y="1764901"/>
                  </a:cubicBezTo>
                  <a:cubicBezTo>
                    <a:pt x="833375" y="1731878"/>
                    <a:pt x="826151" y="1699371"/>
                    <a:pt x="819960" y="1666349"/>
                  </a:cubicBezTo>
                  <a:cubicBezTo>
                    <a:pt x="817896" y="1656545"/>
                    <a:pt x="820992" y="1646742"/>
                    <a:pt x="822024" y="1636938"/>
                  </a:cubicBezTo>
                  <a:cubicBezTo>
                    <a:pt x="823056" y="1628682"/>
                    <a:pt x="820992" y="1624555"/>
                    <a:pt x="811704" y="1623523"/>
                  </a:cubicBezTo>
                  <a:cubicBezTo>
                    <a:pt x="772490" y="1619395"/>
                    <a:pt x="733275" y="1612171"/>
                    <a:pt x="695093" y="1601852"/>
                  </a:cubicBezTo>
                  <a:cubicBezTo>
                    <a:pt x="686837" y="1599788"/>
                    <a:pt x="682194" y="1602368"/>
                    <a:pt x="680130" y="1610623"/>
                  </a:cubicBezTo>
                  <a:cubicBezTo>
                    <a:pt x="669294" y="1655513"/>
                    <a:pt x="636788" y="1688020"/>
                    <a:pt x="615116" y="1727234"/>
                  </a:cubicBezTo>
                  <a:cubicBezTo>
                    <a:pt x="612537" y="1731878"/>
                    <a:pt x="608409" y="1731878"/>
                    <a:pt x="603765" y="1730330"/>
                  </a:cubicBezTo>
                  <a:cubicBezTo>
                    <a:pt x="572807" y="1720011"/>
                    <a:pt x="542364" y="1707627"/>
                    <a:pt x="512953" y="1694212"/>
                  </a:cubicBezTo>
                  <a:cubicBezTo>
                    <a:pt x="506761" y="1691632"/>
                    <a:pt x="506245" y="1686988"/>
                    <a:pt x="507277" y="1681828"/>
                  </a:cubicBezTo>
                  <a:cubicBezTo>
                    <a:pt x="513985" y="1648806"/>
                    <a:pt x="519661" y="1615783"/>
                    <a:pt x="527400" y="1583277"/>
                  </a:cubicBezTo>
                  <a:cubicBezTo>
                    <a:pt x="529980" y="1572441"/>
                    <a:pt x="536172" y="1562637"/>
                    <a:pt x="541848" y="1552834"/>
                  </a:cubicBezTo>
                  <a:cubicBezTo>
                    <a:pt x="545460" y="1546642"/>
                    <a:pt x="544428" y="1543030"/>
                    <a:pt x="537720" y="1539418"/>
                  </a:cubicBezTo>
                  <a:cubicBezTo>
                    <a:pt x="501601" y="1520327"/>
                    <a:pt x="467547" y="1497624"/>
                    <a:pt x="435041" y="1472857"/>
                  </a:cubicBezTo>
                  <a:cubicBezTo>
                    <a:pt x="429365" y="1468214"/>
                    <a:pt x="425237" y="1468214"/>
                    <a:pt x="420593" y="1474921"/>
                  </a:cubicBezTo>
                  <a:cubicBezTo>
                    <a:pt x="393762" y="1512588"/>
                    <a:pt x="350936" y="1531163"/>
                    <a:pt x="315334" y="1559026"/>
                  </a:cubicBezTo>
                  <a:cubicBezTo>
                    <a:pt x="310690" y="1562637"/>
                    <a:pt x="307078" y="1561090"/>
                    <a:pt x="302950" y="1557478"/>
                  </a:cubicBezTo>
                  <a:cubicBezTo>
                    <a:pt x="278699" y="1536323"/>
                    <a:pt x="255996" y="1513104"/>
                    <a:pt x="233809" y="1490401"/>
                  </a:cubicBezTo>
                  <a:cubicBezTo>
                    <a:pt x="229682" y="1485757"/>
                    <a:pt x="229165" y="1482145"/>
                    <a:pt x="232777" y="1476985"/>
                  </a:cubicBezTo>
                  <a:cubicBezTo>
                    <a:pt x="251352" y="1449122"/>
                    <a:pt x="269928" y="1421260"/>
                    <a:pt x="289019" y="1393397"/>
                  </a:cubicBezTo>
                  <a:cubicBezTo>
                    <a:pt x="295210" y="1384625"/>
                    <a:pt x="304498" y="1378949"/>
                    <a:pt x="312754" y="1371726"/>
                  </a:cubicBezTo>
                  <a:cubicBezTo>
                    <a:pt x="318946" y="1366566"/>
                    <a:pt x="319978" y="1361922"/>
                    <a:pt x="314818" y="1355731"/>
                  </a:cubicBezTo>
                  <a:cubicBezTo>
                    <a:pt x="289535" y="1324256"/>
                    <a:pt x="266316" y="1291233"/>
                    <a:pt x="246193" y="1255631"/>
                  </a:cubicBezTo>
                  <a:cubicBezTo>
                    <a:pt x="241549" y="1247375"/>
                    <a:pt x="236905" y="1248923"/>
                    <a:pt x="230713" y="1253051"/>
                  </a:cubicBezTo>
                  <a:cubicBezTo>
                    <a:pt x="191499" y="1277302"/>
                    <a:pt x="145577" y="1277818"/>
                    <a:pt x="102751" y="1289685"/>
                  </a:cubicBezTo>
                  <a:cubicBezTo>
                    <a:pt x="97075" y="1291233"/>
                    <a:pt x="93979" y="1288137"/>
                    <a:pt x="91916" y="1282978"/>
                  </a:cubicBezTo>
                  <a:cubicBezTo>
                    <a:pt x="77984" y="1254083"/>
                    <a:pt x="65085" y="1224156"/>
                    <a:pt x="53733" y="1194230"/>
                  </a:cubicBezTo>
                  <a:cubicBezTo>
                    <a:pt x="51669" y="1188038"/>
                    <a:pt x="53217" y="1184426"/>
                    <a:pt x="58377" y="1181330"/>
                  </a:cubicBezTo>
                  <a:cubicBezTo>
                    <a:pt x="86240" y="1162755"/>
                    <a:pt x="113587" y="1143664"/>
                    <a:pt x="142481" y="1125605"/>
                  </a:cubicBezTo>
                  <a:cubicBezTo>
                    <a:pt x="151769" y="1119929"/>
                    <a:pt x="163120" y="1117349"/>
                    <a:pt x="173956" y="1114253"/>
                  </a:cubicBezTo>
                  <a:cubicBezTo>
                    <a:pt x="180664" y="1112189"/>
                    <a:pt x="182727" y="1109093"/>
                    <a:pt x="180664" y="1101870"/>
                  </a:cubicBezTo>
                  <a:cubicBezTo>
                    <a:pt x="168796" y="1062139"/>
                    <a:pt x="160541" y="1021893"/>
                    <a:pt x="154865" y="981131"/>
                  </a:cubicBezTo>
                  <a:cubicBezTo>
                    <a:pt x="153833" y="974423"/>
                    <a:pt x="150737" y="972359"/>
                    <a:pt x="144029" y="973391"/>
                  </a:cubicBezTo>
                  <a:cubicBezTo>
                    <a:pt x="98107" y="981131"/>
                    <a:pt x="54765" y="963588"/>
                    <a:pt x="10391" y="958428"/>
                  </a:cubicBezTo>
                  <a:cubicBezTo>
                    <a:pt x="4715" y="957912"/>
                    <a:pt x="2652" y="954300"/>
                    <a:pt x="2135" y="948624"/>
                  </a:cubicBezTo>
                  <a:cubicBezTo>
                    <a:pt x="-960" y="916118"/>
                    <a:pt x="72" y="883611"/>
                    <a:pt x="588" y="850589"/>
                  </a:cubicBezTo>
                  <a:cubicBezTo>
                    <a:pt x="588" y="844397"/>
                    <a:pt x="4715" y="841817"/>
                    <a:pt x="10391" y="840785"/>
                  </a:cubicBezTo>
                  <a:cubicBezTo>
                    <a:pt x="43930" y="834077"/>
                    <a:pt x="76952" y="827370"/>
                    <a:pt x="110491" y="820662"/>
                  </a:cubicBezTo>
                  <a:cubicBezTo>
                    <a:pt x="120294" y="818598"/>
                    <a:pt x="130098" y="821694"/>
                    <a:pt x="139901" y="822726"/>
                  </a:cubicBezTo>
                  <a:cubicBezTo>
                    <a:pt x="148157" y="823758"/>
                    <a:pt x="152285" y="820662"/>
                    <a:pt x="153317" y="811890"/>
                  </a:cubicBezTo>
                  <a:cubicBezTo>
                    <a:pt x="157445" y="773192"/>
                    <a:pt x="164668" y="734494"/>
                    <a:pt x="174472" y="696827"/>
                  </a:cubicBezTo>
                  <a:cubicBezTo>
                    <a:pt x="177052" y="687024"/>
                    <a:pt x="173440" y="682380"/>
                    <a:pt x="164152" y="680316"/>
                  </a:cubicBezTo>
                  <a:cubicBezTo>
                    <a:pt x="120294" y="668965"/>
                    <a:pt x="87272" y="636974"/>
                    <a:pt x="49090" y="615819"/>
                  </a:cubicBezTo>
                  <a:cubicBezTo>
                    <a:pt x="44961" y="613755"/>
                    <a:pt x="44961" y="610143"/>
                    <a:pt x="45993" y="606015"/>
                  </a:cubicBezTo>
                  <a:cubicBezTo>
                    <a:pt x="56313" y="574541"/>
                    <a:pt x="69212" y="544098"/>
                    <a:pt x="82628" y="513655"/>
                  </a:cubicBezTo>
                  <a:cubicBezTo>
                    <a:pt x="85208" y="507980"/>
                    <a:pt x="89336" y="506948"/>
                    <a:pt x="93979" y="508496"/>
                  </a:cubicBezTo>
                  <a:cubicBezTo>
                    <a:pt x="137322" y="519847"/>
                    <a:pt x="183760" y="518815"/>
                    <a:pt x="224006" y="543066"/>
                  </a:cubicBezTo>
                  <a:cubicBezTo>
                    <a:pt x="230713" y="547194"/>
                    <a:pt x="233809" y="544614"/>
                    <a:pt x="236905" y="538938"/>
                  </a:cubicBezTo>
                  <a:cubicBezTo>
                    <a:pt x="255996" y="503336"/>
                    <a:pt x="278183" y="469281"/>
                    <a:pt x="302434" y="437291"/>
                  </a:cubicBezTo>
                  <a:cubicBezTo>
                    <a:pt x="305530" y="433163"/>
                    <a:pt x="310690" y="428519"/>
                    <a:pt x="302950" y="423359"/>
                  </a:cubicBezTo>
                  <a:cubicBezTo>
                    <a:pt x="273540" y="404268"/>
                    <a:pt x="258576" y="373826"/>
                    <a:pt x="238453" y="346995"/>
                  </a:cubicBezTo>
                  <a:cubicBezTo>
                    <a:pt x="234841" y="342351"/>
                    <a:pt x="232262" y="337707"/>
                    <a:pt x="228650" y="333063"/>
                  </a:cubicBezTo>
                  <a:cubicBezTo>
                    <a:pt x="212654" y="310360"/>
                    <a:pt x="212138" y="309844"/>
                    <a:pt x="230713" y="290237"/>
                  </a:cubicBezTo>
                  <a:cubicBezTo>
                    <a:pt x="248257" y="271662"/>
                    <a:pt x="266316" y="254119"/>
                    <a:pt x="283859" y="236060"/>
                  </a:cubicBezTo>
                  <a:cubicBezTo>
                    <a:pt x="289535" y="230384"/>
                    <a:pt x="294179" y="229868"/>
                    <a:pt x="300370" y="234512"/>
                  </a:cubicBezTo>
                  <a:cubicBezTo>
                    <a:pt x="327201" y="252571"/>
                    <a:pt x="354032" y="270114"/>
                    <a:pt x="380863" y="288173"/>
                  </a:cubicBezTo>
                  <a:cubicBezTo>
                    <a:pt x="390150" y="294365"/>
                    <a:pt x="396342" y="303137"/>
                    <a:pt x="403050" y="311392"/>
                  </a:cubicBezTo>
                  <a:cubicBezTo>
                    <a:pt x="408726" y="319132"/>
                    <a:pt x="413885" y="320680"/>
                    <a:pt x="422141" y="313972"/>
                  </a:cubicBezTo>
                  <a:cubicBezTo>
                    <a:pt x="452584" y="288689"/>
                    <a:pt x="485606" y="266502"/>
                    <a:pt x="519661" y="246895"/>
                  </a:cubicBezTo>
                  <a:cubicBezTo>
                    <a:pt x="524820" y="243799"/>
                    <a:pt x="529464" y="240703"/>
                    <a:pt x="524820" y="233996"/>
                  </a:cubicBezTo>
                  <a:cubicBezTo>
                    <a:pt x="502633" y="202005"/>
                    <a:pt x="501086" y="163823"/>
                    <a:pt x="492314" y="127704"/>
                  </a:cubicBezTo>
                  <a:cubicBezTo>
                    <a:pt x="484574" y="96230"/>
                    <a:pt x="485606" y="96746"/>
                    <a:pt x="514501" y="82298"/>
                  </a:cubicBezTo>
                  <a:cubicBezTo>
                    <a:pt x="535140" y="71979"/>
                    <a:pt x="557327" y="64239"/>
                    <a:pt x="578482" y="55468"/>
                  </a:cubicBezTo>
                  <a:cubicBezTo>
                    <a:pt x="586222" y="52372"/>
                    <a:pt x="590866" y="52888"/>
                    <a:pt x="595509" y="60111"/>
                  </a:cubicBezTo>
                  <a:cubicBezTo>
                    <a:pt x="613053" y="86942"/>
                    <a:pt x="630596" y="113257"/>
                    <a:pt x="648655" y="139572"/>
                  </a:cubicBezTo>
                  <a:cubicBezTo>
                    <a:pt x="655363" y="149375"/>
                    <a:pt x="657427" y="160727"/>
                    <a:pt x="661039" y="172078"/>
                  </a:cubicBezTo>
                  <a:cubicBezTo>
                    <a:pt x="663618" y="180334"/>
                    <a:pt x="667230" y="182914"/>
                    <a:pt x="675486" y="180334"/>
                  </a:cubicBezTo>
                  <a:cubicBezTo>
                    <a:pt x="713668" y="168983"/>
                    <a:pt x="752882" y="160727"/>
                    <a:pt x="792613" y="155567"/>
                  </a:cubicBezTo>
                  <a:cubicBezTo>
                    <a:pt x="800352" y="154535"/>
                    <a:pt x="802932" y="151439"/>
                    <a:pt x="801900" y="143700"/>
                  </a:cubicBezTo>
                  <a:cubicBezTo>
                    <a:pt x="795193" y="98294"/>
                    <a:pt x="811704" y="55468"/>
                    <a:pt x="816864" y="11094"/>
                  </a:cubicBezTo>
                  <a:cubicBezTo>
                    <a:pt x="817380" y="5934"/>
                    <a:pt x="820476" y="2838"/>
                    <a:pt x="826151" y="2322"/>
                  </a:cubicBezTo>
                  <a:cubicBezTo>
                    <a:pt x="859174" y="-1290"/>
                    <a:pt x="892196" y="258"/>
                    <a:pt x="925219" y="774"/>
                  </a:cubicBezTo>
                  <a:cubicBezTo>
                    <a:pt x="930895" y="774"/>
                    <a:pt x="933475" y="4902"/>
                    <a:pt x="934507" y="10062"/>
                  </a:cubicBezTo>
                  <a:cubicBezTo>
                    <a:pt x="941214" y="43600"/>
                    <a:pt x="948438" y="77139"/>
                    <a:pt x="954114" y="111193"/>
                  </a:cubicBezTo>
                  <a:cubicBezTo>
                    <a:pt x="955662" y="120481"/>
                    <a:pt x="953082" y="130800"/>
                    <a:pt x="952050" y="140604"/>
                  </a:cubicBezTo>
                  <a:cubicBezTo>
                    <a:pt x="951018" y="148343"/>
                    <a:pt x="954114" y="151955"/>
                    <a:pt x="962369" y="152987"/>
                  </a:cubicBezTo>
                  <a:cubicBezTo>
                    <a:pt x="1001584" y="157115"/>
                    <a:pt x="1040798" y="164339"/>
                    <a:pt x="1078980" y="174658"/>
                  </a:cubicBezTo>
                  <a:cubicBezTo>
                    <a:pt x="1085172" y="176206"/>
                    <a:pt x="1091364" y="176722"/>
                    <a:pt x="1093428" y="168467"/>
                  </a:cubicBezTo>
                  <a:cubicBezTo>
                    <a:pt x="1101683" y="130284"/>
                    <a:pt x="1127482" y="101390"/>
                    <a:pt x="1147089" y="69399"/>
                  </a:cubicBezTo>
                  <a:cubicBezTo>
                    <a:pt x="1162569" y="43084"/>
                    <a:pt x="1163601" y="43600"/>
                    <a:pt x="1192495" y="54436"/>
                  </a:cubicBezTo>
                  <a:cubicBezTo>
                    <a:pt x="1214682" y="62691"/>
                    <a:pt x="1236353" y="71979"/>
                    <a:pt x="1258024" y="81266"/>
                  </a:cubicBezTo>
                  <a:cubicBezTo>
                    <a:pt x="1265764" y="84362"/>
                    <a:pt x="1268860" y="88490"/>
                    <a:pt x="1267312" y="96746"/>
                  </a:cubicBezTo>
                  <a:cubicBezTo>
                    <a:pt x="1260604" y="128736"/>
                    <a:pt x="1254928" y="160727"/>
                    <a:pt x="1247705" y="192718"/>
                  </a:cubicBezTo>
                  <a:cubicBezTo>
                    <a:pt x="1245125" y="203553"/>
                    <a:pt x="1238417" y="213873"/>
                    <a:pt x="1233258" y="224192"/>
                  </a:cubicBezTo>
                  <a:cubicBezTo>
                    <a:pt x="1229646" y="230384"/>
                    <a:pt x="1230678" y="233996"/>
                    <a:pt x="1237385" y="237608"/>
                  </a:cubicBezTo>
                  <a:cubicBezTo>
                    <a:pt x="1273504" y="256699"/>
                    <a:pt x="1307558" y="279402"/>
                    <a:pt x="1340065" y="304169"/>
                  </a:cubicBezTo>
                  <a:cubicBezTo>
                    <a:pt x="1345741" y="308812"/>
                    <a:pt x="1349868" y="309328"/>
                    <a:pt x="1354512" y="302621"/>
                  </a:cubicBezTo>
                  <a:cubicBezTo>
                    <a:pt x="1381343" y="264954"/>
                    <a:pt x="1424169" y="246379"/>
                    <a:pt x="1459771" y="218516"/>
                  </a:cubicBezTo>
                  <a:cubicBezTo>
                    <a:pt x="1464415" y="214905"/>
                    <a:pt x="1468027" y="216452"/>
                    <a:pt x="1472155" y="220064"/>
                  </a:cubicBezTo>
                  <a:cubicBezTo>
                    <a:pt x="1496406" y="241219"/>
                    <a:pt x="1519109" y="264438"/>
                    <a:pt x="1541296" y="287657"/>
                  </a:cubicBezTo>
                  <a:cubicBezTo>
                    <a:pt x="1545424" y="292301"/>
                    <a:pt x="1545940" y="296429"/>
                    <a:pt x="1542328" y="301073"/>
                  </a:cubicBezTo>
                  <a:cubicBezTo>
                    <a:pt x="1523237" y="329452"/>
                    <a:pt x="1505177" y="357830"/>
                    <a:pt x="1485570" y="385693"/>
                  </a:cubicBezTo>
                  <a:cubicBezTo>
                    <a:pt x="1479895" y="393949"/>
                    <a:pt x="1470607" y="400140"/>
                    <a:pt x="1462868" y="406332"/>
                  </a:cubicBezTo>
                  <a:cubicBezTo>
                    <a:pt x="1456676" y="411492"/>
                    <a:pt x="1455644" y="416136"/>
                    <a:pt x="1460803" y="422327"/>
                  </a:cubicBezTo>
                  <a:cubicBezTo>
                    <a:pt x="1486086" y="453802"/>
                    <a:pt x="1509305" y="487341"/>
                    <a:pt x="1529428" y="522427"/>
                  </a:cubicBezTo>
                  <a:cubicBezTo>
                    <a:pt x="1534072" y="530167"/>
                    <a:pt x="1538716" y="529135"/>
                    <a:pt x="1544908" y="525007"/>
                  </a:cubicBezTo>
                  <a:cubicBezTo>
                    <a:pt x="1584122" y="500756"/>
                    <a:pt x="1630044" y="500240"/>
                    <a:pt x="1672870" y="488373"/>
                  </a:cubicBezTo>
                  <a:cubicBezTo>
                    <a:pt x="1678546" y="486825"/>
                    <a:pt x="1681642" y="489921"/>
                    <a:pt x="1683706" y="495080"/>
                  </a:cubicBezTo>
                  <a:cubicBezTo>
                    <a:pt x="1697637" y="523975"/>
                    <a:pt x="1710537" y="553902"/>
                    <a:pt x="1721888" y="583828"/>
                  </a:cubicBezTo>
                  <a:cubicBezTo>
                    <a:pt x="1723952" y="590020"/>
                    <a:pt x="1722404" y="593632"/>
                    <a:pt x="1717244" y="596728"/>
                  </a:cubicBezTo>
                  <a:cubicBezTo>
                    <a:pt x="1689381" y="615303"/>
                    <a:pt x="1662035" y="634394"/>
                    <a:pt x="1633140" y="652453"/>
                  </a:cubicBezTo>
                  <a:cubicBezTo>
                    <a:pt x="1623852" y="658129"/>
                    <a:pt x="1612501" y="660709"/>
                    <a:pt x="1601665" y="663805"/>
                  </a:cubicBezTo>
                  <a:cubicBezTo>
                    <a:pt x="1594958" y="665869"/>
                    <a:pt x="1592894" y="668965"/>
                    <a:pt x="1594958" y="676188"/>
                  </a:cubicBezTo>
                  <a:cubicBezTo>
                    <a:pt x="1606309" y="715403"/>
                    <a:pt x="1615081" y="755133"/>
                    <a:pt x="1620241" y="795895"/>
                  </a:cubicBezTo>
                  <a:cubicBezTo>
                    <a:pt x="1621272" y="803119"/>
                    <a:pt x="1624368" y="805699"/>
                    <a:pt x="1631076" y="804667"/>
                  </a:cubicBezTo>
                  <a:cubicBezTo>
                    <a:pt x="1676482" y="797959"/>
                    <a:pt x="1719308" y="814470"/>
                    <a:pt x="1763682" y="819630"/>
                  </a:cubicBezTo>
                  <a:cubicBezTo>
                    <a:pt x="1769874" y="820146"/>
                    <a:pt x="1772454" y="823758"/>
                    <a:pt x="1773486" y="829950"/>
                  </a:cubicBezTo>
                  <a:cubicBezTo>
                    <a:pt x="1776582" y="862456"/>
                    <a:pt x="1775034" y="895479"/>
                    <a:pt x="1775034" y="927985"/>
                  </a:cubicBezTo>
                  <a:cubicBezTo>
                    <a:pt x="1775034" y="933661"/>
                    <a:pt x="1771422" y="936241"/>
                    <a:pt x="1766262" y="937273"/>
                  </a:cubicBezTo>
                  <a:cubicBezTo>
                    <a:pt x="1732207" y="943981"/>
                    <a:pt x="1698153" y="951204"/>
                    <a:pt x="1663583" y="957396"/>
                  </a:cubicBezTo>
                  <a:cubicBezTo>
                    <a:pt x="1654811" y="958944"/>
                    <a:pt x="1645523" y="956364"/>
                    <a:pt x="1636752" y="955332"/>
                  </a:cubicBezTo>
                  <a:cubicBezTo>
                    <a:pt x="1627980" y="954300"/>
                    <a:pt x="1623336" y="956364"/>
                    <a:pt x="1622304" y="966684"/>
                  </a:cubicBezTo>
                  <a:cubicBezTo>
                    <a:pt x="1618177" y="1005382"/>
                    <a:pt x="1610953" y="1044080"/>
                    <a:pt x="1601149" y="1081746"/>
                  </a:cubicBezTo>
                  <a:cubicBezTo>
                    <a:pt x="1598569" y="1091034"/>
                    <a:pt x="1601665" y="1095678"/>
                    <a:pt x="1610437" y="1097742"/>
                  </a:cubicBezTo>
                  <a:cubicBezTo>
                    <a:pt x="1654811" y="1108577"/>
                    <a:pt x="1687318" y="1140568"/>
                    <a:pt x="1726016" y="1161723"/>
                  </a:cubicBezTo>
                  <a:cubicBezTo>
                    <a:pt x="1731176" y="1164819"/>
                    <a:pt x="1731176" y="1168947"/>
                    <a:pt x="1729112" y="1174107"/>
                  </a:cubicBezTo>
                  <a:cubicBezTo>
                    <a:pt x="1718792" y="1204549"/>
                    <a:pt x="1706409" y="1234476"/>
                    <a:pt x="1693509" y="1263887"/>
                  </a:cubicBezTo>
                  <a:cubicBezTo>
                    <a:pt x="1690929" y="1269562"/>
                    <a:pt x="1687318" y="1271626"/>
                    <a:pt x="1681126" y="1270078"/>
                  </a:cubicBezTo>
                  <a:cubicBezTo>
                    <a:pt x="1648103" y="1263371"/>
                    <a:pt x="1614565" y="1257179"/>
                    <a:pt x="1581542" y="1249955"/>
                  </a:cubicBezTo>
                  <a:cubicBezTo>
                    <a:pt x="1571223" y="1247375"/>
                    <a:pt x="1561935" y="1241184"/>
                    <a:pt x="1552647" y="1236024"/>
                  </a:cubicBezTo>
                  <a:cubicBezTo>
                    <a:pt x="1545940" y="1232412"/>
                    <a:pt x="1542328" y="1232928"/>
                    <a:pt x="1538200" y="1240152"/>
                  </a:cubicBezTo>
                  <a:cubicBezTo>
                    <a:pt x="1519109" y="1275238"/>
                    <a:pt x="1497954" y="1309293"/>
                    <a:pt x="1473187" y="1340767"/>
                  </a:cubicBezTo>
                  <a:cubicBezTo>
                    <a:pt x="1467511" y="1347991"/>
                    <a:pt x="1466479" y="1352635"/>
                    <a:pt x="1475251" y="1358310"/>
                  </a:cubicBezTo>
                  <a:cubicBezTo>
                    <a:pt x="1502598" y="1375854"/>
                    <a:pt x="1516013" y="1405264"/>
                    <a:pt x="1535104" y="1430031"/>
                  </a:cubicBezTo>
                  <a:cubicBezTo>
                    <a:pt x="1538716" y="1434675"/>
                    <a:pt x="1541812" y="1439835"/>
                    <a:pt x="1545424" y="1444995"/>
                  </a:cubicBezTo>
                  <a:cubicBezTo>
                    <a:pt x="1566063" y="1474921"/>
                    <a:pt x="1565031" y="1464602"/>
                    <a:pt x="1542844" y="1489885"/>
                  </a:cubicBezTo>
                  <a:cubicBezTo>
                    <a:pt x="1526849" y="1508460"/>
                    <a:pt x="1508273" y="1524971"/>
                    <a:pt x="1491246" y="1542514"/>
                  </a:cubicBezTo>
                  <a:cubicBezTo>
                    <a:pt x="1485054" y="1549222"/>
                    <a:pt x="1479895" y="1549222"/>
                    <a:pt x="1472155" y="1544062"/>
                  </a:cubicBezTo>
                  <a:cubicBezTo>
                    <a:pt x="1446356" y="1526519"/>
                    <a:pt x="1420041" y="1508976"/>
                    <a:pt x="1393726" y="1491948"/>
                  </a:cubicBezTo>
                  <a:cubicBezTo>
                    <a:pt x="1383923" y="1485241"/>
                    <a:pt x="1377215" y="1475437"/>
                    <a:pt x="1369992" y="1466666"/>
                  </a:cubicBezTo>
                  <a:cubicBezTo>
                    <a:pt x="1364316" y="1459958"/>
                    <a:pt x="1359672" y="1458926"/>
                    <a:pt x="1352964" y="1464602"/>
                  </a:cubicBezTo>
                  <a:cubicBezTo>
                    <a:pt x="1322005" y="1489885"/>
                    <a:pt x="1288983" y="1512588"/>
                    <a:pt x="1254413" y="1532711"/>
                  </a:cubicBezTo>
                  <a:cubicBezTo>
                    <a:pt x="1249769" y="1535291"/>
                    <a:pt x="1244609" y="1537871"/>
                    <a:pt x="1248737" y="1544578"/>
                  </a:cubicBezTo>
                  <a:cubicBezTo>
                    <a:pt x="1272472" y="1580181"/>
                    <a:pt x="1274020" y="1622491"/>
                    <a:pt x="1284339" y="1662221"/>
                  </a:cubicBezTo>
                  <a:cubicBezTo>
                    <a:pt x="1290531" y="1685440"/>
                    <a:pt x="1292079" y="1682344"/>
                    <a:pt x="1268860" y="1693180"/>
                  </a:cubicBezTo>
                  <a:cubicBezTo>
                    <a:pt x="1244609" y="1704531"/>
                    <a:pt x="1219842" y="1714335"/>
                    <a:pt x="1195591" y="1724654"/>
                  </a:cubicBezTo>
                  <a:cubicBezTo>
                    <a:pt x="1187851" y="1727750"/>
                    <a:pt x="1183208" y="1726718"/>
                    <a:pt x="1178564" y="1719495"/>
                  </a:cubicBezTo>
                  <a:cubicBezTo>
                    <a:pt x="1161021" y="1692664"/>
                    <a:pt x="1142962" y="1666865"/>
                    <a:pt x="1125418" y="1640034"/>
                  </a:cubicBezTo>
                  <a:cubicBezTo>
                    <a:pt x="1118711" y="1629715"/>
                    <a:pt x="1116131" y="1617847"/>
                    <a:pt x="1113035" y="1606496"/>
                  </a:cubicBezTo>
                  <a:cubicBezTo>
                    <a:pt x="1110971" y="1599272"/>
                    <a:pt x="1107359" y="1597208"/>
                    <a:pt x="1099619" y="1599272"/>
                  </a:cubicBezTo>
                  <a:cubicBezTo>
                    <a:pt x="1060405" y="1611139"/>
                    <a:pt x="1020675" y="1619395"/>
                    <a:pt x="979913" y="1624555"/>
                  </a:cubicBezTo>
                  <a:cubicBezTo>
                    <a:pt x="973205" y="1625587"/>
                    <a:pt x="971141" y="1628682"/>
                    <a:pt x="972173" y="1634874"/>
                  </a:cubicBezTo>
                  <a:cubicBezTo>
                    <a:pt x="979397" y="1680280"/>
                    <a:pt x="962885" y="1723106"/>
                    <a:pt x="957726" y="1767481"/>
                  </a:cubicBezTo>
                  <a:cubicBezTo>
                    <a:pt x="956694" y="1775220"/>
                    <a:pt x="952566" y="1777800"/>
                    <a:pt x="945858" y="1777800"/>
                  </a:cubicBezTo>
                  <a:cubicBezTo>
                    <a:pt x="929347" y="1778316"/>
                    <a:pt x="912320" y="1779348"/>
                    <a:pt x="895808" y="1779864"/>
                  </a:cubicBezTo>
                  <a:cubicBezTo>
                    <a:pt x="894776" y="1776252"/>
                    <a:pt x="894776" y="1776252"/>
                    <a:pt x="894776" y="1775736"/>
                  </a:cubicBezTo>
                  <a:close/>
                  <a:moveTo>
                    <a:pt x="890648" y="1454798"/>
                  </a:moveTo>
                  <a:cubicBezTo>
                    <a:pt x="1199203" y="1449638"/>
                    <a:pt x="1454096" y="1207645"/>
                    <a:pt x="1452548" y="884127"/>
                  </a:cubicBezTo>
                  <a:cubicBezTo>
                    <a:pt x="1451516" y="575057"/>
                    <a:pt x="1205395" y="320164"/>
                    <a:pt x="881361" y="322228"/>
                  </a:cubicBezTo>
                  <a:cubicBezTo>
                    <a:pt x="571775" y="324292"/>
                    <a:pt x="318429" y="570929"/>
                    <a:pt x="320494" y="893415"/>
                  </a:cubicBezTo>
                  <a:cubicBezTo>
                    <a:pt x="323073" y="1202485"/>
                    <a:pt x="569195" y="1452218"/>
                    <a:pt x="890648" y="1454798"/>
                  </a:cubicBezTo>
                  <a:close/>
                </a:path>
              </a:pathLst>
            </a:custGeom>
            <a:grpFill/>
            <a:ln w="51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DBF296DB-D0C8-471D-91FE-F4B26B99C108}"/>
                </a:ext>
              </a:extLst>
            </p:cNvPr>
            <p:cNvSpPr/>
            <p:nvPr/>
          </p:nvSpPr>
          <p:spPr>
            <a:xfrm>
              <a:off x="6408280" y="6041992"/>
              <a:ext cx="494433" cy="491686"/>
            </a:xfrm>
            <a:custGeom>
              <a:avLst/>
              <a:gdLst>
                <a:gd name="connsiteX0" fmla="*/ 959201 w 1857518"/>
                <a:gd name="connsiteY0" fmla="*/ 1852264 h 1847198"/>
                <a:gd name="connsiteX1" fmla="*/ 910700 w 1857518"/>
                <a:gd name="connsiteY1" fmla="*/ 1852264 h 1847198"/>
                <a:gd name="connsiteX2" fmla="*/ 891608 w 1857518"/>
                <a:gd name="connsiteY2" fmla="*/ 1830593 h 1847198"/>
                <a:gd name="connsiteX3" fmla="*/ 838463 w 1857518"/>
                <a:gd name="connsiteY3" fmla="*/ 1669608 h 1847198"/>
                <a:gd name="connsiteX4" fmla="*/ 813180 w 1857518"/>
                <a:gd name="connsiteY4" fmla="*/ 1646905 h 1847198"/>
                <a:gd name="connsiteX5" fmla="*/ 730624 w 1857518"/>
                <a:gd name="connsiteY5" fmla="*/ 1628330 h 1847198"/>
                <a:gd name="connsiteX6" fmla="*/ 693990 w 1857518"/>
                <a:gd name="connsiteY6" fmla="*/ 1639165 h 1847198"/>
                <a:gd name="connsiteX7" fmla="*/ 573251 w 1857518"/>
                <a:gd name="connsiteY7" fmla="*/ 1761452 h 1847198"/>
                <a:gd name="connsiteX8" fmla="*/ 542292 w 1857518"/>
                <a:gd name="connsiteY8" fmla="*/ 1766612 h 1847198"/>
                <a:gd name="connsiteX9" fmla="*/ 412782 w 1857518"/>
                <a:gd name="connsiteY9" fmla="*/ 1693859 h 1847198"/>
                <a:gd name="connsiteX10" fmla="*/ 398334 w 1857518"/>
                <a:gd name="connsiteY10" fmla="*/ 1660836 h 1847198"/>
                <a:gd name="connsiteX11" fmla="*/ 440644 w 1857518"/>
                <a:gd name="connsiteY11" fmla="*/ 1494176 h 1847198"/>
                <a:gd name="connsiteX12" fmla="*/ 432904 w 1857518"/>
                <a:gd name="connsiteY12" fmla="*/ 1462185 h 1847198"/>
                <a:gd name="connsiteX13" fmla="*/ 370471 w 1857518"/>
                <a:gd name="connsiteY13" fmla="*/ 1397172 h 1847198"/>
                <a:gd name="connsiteX14" fmla="*/ 340545 w 1857518"/>
                <a:gd name="connsiteY14" fmla="*/ 1388400 h 1847198"/>
                <a:gd name="connsiteX15" fmla="*/ 310618 w 1857518"/>
                <a:gd name="connsiteY15" fmla="*/ 1395108 h 1847198"/>
                <a:gd name="connsiteX16" fmla="*/ 170273 w 1857518"/>
                <a:gd name="connsiteY16" fmla="*/ 1426583 h 1847198"/>
                <a:gd name="connsiteX17" fmla="*/ 141377 w 1857518"/>
                <a:gd name="connsiteY17" fmla="*/ 1413683 h 1847198"/>
                <a:gd name="connsiteX18" fmla="*/ 70689 w 1857518"/>
                <a:gd name="connsiteY18" fmla="*/ 1276949 h 1847198"/>
                <a:gd name="connsiteX19" fmla="*/ 75848 w 1857518"/>
                <a:gd name="connsiteY19" fmla="*/ 1247539 h 1847198"/>
                <a:gd name="connsiteX20" fmla="*/ 206391 w 1857518"/>
                <a:gd name="connsiteY20" fmla="*/ 1126284 h 1847198"/>
                <a:gd name="connsiteX21" fmla="*/ 216710 w 1857518"/>
                <a:gd name="connsiteY21" fmla="*/ 1096873 h 1847198"/>
                <a:gd name="connsiteX22" fmla="*/ 201231 w 1857518"/>
                <a:gd name="connsiteY22" fmla="*/ 1012769 h 1847198"/>
                <a:gd name="connsiteX23" fmla="*/ 181108 w 1857518"/>
                <a:gd name="connsiteY23" fmla="*/ 989034 h 1847198"/>
                <a:gd name="connsiteX24" fmla="*/ 67077 w 1857518"/>
                <a:gd name="connsiteY24" fmla="*/ 947240 h 1847198"/>
                <a:gd name="connsiteX25" fmla="*/ 0 w 1857518"/>
                <a:gd name="connsiteY25" fmla="*/ 921957 h 1847198"/>
                <a:gd name="connsiteX26" fmla="*/ 0 w 1857518"/>
                <a:gd name="connsiteY26" fmla="*/ 893062 h 1847198"/>
                <a:gd name="connsiteX27" fmla="*/ 4643 w 1857518"/>
                <a:gd name="connsiteY27" fmla="*/ 842496 h 1847198"/>
                <a:gd name="connsiteX28" fmla="*/ 17543 w 1857518"/>
                <a:gd name="connsiteY28" fmla="*/ 743945 h 1847198"/>
                <a:gd name="connsiteX29" fmla="*/ 38182 w 1857518"/>
                <a:gd name="connsiteY29" fmla="*/ 723305 h 1847198"/>
                <a:gd name="connsiteX30" fmla="*/ 214131 w 1857518"/>
                <a:gd name="connsiteY30" fmla="*/ 691315 h 1847198"/>
                <a:gd name="connsiteX31" fmla="*/ 239929 w 1857518"/>
                <a:gd name="connsiteY31" fmla="*/ 671192 h 1847198"/>
                <a:gd name="connsiteX32" fmla="*/ 266760 w 1857518"/>
                <a:gd name="connsiteY32" fmla="*/ 606695 h 1847198"/>
                <a:gd name="connsiteX33" fmla="*/ 262116 w 1857518"/>
                <a:gd name="connsiteY33" fmla="*/ 570060 h 1847198"/>
                <a:gd name="connsiteX34" fmla="*/ 159437 w 1857518"/>
                <a:gd name="connsiteY34" fmla="*/ 434874 h 1847198"/>
                <a:gd name="connsiteX35" fmla="*/ 159953 w 1857518"/>
                <a:gd name="connsiteY35" fmla="*/ 401336 h 1847198"/>
                <a:gd name="connsiteX36" fmla="*/ 259536 w 1857518"/>
                <a:gd name="connsiteY36" fmla="*/ 278017 h 1847198"/>
                <a:gd name="connsiteX37" fmla="*/ 294623 w 1857518"/>
                <a:gd name="connsiteY37" fmla="*/ 268729 h 1847198"/>
                <a:gd name="connsiteX38" fmla="*/ 457672 w 1857518"/>
                <a:gd name="connsiteY38" fmla="*/ 336322 h 1847198"/>
                <a:gd name="connsiteX39" fmla="*/ 489146 w 1857518"/>
                <a:gd name="connsiteY39" fmla="*/ 333743 h 1847198"/>
                <a:gd name="connsiteX40" fmla="*/ 540744 w 1857518"/>
                <a:gd name="connsiteY40" fmla="*/ 298140 h 1847198"/>
                <a:gd name="connsiteX41" fmla="*/ 553127 w 1857518"/>
                <a:gd name="connsiteY41" fmla="*/ 273889 h 1847198"/>
                <a:gd name="connsiteX42" fmla="*/ 552096 w 1857518"/>
                <a:gd name="connsiteY42" fmla="*/ 255830 h 1847198"/>
                <a:gd name="connsiteX43" fmla="*/ 545904 w 1857518"/>
                <a:gd name="connsiteY43" fmla="*/ 175854 h 1847198"/>
                <a:gd name="connsiteX44" fmla="*/ 539712 w 1857518"/>
                <a:gd name="connsiteY44" fmla="*/ 95877 h 1847198"/>
                <a:gd name="connsiteX45" fmla="*/ 556739 w 1857518"/>
                <a:gd name="connsiteY45" fmla="*/ 69562 h 1847198"/>
                <a:gd name="connsiteX46" fmla="*/ 716176 w 1857518"/>
                <a:gd name="connsiteY46" fmla="*/ 15901 h 1847198"/>
                <a:gd name="connsiteX47" fmla="*/ 726496 w 1857518"/>
                <a:gd name="connsiteY47" fmla="*/ 14353 h 1847198"/>
                <a:gd name="connsiteX48" fmla="*/ 748167 w 1857518"/>
                <a:gd name="connsiteY48" fmla="*/ 28800 h 1847198"/>
                <a:gd name="connsiteX49" fmla="*/ 847750 w 1857518"/>
                <a:gd name="connsiteY49" fmla="*/ 172758 h 1847198"/>
                <a:gd name="connsiteX50" fmla="*/ 878709 w 1857518"/>
                <a:gd name="connsiteY50" fmla="*/ 187721 h 1847198"/>
                <a:gd name="connsiteX51" fmla="*/ 931855 w 1857518"/>
                <a:gd name="connsiteY51" fmla="*/ 185657 h 1847198"/>
                <a:gd name="connsiteX52" fmla="*/ 948366 w 1857518"/>
                <a:gd name="connsiteY52" fmla="*/ 177401 h 1847198"/>
                <a:gd name="connsiteX53" fmla="*/ 954042 w 1857518"/>
                <a:gd name="connsiteY53" fmla="*/ 169146 h 1847198"/>
                <a:gd name="connsiteX54" fmla="*/ 979840 w 1857518"/>
                <a:gd name="connsiteY54" fmla="*/ 121676 h 1847198"/>
                <a:gd name="connsiteX55" fmla="*/ 1037630 w 1857518"/>
                <a:gd name="connsiteY55" fmla="*/ 13837 h 1847198"/>
                <a:gd name="connsiteX56" fmla="*/ 1066525 w 1857518"/>
                <a:gd name="connsiteY56" fmla="*/ 937 h 1847198"/>
                <a:gd name="connsiteX57" fmla="*/ 1233702 w 1857518"/>
                <a:gd name="connsiteY57" fmla="*/ 40667 h 1847198"/>
                <a:gd name="connsiteX58" fmla="*/ 1253309 w 1857518"/>
                <a:gd name="connsiteY58" fmla="*/ 64918 h 1847198"/>
                <a:gd name="connsiteX59" fmla="*/ 1254341 w 1857518"/>
                <a:gd name="connsiteY59" fmla="*/ 85042 h 1847198"/>
                <a:gd name="connsiteX60" fmla="*/ 1258468 w 1857518"/>
                <a:gd name="connsiteY60" fmla="*/ 209908 h 1847198"/>
                <a:gd name="connsiteX61" fmla="*/ 1260016 w 1857518"/>
                <a:gd name="connsiteY61" fmla="*/ 244478 h 1847198"/>
                <a:gd name="connsiteX62" fmla="*/ 1276012 w 1857518"/>
                <a:gd name="connsiteY62" fmla="*/ 270277 h 1847198"/>
                <a:gd name="connsiteX63" fmla="*/ 1313678 w 1857518"/>
                <a:gd name="connsiteY63" fmla="*/ 291948 h 1847198"/>
                <a:gd name="connsiteX64" fmla="*/ 1349797 w 1857518"/>
                <a:gd name="connsiteY64" fmla="*/ 291948 h 1847198"/>
                <a:gd name="connsiteX65" fmla="*/ 1502526 w 1857518"/>
                <a:gd name="connsiteY65" fmla="*/ 206812 h 1847198"/>
                <a:gd name="connsiteX66" fmla="*/ 1535033 w 1857518"/>
                <a:gd name="connsiteY66" fmla="*/ 211456 h 1847198"/>
                <a:gd name="connsiteX67" fmla="*/ 1653707 w 1857518"/>
                <a:gd name="connsiteY67" fmla="*/ 332711 h 1847198"/>
                <a:gd name="connsiteX68" fmla="*/ 1657835 w 1857518"/>
                <a:gd name="connsiteY68" fmla="*/ 366249 h 1847198"/>
                <a:gd name="connsiteX69" fmla="*/ 1569087 w 1857518"/>
                <a:gd name="connsiteY69" fmla="*/ 515883 h 1847198"/>
                <a:gd name="connsiteX70" fmla="*/ 1568571 w 1857518"/>
                <a:gd name="connsiteY70" fmla="*/ 550453 h 1847198"/>
                <a:gd name="connsiteX71" fmla="*/ 1591274 w 1857518"/>
                <a:gd name="connsiteY71" fmla="*/ 592247 h 1847198"/>
                <a:gd name="connsiteX72" fmla="*/ 1617589 w 1857518"/>
                <a:gd name="connsiteY72" fmla="*/ 608759 h 1847198"/>
                <a:gd name="connsiteX73" fmla="*/ 1676926 w 1857518"/>
                <a:gd name="connsiteY73" fmla="*/ 612886 h 1847198"/>
                <a:gd name="connsiteX74" fmla="*/ 1797665 w 1857518"/>
                <a:gd name="connsiteY74" fmla="*/ 620626 h 1847198"/>
                <a:gd name="connsiteX75" fmla="*/ 1820884 w 1857518"/>
                <a:gd name="connsiteY75" fmla="*/ 640233 h 1847198"/>
                <a:gd name="connsiteX76" fmla="*/ 1857518 w 1857518"/>
                <a:gd name="connsiteY76" fmla="*/ 808442 h 1847198"/>
                <a:gd name="connsiteX77" fmla="*/ 1851842 w 1857518"/>
                <a:gd name="connsiteY77" fmla="*/ 829081 h 1847198"/>
                <a:gd name="connsiteX78" fmla="*/ 1841523 w 1857518"/>
                <a:gd name="connsiteY78" fmla="*/ 836305 h 1847198"/>
                <a:gd name="connsiteX79" fmla="*/ 1686214 w 1857518"/>
                <a:gd name="connsiteY79" fmla="*/ 913701 h 1847198"/>
                <a:gd name="connsiteX80" fmla="*/ 1668670 w 1857518"/>
                <a:gd name="connsiteY80" fmla="*/ 940016 h 1847198"/>
                <a:gd name="connsiteX81" fmla="*/ 1665059 w 1857518"/>
                <a:gd name="connsiteY81" fmla="*/ 998322 h 1847198"/>
                <a:gd name="connsiteX82" fmla="*/ 1678474 w 1857518"/>
                <a:gd name="connsiteY82" fmla="*/ 1026184 h 1847198"/>
                <a:gd name="connsiteX83" fmla="*/ 1821916 w 1857518"/>
                <a:gd name="connsiteY83" fmla="*/ 1131960 h 1847198"/>
                <a:gd name="connsiteX84" fmla="*/ 1831720 w 1857518"/>
                <a:gd name="connsiteY84" fmla="*/ 1163950 h 1847198"/>
                <a:gd name="connsiteX85" fmla="*/ 1805404 w 1857518"/>
                <a:gd name="connsiteY85" fmla="*/ 1236703 h 1847198"/>
                <a:gd name="connsiteX86" fmla="*/ 1775478 w 1857518"/>
                <a:gd name="connsiteY86" fmla="*/ 1317711 h 1847198"/>
                <a:gd name="connsiteX87" fmla="*/ 1750195 w 1857518"/>
                <a:gd name="connsiteY87" fmla="*/ 1334223 h 1847198"/>
                <a:gd name="connsiteX88" fmla="*/ 1685698 w 1857518"/>
                <a:gd name="connsiteY88" fmla="*/ 1327515 h 1847198"/>
                <a:gd name="connsiteX89" fmla="*/ 1574247 w 1857518"/>
                <a:gd name="connsiteY89" fmla="*/ 1315648 h 1847198"/>
                <a:gd name="connsiteX90" fmla="*/ 1545868 w 1857518"/>
                <a:gd name="connsiteY90" fmla="*/ 1328547 h 1847198"/>
                <a:gd name="connsiteX91" fmla="*/ 1505622 w 1857518"/>
                <a:gd name="connsiteY91" fmla="*/ 1383241 h 1847198"/>
                <a:gd name="connsiteX92" fmla="*/ 1500978 w 1857518"/>
                <a:gd name="connsiteY92" fmla="*/ 1417811 h 1847198"/>
                <a:gd name="connsiteX93" fmla="*/ 1563411 w 1857518"/>
                <a:gd name="connsiteY93" fmla="*/ 1581892 h 1847198"/>
                <a:gd name="connsiteX94" fmla="*/ 1554124 w 1857518"/>
                <a:gd name="connsiteY94" fmla="*/ 1615430 h 1847198"/>
                <a:gd name="connsiteX95" fmla="*/ 1430805 w 1857518"/>
                <a:gd name="connsiteY95" fmla="*/ 1708822 h 1847198"/>
                <a:gd name="connsiteX96" fmla="*/ 1397266 w 1857518"/>
                <a:gd name="connsiteY96" fmla="*/ 1708306 h 1847198"/>
                <a:gd name="connsiteX97" fmla="*/ 1263628 w 1857518"/>
                <a:gd name="connsiteY97" fmla="*/ 1600467 h 1847198"/>
                <a:gd name="connsiteX98" fmla="*/ 1232154 w 1857518"/>
                <a:gd name="connsiteY98" fmla="*/ 1594275 h 1847198"/>
                <a:gd name="connsiteX99" fmla="*/ 1153725 w 1857518"/>
                <a:gd name="connsiteY99" fmla="*/ 1624202 h 1847198"/>
                <a:gd name="connsiteX100" fmla="*/ 1134634 w 1857518"/>
                <a:gd name="connsiteY100" fmla="*/ 1646905 h 1847198"/>
                <a:gd name="connsiteX101" fmla="*/ 1123798 w 1857518"/>
                <a:gd name="connsiteY101" fmla="*/ 1698503 h 1847198"/>
                <a:gd name="connsiteX102" fmla="*/ 1097999 w 1857518"/>
                <a:gd name="connsiteY102" fmla="*/ 1821821 h 1847198"/>
                <a:gd name="connsiteX103" fmla="*/ 1076329 w 1857518"/>
                <a:gd name="connsiteY103" fmla="*/ 1842460 h 1847198"/>
                <a:gd name="connsiteX104" fmla="*/ 994288 w 1857518"/>
                <a:gd name="connsiteY104" fmla="*/ 1851232 h 1847198"/>
                <a:gd name="connsiteX105" fmla="*/ 959201 w 1857518"/>
                <a:gd name="connsiteY105" fmla="*/ 1852264 h 1847198"/>
                <a:gd name="connsiteX106" fmla="*/ 928759 w 1857518"/>
                <a:gd name="connsiteY106" fmla="*/ 382245 h 1847198"/>
                <a:gd name="connsiteX107" fmla="*/ 386983 w 1857518"/>
                <a:gd name="connsiteY107" fmla="*/ 921957 h 1847198"/>
                <a:gd name="connsiteX108" fmla="*/ 926695 w 1857518"/>
                <a:gd name="connsiteY108" fmla="*/ 1465797 h 1847198"/>
                <a:gd name="connsiteX109" fmla="*/ 1470535 w 1857518"/>
                <a:gd name="connsiteY109" fmla="*/ 924537 h 1847198"/>
                <a:gd name="connsiteX110" fmla="*/ 928759 w 1857518"/>
                <a:gd name="connsiteY110" fmla="*/ 382245 h 1847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1857518" h="1847198">
                  <a:moveTo>
                    <a:pt x="959201" y="1852264"/>
                  </a:moveTo>
                  <a:cubicBezTo>
                    <a:pt x="943206" y="1852264"/>
                    <a:pt x="927211" y="1852264"/>
                    <a:pt x="910700" y="1852264"/>
                  </a:cubicBezTo>
                  <a:cubicBezTo>
                    <a:pt x="900380" y="1848652"/>
                    <a:pt x="894704" y="1840913"/>
                    <a:pt x="891608" y="1830593"/>
                  </a:cubicBezTo>
                  <a:cubicBezTo>
                    <a:pt x="874065" y="1776931"/>
                    <a:pt x="856006" y="1723270"/>
                    <a:pt x="838463" y="1669608"/>
                  </a:cubicBezTo>
                  <a:cubicBezTo>
                    <a:pt x="834335" y="1657224"/>
                    <a:pt x="826080" y="1649485"/>
                    <a:pt x="813180" y="1646905"/>
                  </a:cubicBezTo>
                  <a:cubicBezTo>
                    <a:pt x="785833" y="1640713"/>
                    <a:pt x="757970" y="1635037"/>
                    <a:pt x="730624" y="1628330"/>
                  </a:cubicBezTo>
                  <a:cubicBezTo>
                    <a:pt x="716176" y="1624718"/>
                    <a:pt x="704309" y="1628330"/>
                    <a:pt x="693990" y="1639165"/>
                  </a:cubicBezTo>
                  <a:cubicBezTo>
                    <a:pt x="654259" y="1680443"/>
                    <a:pt x="613497" y="1720690"/>
                    <a:pt x="573251" y="1761452"/>
                  </a:cubicBezTo>
                  <a:cubicBezTo>
                    <a:pt x="563963" y="1770739"/>
                    <a:pt x="553127" y="1772804"/>
                    <a:pt x="542292" y="1766612"/>
                  </a:cubicBezTo>
                  <a:cubicBezTo>
                    <a:pt x="498950" y="1742361"/>
                    <a:pt x="456123" y="1718110"/>
                    <a:pt x="412782" y="1693859"/>
                  </a:cubicBezTo>
                  <a:cubicBezTo>
                    <a:pt x="397818" y="1685603"/>
                    <a:pt x="394206" y="1676832"/>
                    <a:pt x="398334" y="1660836"/>
                  </a:cubicBezTo>
                  <a:cubicBezTo>
                    <a:pt x="412265" y="1605111"/>
                    <a:pt x="426713" y="1549901"/>
                    <a:pt x="440644" y="1494176"/>
                  </a:cubicBezTo>
                  <a:cubicBezTo>
                    <a:pt x="443741" y="1482308"/>
                    <a:pt x="441676" y="1471473"/>
                    <a:pt x="432904" y="1462185"/>
                  </a:cubicBezTo>
                  <a:cubicBezTo>
                    <a:pt x="412265" y="1440514"/>
                    <a:pt x="391110" y="1418843"/>
                    <a:pt x="370471" y="1397172"/>
                  </a:cubicBezTo>
                  <a:cubicBezTo>
                    <a:pt x="362216" y="1388400"/>
                    <a:pt x="351896" y="1385820"/>
                    <a:pt x="340545" y="1388400"/>
                  </a:cubicBezTo>
                  <a:cubicBezTo>
                    <a:pt x="330226" y="1390464"/>
                    <a:pt x="320422" y="1393044"/>
                    <a:pt x="310618" y="1395108"/>
                  </a:cubicBezTo>
                  <a:cubicBezTo>
                    <a:pt x="263664" y="1405428"/>
                    <a:pt x="217226" y="1416263"/>
                    <a:pt x="170273" y="1426583"/>
                  </a:cubicBezTo>
                  <a:cubicBezTo>
                    <a:pt x="157373" y="1429679"/>
                    <a:pt x="147054" y="1425035"/>
                    <a:pt x="141377" y="1413683"/>
                  </a:cubicBezTo>
                  <a:cubicBezTo>
                    <a:pt x="117642" y="1368277"/>
                    <a:pt x="94423" y="1322355"/>
                    <a:pt x="70689" y="1276949"/>
                  </a:cubicBezTo>
                  <a:cubicBezTo>
                    <a:pt x="65529" y="1266630"/>
                    <a:pt x="67593" y="1255278"/>
                    <a:pt x="75848" y="1247539"/>
                  </a:cubicBezTo>
                  <a:cubicBezTo>
                    <a:pt x="119191" y="1207292"/>
                    <a:pt x="163049" y="1166530"/>
                    <a:pt x="206391" y="1126284"/>
                  </a:cubicBezTo>
                  <a:cubicBezTo>
                    <a:pt x="215162" y="1118544"/>
                    <a:pt x="218258" y="1108225"/>
                    <a:pt x="216710" y="1096873"/>
                  </a:cubicBezTo>
                  <a:cubicBezTo>
                    <a:pt x="211551" y="1069010"/>
                    <a:pt x="206391" y="1040631"/>
                    <a:pt x="201231" y="1012769"/>
                  </a:cubicBezTo>
                  <a:cubicBezTo>
                    <a:pt x="199167" y="1000901"/>
                    <a:pt x="192459" y="993162"/>
                    <a:pt x="181108" y="989034"/>
                  </a:cubicBezTo>
                  <a:cubicBezTo>
                    <a:pt x="142925" y="975103"/>
                    <a:pt x="104743" y="961171"/>
                    <a:pt x="67077" y="947240"/>
                  </a:cubicBezTo>
                  <a:cubicBezTo>
                    <a:pt x="44890" y="938984"/>
                    <a:pt x="22187" y="931760"/>
                    <a:pt x="0" y="921957"/>
                  </a:cubicBezTo>
                  <a:cubicBezTo>
                    <a:pt x="0" y="912153"/>
                    <a:pt x="0" y="902866"/>
                    <a:pt x="0" y="893062"/>
                  </a:cubicBezTo>
                  <a:cubicBezTo>
                    <a:pt x="1548" y="876035"/>
                    <a:pt x="3096" y="859524"/>
                    <a:pt x="4643" y="842496"/>
                  </a:cubicBezTo>
                  <a:cubicBezTo>
                    <a:pt x="7740" y="809474"/>
                    <a:pt x="12383" y="776451"/>
                    <a:pt x="17543" y="743945"/>
                  </a:cubicBezTo>
                  <a:cubicBezTo>
                    <a:pt x="19091" y="733109"/>
                    <a:pt x="26831" y="725369"/>
                    <a:pt x="38182" y="723305"/>
                  </a:cubicBezTo>
                  <a:cubicBezTo>
                    <a:pt x="97003" y="712470"/>
                    <a:pt x="155309" y="702150"/>
                    <a:pt x="214131" y="691315"/>
                  </a:cubicBezTo>
                  <a:cubicBezTo>
                    <a:pt x="226514" y="689251"/>
                    <a:pt x="234770" y="682543"/>
                    <a:pt x="239929" y="671192"/>
                  </a:cubicBezTo>
                  <a:cubicBezTo>
                    <a:pt x="248701" y="649521"/>
                    <a:pt x="257989" y="627850"/>
                    <a:pt x="266760" y="606695"/>
                  </a:cubicBezTo>
                  <a:cubicBezTo>
                    <a:pt x="272436" y="593279"/>
                    <a:pt x="270888" y="581928"/>
                    <a:pt x="262116" y="570060"/>
                  </a:cubicBezTo>
                  <a:cubicBezTo>
                    <a:pt x="227546" y="525170"/>
                    <a:pt x="193492" y="479764"/>
                    <a:pt x="159437" y="434874"/>
                  </a:cubicBezTo>
                  <a:cubicBezTo>
                    <a:pt x="150665" y="423007"/>
                    <a:pt x="150665" y="412687"/>
                    <a:pt x="159953" y="401336"/>
                  </a:cubicBezTo>
                  <a:cubicBezTo>
                    <a:pt x="192975" y="360058"/>
                    <a:pt x="225998" y="319295"/>
                    <a:pt x="259536" y="278017"/>
                  </a:cubicBezTo>
                  <a:cubicBezTo>
                    <a:pt x="270372" y="265118"/>
                    <a:pt x="279144" y="262538"/>
                    <a:pt x="294623" y="268729"/>
                  </a:cubicBezTo>
                  <a:cubicBezTo>
                    <a:pt x="348801" y="291433"/>
                    <a:pt x="402978" y="313620"/>
                    <a:pt x="457672" y="336322"/>
                  </a:cubicBezTo>
                  <a:cubicBezTo>
                    <a:pt x="468507" y="340966"/>
                    <a:pt x="479342" y="340450"/>
                    <a:pt x="489146" y="333743"/>
                  </a:cubicBezTo>
                  <a:cubicBezTo>
                    <a:pt x="506690" y="321875"/>
                    <a:pt x="523717" y="310008"/>
                    <a:pt x="540744" y="298140"/>
                  </a:cubicBezTo>
                  <a:cubicBezTo>
                    <a:pt x="548999" y="292464"/>
                    <a:pt x="553127" y="284209"/>
                    <a:pt x="553127" y="273889"/>
                  </a:cubicBezTo>
                  <a:cubicBezTo>
                    <a:pt x="553127" y="267697"/>
                    <a:pt x="552612" y="261506"/>
                    <a:pt x="552096" y="255830"/>
                  </a:cubicBezTo>
                  <a:cubicBezTo>
                    <a:pt x="550032" y="228999"/>
                    <a:pt x="547968" y="202684"/>
                    <a:pt x="545904" y="175854"/>
                  </a:cubicBezTo>
                  <a:cubicBezTo>
                    <a:pt x="543840" y="149023"/>
                    <a:pt x="541776" y="122708"/>
                    <a:pt x="539712" y="95877"/>
                  </a:cubicBezTo>
                  <a:cubicBezTo>
                    <a:pt x="538680" y="83493"/>
                    <a:pt x="544872" y="73690"/>
                    <a:pt x="556739" y="69562"/>
                  </a:cubicBezTo>
                  <a:cubicBezTo>
                    <a:pt x="609885" y="51503"/>
                    <a:pt x="663031" y="33444"/>
                    <a:pt x="716176" y="15901"/>
                  </a:cubicBezTo>
                  <a:cubicBezTo>
                    <a:pt x="719788" y="14869"/>
                    <a:pt x="722884" y="14353"/>
                    <a:pt x="726496" y="14353"/>
                  </a:cubicBezTo>
                  <a:cubicBezTo>
                    <a:pt x="736299" y="14869"/>
                    <a:pt x="742491" y="21060"/>
                    <a:pt x="748167" y="28800"/>
                  </a:cubicBezTo>
                  <a:cubicBezTo>
                    <a:pt x="781189" y="76786"/>
                    <a:pt x="814728" y="124772"/>
                    <a:pt x="847750" y="172758"/>
                  </a:cubicBezTo>
                  <a:cubicBezTo>
                    <a:pt x="855490" y="183593"/>
                    <a:pt x="865810" y="188753"/>
                    <a:pt x="878709" y="187721"/>
                  </a:cubicBezTo>
                  <a:cubicBezTo>
                    <a:pt x="896252" y="186173"/>
                    <a:pt x="914312" y="185657"/>
                    <a:pt x="931855" y="185657"/>
                  </a:cubicBezTo>
                  <a:cubicBezTo>
                    <a:pt x="939079" y="185657"/>
                    <a:pt x="944239" y="183077"/>
                    <a:pt x="948366" y="177401"/>
                  </a:cubicBezTo>
                  <a:cubicBezTo>
                    <a:pt x="950430" y="174822"/>
                    <a:pt x="952494" y="171726"/>
                    <a:pt x="954042" y="169146"/>
                  </a:cubicBezTo>
                  <a:cubicBezTo>
                    <a:pt x="962814" y="153150"/>
                    <a:pt x="971069" y="137155"/>
                    <a:pt x="979840" y="121676"/>
                  </a:cubicBezTo>
                  <a:cubicBezTo>
                    <a:pt x="998932" y="85558"/>
                    <a:pt x="1018539" y="49955"/>
                    <a:pt x="1037630" y="13837"/>
                  </a:cubicBezTo>
                  <a:cubicBezTo>
                    <a:pt x="1043822" y="2485"/>
                    <a:pt x="1053626" y="-2159"/>
                    <a:pt x="1066525" y="937"/>
                  </a:cubicBezTo>
                  <a:cubicBezTo>
                    <a:pt x="1122251" y="14353"/>
                    <a:pt x="1177976" y="27252"/>
                    <a:pt x="1233702" y="40667"/>
                  </a:cubicBezTo>
                  <a:cubicBezTo>
                    <a:pt x="1245569" y="43763"/>
                    <a:pt x="1252793" y="52535"/>
                    <a:pt x="1253309" y="64918"/>
                  </a:cubicBezTo>
                  <a:cubicBezTo>
                    <a:pt x="1253825" y="71626"/>
                    <a:pt x="1253825" y="78334"/>
                    <a:pt x="1254341" y="85042"/>
                  </a:cubicBezTo>
                  <a:cubicBezTo>
                    <a:pt x="1255888" y="126836"/>
                    <a:pt x="1256921" y="168630"/>
                    <a:pt x="1258468" y="209908"/>
                  </a:cubicBezTo>
                  <a:cubicBezTo>
                    <a:pt x="1258985" y="221260"/>
                    <a:pt x="1259501" y="233127"/>
                    <a:pt x="1260016" y="244478"/>
                  </a:cubicBezTo>
                  <a:cubicBezTo>
                    <a:pt x="1260532" y="255830"/>
                    <a:pt x="1266208" y="264602"/>
                    <a:pt x="1276012" y="270277"/>
                  </a:cubicBezTo>
                  <a:cubicBezTo>
                    <a:pt x="1288395" y="277501"/>
                    <a:pt x="1301295" y="284209"/>
                    <a:pt x="1313678" y="291948"/>
                  </a:cubicBezTo>
                  <a:cubicBezTo>
                    <a:pt x="1326062" y="299172"/>
                    <a:pt x="1337413" y="298656"/>
                    <a:pt x="1349797" y="291948"/>
                  </a:cubicBezTo>
                  <a:cubicBezTo>
                    <a:pt x="1400879" y="263570"/>
                    <a:pt x="1451444" y="235191"/>
                    <a:pt x="1502526" y="206812"/>
                  </a:cubicBezTo>
                  <a:cubicBezTo>
                    <a:pt x="1514394" y="200105"/>
                    <a:pt x="1525745" y="202168"/>
                    <a:pt x="1535033" y="211456"/>
                  </a:cubicBezTo>
                  <a:cubicBezTo>
                    <a:pt x="1574763" y="251702"/>
                    <a:pt x="1613977" y="292464"/>
                    <a:pt x="1653707" y="332711"/>
                  </a:cubicBezTo>
                  <a:cubicBezTo>
                    <a:pt x="1664027" y="343546"/>
                    <a:pt x="1665575" y="353350"/>
                    <a:pt x="1657835" y="366249"/>
                  </a:cubicBezTo>
                  <a:cubicBezTo>
                    <a:pt x="1628424" y="416299"/>
                    <a:pt x="1598497" y="465833"/>
                    <a:pt x="1569087" y="515883"/>
                  </a:cubicBezTo>
                  <a:cubicBezTo>
                    <a:pt x="1562379" y="527234"/>
                    <a:pt x="1561863" y="539102"/>
                    <a:pt x="1568571" y="550453"/>
                  </a:cubicBezTo>
                  <a:cubicBezTo>
                    <a:pt x="1576311" y="564384"/>
                    <a:pt x="1583534" y="578316"/>
                    <a:pt x="1591274" y="592247"/>
                  </a:cubicBezTo>
                  <a:cubicBezTo>
                    <a:pt x="1596950" y="602567"/>
                    <a:pt x="1605721" y="608243"/>
                    <a:pt x="1617589" y="608759"/>
                  </a:cubicBezTo>
                  <a:cubicBezTo>
                    <a:pt x="1637196" y="610307"/>
                    <a:pt x="1657319" y="611339"/>
                    <a:pt x="1676926" y="612886"/>
                  </a:cubicBezTo>
                  <a:cubicBezTo>
                    <a:pt x="1717172" y="615466"/>
                    <a:pt x="1757419" y="618046"/>
                    <a:pt x="1797665" y="620626"/>
                  </a:cubicBezTo>
                  <a:cubicBezTo>
                    <a:pt x="1809016" y="621142"/>
                    <a:pt x="1818304" y="628882"/>
                    <a:pt x="1820884" y="640233"/>
                  </a:cubicBezTo>
                  <a:cubicBezTo>
                    <a:pt x="1833267" y="695959"/>
                    <a:pt x="1845135" y="752200"/>
                    <a:pt x="1857518" y="808442"/>
                  </a:cubicBezTo>
                  <a:cubicBezTo>
                    <a:pt x="1859066" y="816181"/>
                    <a:pt x="1857002" y="822889"/>
                    <a:pt x="1851842" y="829081"/>
                  </a:cubicBezTo>
                  <a:cubicBezTo>
                    <a:pt x="1849262" y="832177"/>
                    <a:pt x="1845135" y="834241"/>
                    <a:pt x="1841523" y="836305"/>
                  </a:cubicBezTo>
                  <a:cubicBezTo>
                    <a:pt x="1789925" y="862103"/>
                    <a:pt x="1738327" y="887902"/>
                    <a:pt x="1686214" y="913701"/>
                  </a:cubicBezTo>
                  <a:cubicBezTo>
                    <a:pt x="1675378" y="919377"/>
                    <a:pt x="1669187" y="927633"/>
                    <a:pt x="1668670" y="940016"/>
                  </a:cubicBezTo>
                  <a:cubicBezTo>
                    <a:pt x="1667639" y="959623"/>
                    <a:pt x="1666090" y="978714"/>
                    <a:pt x="1665059" y="998322"/>
                  </a:cubicBezTo>
                  <a:cubicBezTo>
                    <a:pt x="1664543" y="1009673"/>
                    <a:pt x="1668670" y="1019477"/>
                    <a:pt x="1678474" y="1026184"/>
                  </a:cubicBezTo>
                  <a:cubicBezTo>
                    <a:pt x="1726460" y="1061271"/>
                    <a:pt x="1773930" y="1096873"/>
                    <a:pt x="1821916" y="1131960"/>
                  </a:cubicBezTo>
                  <a:cubicBezTo>
                    <a:pt x="1833267" y="1140215"/>
                    <a:pt x="1836879" y="1150535"/>
                    <a:pt x="1831720" y="1163950"/>
                  </a:cubicBezTo>
                  <a:cubicBezTo>
                    <a:pt x="1822948" y="1188201"/>
                    <a:pt x="1814176" y="1212452"/>
                    <a:pt x="1805404" y="1236703"/>
                  </a:cubicBezTo>
                  <a:cubicBezTo>
                    <a:pt x="1795601" y="1263534"/>
                    <a:pt x="1785798" y="1290881"/>
                    <a:pt x="1775478" y="1317711"/>
                  </a:cubicBezTo>
                  <a:cubicBezTo>
                    <a:pt x="1771350" y="1329063"/>
                    <a:pt x="1761546" y="1335255"/>
                    <a:pt x="1750195" y="1334223"/>
                  </a:cubicBezTo>
                  <a:cubicBezTo>
                    <a:pt x="1728524" y="1332159"/>
                    <a:pt x="1707369" y="1329579"/>
                    <a:pt x="1685698" y="1327515"/>
                  </a:cubicBezTo>
                  <a:cubicBezTo>
                    <a:pt x="1648548" y="1323387"/>
                    <a:pt x="1611397" y="1319259"/>
                    <a:pt x="1574247" y="1315648"/>
                  </a:cubicBezTo>
                  <a:cubicBezTo>
                    <a:pt x="1562379" y="1314616"/>
                    <a:pt x="1553092" y="1318743"/>
                    <a:pt x="1545868" y="1328547"/>
                  </a:cubicBezTo>
                  <a:cubicBezTo>
                    <a:pt x="1532453" y="1346606"/>
                    <a:pt x="1519553" y="1365181"/>
                    <a:pt x="1505622" y="1383241"/>
                  </a:cubicBezTo>
                  <a:cubicBezTo>
                    <a:pt x="1497366" y="1394076"/>
                    <a:pt x="1496334" y="1405428"/>
                    <a:pt x="1500978" y="1417811"/>
                  </a:cubicBezTo>
                  <a:cubicBezTo>
                    <a:pt x="1521617" y="1472505"/>
                    <a:pt x="1542772" y="1527198"/>
                    <a:pt x="1563411" y="1581892"/>
                  </a:cubicBezTo>
                  <a:cubicBezTo>
                    <a:pt x="1569087" y="1596339"/>
                    <a:pt x="1565991" y="1606143"/>
                    <a:pt x="1554124" y="1615430"/>
                  </a:cubicBezTo>
                  <a:cubicBezTo>
                    <a:pt x="1512845" y="1646389"/>
                    <a:pt x="1472083" y="1677864"/>
                    <a:pt x="1430805" y="1708822"/>
                  </a:cubicBezTo>
                  <a:cubicBezTo>
                    <a:pt x="1418938" y="1717594"/>
                    <a:pt x="1408618" y="1717594"/>
                    <a:pt x="1397266" y="1708306"/>
                  </a:cubicBezTo>
                  <a:cubicBezTo>
                    <a:pt x="1352892" y="1672704"/>
                    <a:pt x="1308003" y="1636585"/>
                    <a:pt x="1263628" y="1600467"/>
                  </a:cubicBezTo>
                  <a:cubicBezTo>
                    <a:pt x="1253825" y="1592727"/>
                    <a:pt x="1243505" y="1590147"/>
                    <a:pt x="1232154" y="1594275"/>
                  </a:cubicBezTo>
                  <a:cubicBezTo>
                    <a:pt x="1205839" y="1604079"/>
                    <a:pt x="1179524" y="1613883"/>
                    <a:pt x="1153725" y="1624202"/>
                  </a:cubicBezTo>
                  <a:cubicBezTo>
                    <a:pt x="1143406" y="1628330"/>
                    <a:pt x="1137214" y="1636070"/>
                    <a:pt x="1134634" y="1646905"/>
                  </a:cubicBezTo>
                  <a:cubicBezTo>
                    <a:pt x="1131022" y="1663932"/>
                    <a:pt x="1127411" y="1681475"/>
                    <a:pt x="1123798" y="1698503"/>
                  </a:cubicBezTo>
                  <a:cubicBezTo>
                    <a:pt x="1115027" y="1739781"/>
                    <a:pt x="1106771" y="1780543"/>
                    <a:pt x="1097999" y="1821821"/>
                  </a:cubicBezTo>
                  <a:cubicBezTo>
                    <a:pt x="1095420" y="1833689"/>
                    <a:pt x="1088196" y="1840913"/>
                    <a:pt x="1076329" y="1842460"/>
                  </a:cubicBezTo>
                  <a:cubicBezTo>
                    <a:pt x="1048982" y="1846072"/>
                    <a:pt x="1021635" y="1848652"/>
                    <a:pt x="994288" y="1851232"/>
                  </a:cubicBezTo>
                  <a:cubicBezTo>
                    <a:pt x="980873" y="1850200"/>
                    <a:pt x="970037" y="1851232"/>
                    <a:pt x="959201" y="1852264"/>
                  </a:cubicBezTo>
                  <a:close/>
                  <a:moveTo>
                    <a:pt x="928759" y="382245"/>
                  </a:moveTo>
                  <a:cubicBezTo>
                    <a:pt x="633620" y="381729"/>
                    <a:pt x="388015" y="619594"/>
                    <a:pt x="386983" y="921957"/>
                  </a:cubicBezTo>
                  <a:cubicBezTo>
                    <a:pt x="385951" y="1222772"/>
                    <a:pt x="627428" y="1464765"/>
                    <a:pt x="926695" y="1465797"/>
                  </a:cubicBezTo>
                  <a:cubicBezTo>
                    <a:pt x="1229058" y="1466829"/>
                    <a:pt x="1470019" y="1222772"/>
                    <a:pt x="1470535" y="924537"/>
                  </a:cubicBezTo>
                  <a:cubicBezTo>
                    <a:pt x="1470535" y="625270"/>
                    <a:pt x="1228026" y="381729"/>
                    <a:pt x="928759" y="382245"/>
                  </a:cubicBezTo>
                  <a:close/>
                </a:path>
              </a:pathLst>
            </a:custGeom>
            <a:grpFill/>
            <a:ln w="51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9512873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layou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10811BDD-858E-4663-871A-2B293641141B}"/>
              </a:ext>
            </a:extLst>
          </p:cNvPr>
          <p:cNvGrpSpPr/>
          <p:nvPr/>
        </p:nvGrpSpPr>
        <p:grpSpPr>
          <a:xfrm rot="12366785">
            <a:off x="10129411" y="5122363"/>
            <a:ext cx="1606966" cy="1446929"/>
            <a:chOff x="6486650" y="2648852"/>
            <a:chExt cx="2745260" cy="2471860"/>
          </a:xfrm>
          <a:solidFill>
            <a:schemeClr val="bg1">
              <a:alpha val="5000"/>
            </a:schemeClr>
          </a:solidFill>
        </p:grpSpPr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5228A7DD-C11F-4B4E-AF2C-CE54F2008B9B}"/>
                </a:ext>
              </a:extLst>
            </p:cNvPr>
            <p:cNvSpPr/>
            <p:nvPr/>
          </p:nvSpPr>
          <p:spPr>
            <a:xfrm>
              <a:off x="6486650" y="3806165"/>
              <a:ext cx="1318090" cy="1314547"/>
            </a:xfrm>
            <a:custGeom>
              <a:avLst/>
              <a:gdLst>
                <a:gd name="connsiteX0" fmla="*/ 0 w 1919435"/>
                <a:gd name="connsiteY0" fmla="*/ 987194 h 1914275"/>
                <a:gd name="connsiteX1" fmla="*/ 37667 w 1919435"/>
                <a:gd name="connsiteY1" fmla="*/ 959846 h 1914275"/>
                <a:gd name="connsiteX2" fmla="*/ 169757 w 1919435"/>
                <a:gd name="connsiteY2" fmla="*/ 922696 h 1914275"/>
                <a:gd name="connsiteX3" fmla="*/ 215163 w 1919435"/>
                <a:gd name="connsiteY3" fmla="*/ 872130 h 1914275"/>
                <a:gd name="connsiteX4" fmla="*/ 217743 w 1919435"/>
                <a:gd name="connsiteY4" fmla="*/ 850459 h 1914275"/>
                <a:gd name="connsiteX5" fmla="*/ 189364 w 1919435"/>
                <a:gd name="connsiteY5" fmla="*/ 797830 h 1914275"/>
                <a:gd name="connsiteX6" fmla="*/ 69657 w 1919435"/>
                <a:gd name="connsiteY6" fmla="*/ 727657 h 1914275"/>
                <a:gd name="connsiteX7" fmla="*/ 43858 w 1919435"/>
                <a:gd name="connsiteY7" fmla="*/ 664708 h 1914275"/>
                <a:gd name="connsiteX8" fmla="*/ 46438 w 1919435"/>
                <a:gd name="connsiteY8" fmla="*/ 655936 h 1914275"/>
                <a:gd name="connsiteX9" fmla="*/ 114547 w 1919435"/>
                <a:gd name="connsiteY9" fmla="*/ 608982 h 1914275"/>
                <a:gd name="connsiteX10" fmla="*/ 241478 w 1919435"/>
                <a:gd name="connsiteY10" fmla="*/ 623429 h 1914275"/>
                <a:gd name="connsiteX11" fmla="*/ 306491 w 1919435"/>
                <a:gd name="connsiteY11" fmla="*/ 593503 h 1914275"/>
                <a:gd name="connsiteX12" fmla="*/ 301331 w 1919435"/>
                <a:gd name="connsiteY12" fmla="*/ 505271 h 1914275"/>
                <a:gd name="connsiteX13" fmla="*/ 222386 w 1919435"/>
                <a:gd name="connsiteY13" fmla="*/ 400527 h 1914275"/>
                <a:gd name="connsiteX14" fmla="*/ 222386 w 1919435"/>
                <a:gd name="connsiteY14" fmla="*/ 342222 h 1914275"/>
                <a:gd name="connsiteX15" fmla="*/ 248185 w 1919435"/>
                <a:gd name="connsiteY15" fmla="*/ 313327 h 1914275"/>
                <a:gd name="connsiteX16" fmla="*/ 303395 w 1919435"/>
                <a:gd name="connsiteY16" fmla="*/ 307135 h 1914275"/>
                <a:gd name="connsiteX17" fmla="*/ 420522 w 1919435"/>
                <a:gd name="connsiteY17" fmla="*/ 373180 h 1914275"/>
                <a:gd name="connsiteX18" fmla="*/ 525265 w 1919435"/>
                <a:gd name="connsiteY18" fmla="*/ 343770 h 1914275"/>
                <a:gd name="connsiteX19" fmla="*/ 527845 w 1919435"/>
                <a:gd name="connsiteY19" fmla="*/ 298364 h 1914275"/>
                <a:gd name="connsiteX20" fmla="*/ 493791 w 1919435"/>
                <a:gd name="connsiteY20" fmla="*/ 166789 h 1914275"/>
                <a:gd name="connsiteX21" fmla="*/ 518557 w 1919435"/>
                <a:gd name="connsiteY21" fmla="*/ 105904 h 1914275"/>
                <a:gd name="connsiteX22" fmla="*/ 537649 w 1919435"/>
                <a:gd name="connsiteY22" fmla="*/ 95585 h 1914275"/>
                <a:gd name="connsiteX23" fmla="*/ 608853 w 1919435"/>
                <a:gd name="connsiteY23" fmla="*/ 113128 h 1914275"/>
                <a:gd name="connsiteX24" fmla="*/ 690894 w 1919435"/>
                <a:gd name="connsiteY24" fmla="*/ 217355 h 1914275"/>
                <a:gd name="connsiteX25" fmla="*/ 802861 w 1919435"/>
                <a:gd name="connsiteY25" fmla="*/ 216839 h 1914275"/>
                <a:gd name="connsiteX26" fmla="*/ 816277 w 1919435"/>
                <a:gd name="connsiteY26" fmla="*/ 169369 h 1914275"/>
                <a:gd name="connsiteX27" fmla="*/ 832788 w 1919435"/>
                <a:gd name="connsiteY27" fmla="*/ 48631 h 1914275"/>
                <a:gd name="connsiteX28" fmla="*/ 877677 w 1919435"/>
                <a:gd name="connsiteY28" fmla="*/ 2193 h 1914275"/>
                <a:gd name="connsiteX29" fmla="*/ 917924 w 1919435"/>
                <a:gd name="connsiteY29" fmla="*/ 645 h 1914275"/>
                <a:gd name="connsiteX30" fmla="*/ 956106 w 1919435"/>
                <a:gd name="connsiteY30" fmla="*/ 31603 h 1914275"/>
                <a:gd name="connsiteX31" fmla="*/ 993772 w 1919435"/>
                <a:gd name="connsiteY31" fmla="*/ 163693 h 1914275"/>
                <a:gd name="connsiteX32" fmla="*/ 1089745 w 1919435"/>
                <a:gd name="connsiteY32" fmla="*/ 217871 h 1914275"/>
                <a:gd name="connsiteX33" fmla="*/ 1120703 w 1919435"/>
                <a:gd name="connsiteY33" fmla="*/ 191040 h 1914275"/>
                <a:gd name="connsiteX34" fmla="*/ 1192940 w 1919435"/>
                <a:gd name="connsiteY34" fmla="*/ 68754 h 1914275"/>
                <a:gd name="connsiteX35" fmla="*/ 1251245 w 1919435"/>
                <a:gd name="connsiteY35" fmla="*/ 44503 h 1914275"/>
                <a:gd name="connsiteX36" fmla="*/ 1309035 w 1919435"/>
                <a:gd name="connsiteY36" fmla="*/ 137895 h 1914275"/>
                <a:gd name="connsiteX37" fmla="*/ 1294587 w 1919435"/>
                <a:gd name="connsiteY37" fmla="*/ 255538 h 1914275"/>
                <a:gd name="connsiteX38" fmla="*/ 1294587 w 1919435"/>
                <a:gd name="connsiteY38" fmla="*/ 267921 h 1914275"/>
                <a:gd name="connsiteX39" fmla="*/ 1399331 w 1919435"/>
                <a:gd name="connsiteY39" fmla="*/ 314359 h 1914275"/>
                <a:gd name="connsiteX40" fmla="*/ 1514394 w 1919435"/>
                <a:gd name="connsiteY40" fmla="*/ 228191 h 1914275"/>
                <a:gd name="connsiteX41" fmla="*/ 1584050 w 1919435"/>
                <a:gd name="connsiteY41" fmla="*/ 229223 h 1914275"/>
                <a:gd name="connsiteX42" fmla="*/ 1594886 w 1919435"/>
                <a:gd name="connsiteY42" fmla="*/ 238510 h 1914275"/>
                <a:gd name="connsiteX43" fmla="*/ 1606754 w 1919435"/>
                <a:gd name="connsiteY43" fmla="*/ 317971 h 1914275"/>
                <a:gd name="connsiteX44" fmla="*/ 1543288 w 1919435"/>
                <a:gd name="connsiteY44" fmla="*/ 430970 h 1914275"/>
                <a:gd name="connsiteX45" fmla="*/ 1552060 w 1919435"/>
                <a:gd name="connsiteY45" fmla="*/ 504239 h 1914275"/>
                <a:gd name="connsiteX46" fmla="*/ 1619137 w 1919435"/>
                <a:gd name="connsiteY46" fmla="*/ 531069 h 1914275"/>
                <a:gd name="connsiteX47" fmla="*/ 1754839 w 1919435"/>
                <a:gd name="connsiteY47" fmla="*/ 495467 h 1914275"/>
                <a:gd name="connsiteX48" fmla="*/ 1812629 w 1919435"/>
                <a:gd name="connsiteY48" fmla="*/ 517654 h 1914275"/>
                <a:gd name="connsiteX49" fmla="*/ 1830172 w 1919435"/>
                <a:gd name="connsiteY49" fmla="*/ 552225 h 1914275"/>
                <a:gd name="connsiteX50" fmla="*/ 1815724 w 1919435"/>
                <a:gd name="connsiteY50" fmla="*/ 603306 h 1914275"/>
                <a:gd name="connsiteX51" fmla="*/ 1699630 w 1919435"/>
                <a:gd name="connsiteY51" fmla="*/ 695666 h 1914275"/>
                <a:gd name="connsiteX52" fmla="*/ 1678990 w 1919435"/>
                <a:gd name="connsiteY52" fmla="*/ 751908 h 1914275"/>
                <a:gd name="connsiteX53" fmla="*/ 1685182 w 1919435"/>
                <a:gd name="connsiteY53" fmla="*/ 774611 h 1914275"/>
                <a:gd name="connsiteX54" fmla="*/ 1732652 w 1919435"/>
                <a:gd name="connsiteY54" fmla="*/ 815373 h 1914275"/>
                <a:gd name="connsiteX55" fmla="*/ 1872998 w 1919435"/>
                <a:gd name="connsiteY55" fmla="*/ 834464 h 1914275"/>
                <a:gd name="connsiteX56" fmla="*/ 1918404 w 1919435"/>
                <a:gd name="connsiteY56" fmla="*/ 879354 h 1914275"/>
                <a:gd name="connsiteX57" fmla="*/ 1919952 w 1919435"/>
                <a:gd name="connsiteY57" fmla="*/ 919600 h 1914275"/>
                <a:gd name="connsiteX58" fmla="*/ 1886930 w 1919435"/>
                <a:gd name="connsiteY58" fmla="*/ 958299 h 1914275"/>
                <a:gd name="connsiteX59" fmla="*/ 1754839 w 1919435"/>
                <a:gd name="connsiteY59" fmla="*/ 995965 h 1914275"/>
                <a:gd name="connsiteX60" fmla="*/ 1701178 w 1919435"/>
                <a:gd name="connsiteY60" fmla="*/ 1085229 h 1914275"/>
                <a:gd name="connsiteX61" fmla="*/ 1728524 w 1919435"/>
                <a:gd name="connsiteY61" fmla="*/ 1121348 h 1914275"/>
                <a:gd name="connsiteX62" fmla="*/ 1849779 w 1919435"/>
                <a:gd name="connsiteY62" fmla="*/ 1192552 h 1914275"/>
                <a:gd name="connsiteX63" fmla="*/ 1876094 w 1919435"/>
                <a:gd name="connsiteY63" fmla="*/ 1253954 h 1914275"/>
                <a:gd name="connsiteX64" fmla="*/ 1875062 w 1919435"/>
                <a:gd name="connsiteY64" fmla="*/ 1260145 h 1914275"/>
                <a:gd name="connsiteX65" fmla="*/ 1802309 w 1919435"/>
                <a:gd name="connsiteY65" fmla="*/ 1312259 h 1914275"/>
                <a:gd name="connsiteX66" fmla="*/ 1675379 w 1919435"/>
                <a:gd name="connsiteY66" fmla="*/ 1296264 h 1914275"/>
                <a:gd name="connsiteX67" fmla="*/ 1611398 w 1919435"/>
                <a:gd name="connsiteY67" fmla="*/ 1329286 h 1914275"/>
                <a:gd name="connsiteX68" fmla="*/ 1610365 w 1919435"/>
                <a:gd name="connsiteY68" fmla="*/ 1405651 h 1914275"/>
                <a:gd name="connsiteX69" fmla="*/ 1692406 w 1919435"/>
                <a:gd name="connsiteY69" fmla="*/ 1514006 h 1914275"/>
                <a:gd name="connsiteX70" fmla="*/ 1692406 w 1919435"/>
                <a:gd name="connsiteY70" fmla="*/ 1584695 h 1914275"/>
                <a:gd name="connsiteX71" fmla="*/ 1689310 w 1919435"/>
                <a:gd name="connsiteY71" fmla="*/ 1588307 h 1914275"/>
                <a:gd name="connsiteX72" fmla="*/ 1600562 w 1919435"/>
                <a:gd name="connsiteY72" fmla="*/ 1605850 h 1914275"/>
                <a:gd name="connsiteX73" fmla="*/ 1490659 w 1919435"/>
                <a:gd name="connsiteY73" fmla="*/ 1543933 h 1914275"/>
                <a:gd name="connsiteX74" fmla="*/ 1415326 w 1919435"/>
                <a:gd name="connsiteY74" fmla="*/ 1554769 h 1914275"/>
                <a:gd name="connsiteX75" fmla="*/ 1391075 w 1919435"/>
                <a:gd name="connsiteY75" fmla="*/ 1622877 h 1914275"/>
                <a:gd name="connsiteX76" fmla="*/ 1426677 w 1919435"/>
                <a:gd name="connsiteY76" fmla="*/ 1760128 h 1914275"/>
                <a:gd name="connsiteX77" fmla="*/ 1406554 w 1919435"/>
                <a:gd name="connsiteY77" fmla="*/ 1811725 h 1914275"/>
                <a:gd name="connsiteX78" fmla="*/ 1370436 w 1919435"/>
                <a:gd name="connsiteY78" fmla="*/ 1830300 h 1914275"/>
                <a:gd name="connsiteX79" fmla="*/ 1316258 w 1919435"/>
                <a:gd name="connsiteY79" fmla="*/ 1815337 h 1914275"/>
                <a:gd name="connsiteX80" fmla="*/ 1231122 w 1919435"/>
                <a:gd name="connsiteY80" fmla="*/ 1707498 h 1914275"/>
                <a:gd name="connsiteX81" fmla="*/ 1121219 w 1919435"/>
                <a:gd name="connsiteY81" fmla="*/ 1698210 h 1914275"/>
                <a:gd name="connsiteX82" fmla="*/ 1106771 w 1919435"/>
                <a:gd name="connsiteY82" fmla="*/ 1727105 h 1914275"/>
                <a:gd name="connsiteX83" fmla="*/ 1087165 w 1919435"/>
                <a:gd name="connsiteY83" fmla="*/ 1868999 h 1914275"/>
                <a:gd name="connsiteX84" fmla="*/ 1050014 w 1919435"/>
                <a:gd name="connsiteY84" fmla="*/ 1919049 h 1914275"/>
                <a:gd name="connsiteX85" fmla="*/ 987581 w 1919435"/>
                <a:gd name="connsiteY85" fmla="*/ 1919049 h 1914275"/>
                <a:gd name="connsiteX86" fmla="*/ 960234 w 1919435"/>
                <a:gd name="connsiteY86" fmla="*/ 1880866 h 1914275"/>
                <a:gd name="connsiteX87" fmla="*/ 921535 w 1919435"/>
                <a:gd name="connsiteY87" fmla="*/ 1744132 h 1914275"/>
                <a:gd name="connsiteX88" fmla="*/ 875614 w 1919435"/>
                <a:gd name="connsiteY88" fmla="*/ 1703886 h 1914275"/>
                <a:gd name="connsiteX89" fmla="*/ 847751 w 1919435"/>
                <a:gd name="connsiteY89" fmla="*/ 1700790 h 1914275"/>
                <a:gd name="connsiteX90" fmla="*/ 800281 w 1919435"/>
                <a:gd name="connsiteY90" fmla="*/ 1727105 h 1914275"/>
                <a:gd name="connsiteX91" fmla="*/ 788414 w 1919435"/>
                <a:gd name="connsiteY91" fmla="*/ 1747228 h 1914275"/>
                <a:gd name="connsiteX92" fmla="*/ 723401 w 1919435"/>
                <a:gd name="connsiteY92" fmla="*/ 1857131 h 1914275"/>
                <a:gd name="connsiteX93" fmla="*/ 674383 w 1919435"/>
                <a:gd name="connsiteY93" fmla="*/ 1877254 h 1914275"/>
                <a:gd name="connsiteX94" fmla="*/ 634652 w 1919435"/>
                <a:gd name="connsiteY94" fmla="*/ 1863839 h 1914275"/>
                <a:gd name="connsiteX95" fmla="*/ 607822 w 1919435"/>
                <a:gd name="connsiteY95" fmla="*/ 1813789 h 1914275"/>
                <a:gd name="connsiteX96" fmla="*/ 624848 w 1919435"/>
                <a:gd name="connsiteY96" fmla="*/ 1672927 h 1914275"/>
                <a:gd name="connsiteX97" fmla="*/ 586150 w 1919435"/>
                <a:gd name="connsiteY97" fmla="*/ 1607398 h 1914275"/>
                <a:gd name="connsiteX98" fmla="*/ 514430 w 1919435"/>
                <a:gd name="connsiteY98" fmla="*/ 1611010 h 1914275"/>
                <a:gd name="connsiteX99" fmla="*/ 413814 w 1919435"/>
                <a:gd name="connsiteY99" fmla="*/ 1687375 h 1914275"/>
                <a:gd name="connsiteX100" fmla="*/ 324550 w 1919435"/>
                <a:gd name="connsiteY100" fmla="*/ 1682215 h 1914275"/>
                <a:gd name="connsiteX101" fmla="*/ 316810 w 1919435"/>
                <a:gd name="connsiteY101" fmla="*/ 1674475 h 1914275"/>
                <a:gd name="connsiteX102" fmla="*/ 309071 w 1919435"/>
                <a:gd name="connsiteY102" fmla="*/ 1612558 h 1914275"/>
                <a:gd name="connsiteX103" fmla="*/ 376148 w 1919435"/>
                <a:gd name="connsiteY103" fmla="*/ 1492851 h 1914275"/>
                <a:gd name="connsiteX104" fmla="*/ 387499 w 1919435"/>
                <a:gd name="connsiteY104" fmla="*/ 1456217 h 1914275"/>
                <a:gd name="connsiteX105" fmla="*/ 297203 w 1919435"/>
                <a:gd name="connsiteY105" fmla="*/ 1391720 h 1914275"/>
                <a:gd name="connsiteX106" fmla="*/ 158405 w 1919435"/>
                <a:gd name="connsiteY106" fmla="*/ 1427838 h 1914275"/>
                <a:gd name="connsiteX107" fmla="*/ 114031 w 1919435"/>
                <a:gd name="connsiteY107" fmla="*/ 1412875 h 1914275"/>
                <a:gd name="connsiteX108" fmla="*/ 91844 w 1919435"/>
                <a:gd name="connsiteY108" fmla="*/ 1373660 h 1914275"/>
                <a:gd name="connsiteX109" fmla="*/ 106808 w 1919435"/>
                <a:gd name="connsiteY109" fmla="*/ 1315871 h 1914275"/>
                <a:gd name="connsiteX110" fmla="*/ 209487 w 1919435"/>
                <a:gd name="connsiteY110" fmla="*/ 1234347 h 1914275"/>
                <a:gd name="connsiteX111" fmla="*/ 236834 w 1919435"/>
                <a:gd name="connsiteY111" fmla="*/ 1151274 h 1914275"/>
                <a:gd name="connsiteX112" fmla="*/ 181624 w 1919435"/>
                <a:gd name="connsiteY112" fmla="*/ 1104836 h 1914275"/>
                <a:gd name="connsiteX113" fmla="*/ 52114 w 1919435"/>
                <a:gd name="connsiteY113" fmla="*/ 1087293 h 1914275"/>
                <a:gd name="connsiteX114" fmla="*/ 1032 w 1919435"/>
                <a:gd name="connsiteY114" fmla="*/ 1051175 h 1914275"/>
                <a:gd name="connsiteX115" fmla="*/ 0 w 1919435"/>
                <a:gd name="connsiteY115" fmla="*/ 987194 h 1914275"/>
                <a:gd name="connsiteX116" fmla="*/ 1198616 w 1919435"/>
                <a:gd name="connsiteY116" fmla="*/ 960879 h 1914275"/>
                <a:gd name="connsiteX117" fmla="*/ 958686 w 1919435"/>
                <a:gd name="connsiteY117" fmla="*/ 720949 h 1914275"/>
                <a:gd name="connsiteX118" fmla="*/ 720304 w 1919435"/>
                <a:gd name="connsiteY118" fmla="*/ 959331 h 1914275"/>
                <a:gd name="connsiteX119" fmla="*/ 957654 w 1919435"/>
                <a:gd name="connsiteY119" fmla="*/ 1198744 h 1914275"/>
                <a:gd name="connsiteX120" fmla="*/ 1198616 w 1919435"/>
                <a:gd name="connsiteY120" fmla="*/ 960879 h 1914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1919435" h="1914275">
                  <a:moveTo>
                    <a:pt x="0" y="987194"/>
                  </a:moveTo>
                  <a:cubicBezTo>
                    <a:pt x="8256" y="971714"/>
                    <a:pt x="21155" y="963975"/>
                    <a:pt x="37667" y="959846"/>
                  </a:cubicBezTo>
                  <a:cubicBezTo>
                    <a:pt x="82041" y="947979"/>
                    <a:pt x="125383" y="934564"/>
                    <a:pt x="169757" y="922696"/>
                  </a:cubicBezTo>
                  <a:cubicBezTo>
                    <a:pt x="196587" y="915473"/>
                    <a:pt x="212583" y="900509"/>
                    <a:pt x="215163" y="872130"/>
                  </a:cubicBezTo>
                  <a:cubicBezTo>
                    <a:pt x="215679" y="864907"/>
                    <a:pt x="216710" y="857683"/>
                    <a:pt x="217743" y="850459"/>
                  </a:cubicBezTo>
                  <a:cubicBezTo>
                    <a:pt x="220323" y="826209"/>
                    <a:pt x="209487" y="809697"/>
                    <a:pt x="189364" y="797830"/>
                  </a:cubicBezTo>
                  <a:cubicBezTo>
                    <a:pt x="149118" y="774611"/>
                    <a:pt x="109388" y="750876"/>
                    <a:pt x="69657" y="727657"/>
                  </a:cubicBezTo>
                  <a:cubicBezTo>
                    <a:pt x="40246" y="710629"/>
                    <a:pt x="35087" y="697730"/>
                    <a:pt x="43858" y="664708"/>
                  </a:cubicBezTo>
                  <a:cubicBezTo>
                    <a:pt x="44890" y="661612"/>
                    <a:pt x="45406" y="658516"/>
                    <a:pt x="46438" y="655936"/>
                  </a:cubicBezTo>
                  <a:cubicBezTo>
                    <a:pt x="59337" y="613110"/>
                    <a:pt x="70689" y="604854"/>
                    <a:pt x="114547" y="608982"/>
                  </a:cubicBezTo>
                  <a:cubicBezTo>
                    <a:pt x="156857" y="613110"/>
                    <a:pt x="199167" y="617754"/>
                    <a:pt x="241478" y="623429"/>
                  </a:cubicBezTo>
                  <a:cubicBezTo>
                    <a:pt x="275016" y="627557"/>
                    <a:pt x="289463" y="621881"/>
                    <a:pt x="306491" y="593503"/>
                  </a:cubicBezTo>
                  <a:cubicBezTo>
                    <a:pt x="330741" y="554288"/>
                    <a:pt x="329710" y="541905"/>
                    <a:pt x="301331" y="505271"/>
                  </a:cubicBezTo>
                  <a:cubicBezTo>
                    <a:pt x="274500" y="470700"/>
                    <a:pt x="248185" y="435614"/>
                    <a:pt x="222386" y="400527"/>
                  </a:cubicBezTo>
                  <a:cubicBezTo>
                    <a:pt x="206907" y="379888"/>
                    <a:pt x="206907" y="362861"/>
                    <a:pt x="222386" y="342222"/>
                  </a:cubicBezTo>
                  <a:cubicBezTo>
                    <a:pt x="230126" y="331902"/>
                    <a:pt x="238382" y="321583"/>
                    <a:pt x="248185" y="313327"/>
                  </a:cubicBezTo>
                  <a:cubicBezTo>
                    <a:pt x="267792" y="296816"/>
                    <a:pt x="281208" y="294752"/>
                    <a:pt x="303395" y="307135"/>
                  </a:cubicBezTo>
                  <a:cubicBezTo>
                    <a:pt x="342609" y="328806"/>
                    <a:pt x="382856" y="348929"/>
                    <a:pt x="420522" y="373180"/>
                  </a:cubicBezTo>
                  <a:cubicBezTo>
                    <a:pt x="463864" y="401043"/>
                    <a:pt x="493791" y="382468"/>
                    <a:pt x="525265" y="343770"/>
                  </a:cubicBezTo>
                  <a:cubicBezTo>
                    <a:pt x="535585" y="330870"/>
                    <a:pt x="531973" y="313843"/>
                    <a:pt x="527845" y="298364"/>
                  </a:cubicBezTo>
                  <a:cubicBezTo>
                    <a:pt x="516493" y="254506"/>
                    <a:pt x="505142" y="210647"/>
                    <a:pt x="493791" y="166789"/>
                  </a:cubicBezTo>
                  <a:cubicBezTo>
                    <a:pt x="485535" y="135315"/>
                    <a:pt x="490694" y="122415"/>
                    <a:pt x="518557" y="105904"/>
                  </a:cubicBezTo>
                  <a:cubicBezTo>
                    <a:pt x="524749" y="102292"/>
                    <a:pt x="530941" y="98680"/>
                    <a:pt x="537649" y="95585"/>
                  </a:cubicBezTo>
                  <a:cubicBezTo>
                    <a:pt x="571187" y="80105"/>
                    <a:pt x="586150" y="83717"/>
                    <a:pt x="608853" y="113128"/>
                  </a:cubicBezTo>
                  <a:cubicBezTo>
                    <a:pt x="636200" y="147698"/>
                    <a:pt x="663547" y="182785"/>
                    <a:pt x="690894" y="217355"/>
                  </a:cubicBezTo>
                  <a:cubicBezTo>
                    <a:pt x="716693" y="249346"/>
                    <a:pt x="777062" y="249346"/>
                    <a:pt x="802861" y="216839"/>
                  </a:cubicBezTo>
                  <a:cubicBezTo>
                    <a:pt x="813697" y="202908"/>
                    <a:pt x="813697" y="185365"/>
                    <a:pt x="816277" y="169369"/>
                  </a:cubicBezTo>
                  <a:cubicBezTo>
                    <a:pt x="822468" y="129123"/>
                    <a:pt x="827628" y="88877"/>
                    <a:pt x="832788" y="48631"/>
                  </a:cubicBezTo>
                  <a:cubicBezTo>
                    <a:pt x="836916" y="16640"/>
                    <a:pt x="845687" y="7868"/>
                    <a:pt x="877677" y="2193"/>
                  </a:cubicBezTo>
                  <a:cubicBezTo>
                    <a:pt x="891093" y="-387"/>
                    <a:pt x="904509" y="-387"/>
                    <a:pt x="917924" y="645"/>
                  </a:cubicBezTo>
                  <a:cubicBezTo>
                    <a:pt x="937531" y="1677"/>
                    <a:pt x="950947" y="11996"/>
                    <a:pt x="956106" y="31603"/>
                  </a:cubicBezTo>
                  <a:cubicBezTo>
                    <a:pt x="968490" y="75461"/>
                    <a:pt x="981389" y="119835"/>
                    <a:pt x="993772" y="163693"/>
                  </a:cubicBezTo>
                  <a:cubicBezTo>
                    <a:pt x="1006672" y="208584"/>
                    <a:pt x="1043822" y="229739"/>
                    <a:pt x="1089745" y="217871"/>
                  </a:cubicBezTo>
                  <a:cubicBezTo>
                    <a:pt x="1104707" y="214259"/>
                    <a:pt x="1113479" y="203424"/>
                    <a:pt x="1120703" y="191040"/>
                  </a:cubicBezTo>
                  <a:cubicBezTo>
                    <a:pt x="1144438" y="150278"/>
                    <a:pt x="1168689" y="109516"/>
                    <a:pt x="1192940" y="68754"/>
                  </a:cubicBezTo>
                  <a:cubicBezTo>
                    <a:pt x="1208419" y="42439"/>
                    <a:pt x="1221835" y="36763"/>
                    <a:pt x="1251245" y="44503"/>
                  </a:cubicBezTo>
                  <a:cubicBezTo>
                    <a:pt x="1310067" y="59466"/>
                    <a:pt x="1317806" y="72366"/>
                    <a:pt x="1309035" y="137895"/>
                  </a:cubicBezTo>
                  <a:cubicBezTo>
                    <a:pt x="1303875" y="177109"/>
                    <a:pt x="1299231" y="216323"/>
                    <a:pt x="1294587" y="255538"/>
                  </a:cubicBezTo>
                  <a:cubicBezTo>
                    <a:pt x="1294071" y="259665"/>
                    <a:pt x="1294071" y="263793"/>
                    <a:pt x="1294587" y="267921"/>
                  </a:cubicBezTo>
                  <a:cubicBezTo>
                    <a:pt x="1301295" y="309715"/>
                    <a:pt x="1364760" y="338610"/>
                    <a:pt x="1399331" y="314359"/>
                  </a:cubicBezTo>
                  <a:cubicBezTo>
                    <a:pt x="1438545" y="286496"/>
                    <a:pt x="1476211" y="257085"/>
                    <a:pt x="1514394" y="228191"/>
                  </a:cubicBezTo>
                  <a:cubicBezTo>
                    <a:pt x="1542256" y="207036"/>
                    <a:pt x="1556188" y="207552"/>
                    <a:pt x="1584050" y="229223"/>
                  </a:cubicBezTo>
                  <a:cubicBezTo>
                    <a:pt x="1587663" y="232319"/>
                    <a:pt x="1591274" y="234898"/>
                    <a:pt x="1594886" y="238510"/>
                  </a:cubicBezTo>
                  <a:cubicBezTo>
                    <a:pt x="1627393" y="269469"/>
                    <a:pt x="1628941" y="278757"/>
                    <a:pt x="1606754" y="317971"/>
                  </a:cubicBezTo>
                  <a:cubicBezTo>
                    <a:pt x="1585599" y="355637"/>
                    <a:pt x="1565475" y="393819"/>
                    <a:pt x="1543288" y="430970"/>
                  </a:cubicBezTo>
                  <a:cubicBezTo>
                    <a:pt x="1527293" y="458317"/>
                    <a:pt x="1534517" y="481020"/>
                    <a:pt x="1552060" y="504239"/>
                  </a:cubicBezTo>
                  <a:cubicBezTo>
                    <a:pt x="1569604" y="527458"/>
                    <a:pt x="1589726" y="538809"/>
                    <a:pt x="1619137" y="531069"/>
                  </a:cubicBezTo>
                  <a:cubicBezTo>
                    <a:pt x="1664543" y="519202"/>
                    <a:pt x="1709949" y="507850"/>
                    <a:pt x="1754839" y="495467"/>
                  </a:cubicBezTo>
                  <a:cubicBezTo>
                    <a:pt x="1783734" y="487727"/>
                    <a:pt x="1796634" y="492371"/>
                    <a:pt x="1812629" y="517654"/>
                  </a:cubicBezTo>
                  <a:cubicBezTo>
                    <a:pt x="1819853" y="528490"/>
                    <a:pt x="1826044" y="539841"/>
                    <a:pt x="1830172" y="552225"/>
                  </a:cubicBezTo>
                  <a:cubicBezTo>
                    <a:pt x="1837912" y="574412"/>
                    <a:pt x="1834299" y="588343"/>
                    <a:pt x="1815724" y="603306"/>
                  </a:cubicBezTo>
                  <a:cubicBezTo>
                    <a:pt x="1777026" y="634265"/>
                    <a:pt x="1738844" y="665224"/>
                    <a:pt x="1699630" y="695666"/>
                  </a:cubicBezTo>
                  <a:cubicBezTo>
                    <a:pt x="1680022" y="710629"/>
                    <a:pt x="1674862" y="729205"/>
                    <a:pt x="1678990" y="751908"/>
                  </a:cubicBezTo>
                  <a:cubicBezTo>
                    <a:pt x="1680539" y="759647"/>
                    <a:pt x="1683119" y="766871"/>
                    <a:pt x="1685182" y="774611"/>
                  </a:cubicBezTo>
                  <a:cubicBezTo>
                    <a:pt x="1691890" y="798862"/>
                    <a:pt x="1707885" y="812277"/>
                    <a:pt x="1732652" y="815373"/>
                  </a:cubicBezTo>
                  <a:cubicBezTo>
                    <a:pt x="1779606" y="821565"/>
                    <a:pt x="1826560" y="828272"/>
                    <a:pt x="1872998" y="834464"/>
                  </a:cubicBezTo>
                  <a:cubicBezTo>
                    <a:pt x="1900861" y="838076"/>
                    <a:pt x="1915308" y="851491"/>
                    <a:pt x="1918404" y="879354"/>
                  </a:cubicBezTo>
                  <a:cubicBezTo>
                    <a:pt x="1919952" y="892770"/>
                    <a:pt x="1921500" y="906185"/>
                    <a:pt x="1919952" y="919600"/>
                  </a:cubicBezTo>
                  <a:cubicBezTo>
                    <a:pt x="1917372" y="940755"/>
                    <a:pt x="1906536" y="952623"/>
                    <a:pt x="1886930" y="958299"/>
                  </a:cubicBezTo>
                  <a:cubicBezTo>
                    <a:pt x="1843071" y="970682"/>
                    <a:pt x="1798697" y="983065"/>
                    <a:pt x="1754839" y="995965"/>
                  </a:cubicBezTo>
                  <a:cubicBezTo>
                    <a:pt x="1712013" y="1008348"/>
                    <a:pt x="1692406" y="1040855"/>
                    <a:pt x="1701178" y="1085229"/>
                  </a:cubicBezTo>
                  <a:cubicBezTo>
                    <a:pt x="1704273" y="1102256"/>
                    <a:pt x="1714077" y="1113092"/>
                    <a:pt x="1728524" y="1121348"/>
                  </a:cubicBezTo>
                  <a:cubicBezTo>
                    <a:pt x="1768771" y="1145083"/>
                    <a:pt x="1809016" y="1168817"/>
                    <a:pt x="1849779" y="1192552"/>
                  </a:cubicBezTo>
                  <a:cubicBezTo>
                    <a:pt x="1879706" y="1210096"/>
                    <a:pt x="1884350" y="1220415"/>
                    <a:pt x="1876094" y="1253954"/>
                  </a:cubicBezTo>
                  <a:cubicBezTo>
                    <a:pt x="1875578" y="1256018"/>
                    <a:pt x="1875578" y="1258082"/>
                    <a:pt x="1875062" y="1260145"/>
                  </a:cubicBezTo>
                  <a:cubicBezTo>
                    <a:pt x="1862678" y="1300908"/>
                    <a:pt x="1848747" y="1321031"/>
                    <a:pt x="1802309" y="1312259"/>
                  </a:cubicBezTo>
                  <a:cubicBezTo>
                    <a:pt x="1760515" y="1304003"/>
                    <a:pt x="1717689" y="1302456"/>
                    <a:pt x="1675379" y="1296264"/>
                  </a:cubicBezTo>
                  <a:cubicBezTo>
                    <a:pt x="1645452" y="1292136"/>
                    <a:pt x="1625845" y="1304003"/>
                    <a:pt x="1611398" y="1329286"/>
                  </a:cubicBezTo>
                  <a:cubicBezTo>
                    <a:pt x="1596434" y="1355085"/>
                    <a:pt x="1589726" y="1379336"/>
                    <a:pt x="1610365" y="1405651"/>
                  </a:cubicBezTo>
                  <a:cubicBezTo>
                    <a:pt x="1638228" y="1441254"/>
                    <a:pt x="1665059" y="1477888"/>
                    <a:pt x="1692406" y="1514006"/>
                  </a:cubicBezTo>
                  <a:cubicBezTo>
                    <a:pt x="1715109" y="1543417"/>
                    <a:pt x="1715109" y="1555285"/>
                    <a:pt x="1692406" y="1584695"/>
                  </a:cubicBezTo>
                  <a:cubicBezTo>
                    <a:pt x="1691374" y="1585727"/>
                    <a:pt x="1690342" y="1587275"/>
                    <a:pt x="1689310" y="1588307"/>
                  </a:cubicBezTo>
                  <a:cubicBezTo>
                    <a:pt x="1659383" y="1620298"/>
                    <a:pt x="1647516" y="1634229"/>
                    <a:pt x="1600562" y="1605850"/>
                  </a:cubicBezTo>
                  <a:cubicBezTo>
                    <a:pt x="1564444" y="1584179"/>
                    <a:pt x="1526261" y="1565604"/>
                    <a:pt x="1490659" y="1543933"/>
                  </a:cubicBezTo>
                  <a:cubicBezTo>
                    <a:pt x="1461248" y="1526390"/>
                    <a:pt x="1438545" y="1536709"/>
                    <a:pt x="1415326" y="1554769"/>
                  </a:cubicBezTo>
                  <a:cubicBezTo>
                    <a:pt x="1392107" y="1572312"/>
                    <a:pt x="1382819" y="1593467"/>
                    <a:pt x="1391075" y="1622877"/>
                  </a:cubicBezTo>
                  <a:cubicBezTo>
                    <a:pt x="1403974" y="1668284"/>
                    <a:pt x="1415326" y="1714205"/>
                    <a:pt x="1426677" y="1760128"/>
                  </a:cubicBezTo>
                  <a:cubicBezTo>
                    <a:pt x="1432870" y="1784894"/>
                    <a:pt x="1427710" y="1798310"/>
                    <a:pt x="1406554" y="1811725"/>
                  </a:cubicBezTo>
                  <a:cubicBezTo>
                    <a:pt x="1395203" y="1818949"/>
                    <a:pt x="1383335" y="1825657"/>
                    <a:pt x="1370436" y="1830300"/>
                  </a:cubicBezTo>
                  <a:cubicBezTo>
                    <a:pt x="1347733" y="1838556"/>
                    <a:pt x="1331222" y="1834428"/>
                    <a:pt x="1316258" y="1815337"/>
                  </a:cubicBezTo>
                  <a:cubicBezTo>
                    <a:pt x="1287879" y="1779735"/>
                    <a:pt x="1259501" y="1743616"/>
                    <a:pt x="1231122" y="1707498"/>
                  </a:cubicBezTo>
                  <a:cubicBezTo>
                    <a:pt x="1203775" y="1673443"/>
                    <a:pt x="1154242" y="1668800"/>
                    <a:pt x="1121219" y="1698210"/>
                  </a:cubicBezTo>
                  <a:cubicBezTo>
                    <a:pt x="1112447" y="1705950"/>
                    <a:pt x="1108320" y="1715753"/>
                    <a:pt x="1106771" y="1727105"/>
                  </a:cubicBezTo>
                  <a:cubicBezTo>
                    <a:pt x="1100064" y="1774575"/>
                    <a:pt x="1092324" y="1821529"/>
                    <a:pt x="1087165" y="1868999"/>
                  </a:cubicBezTo>
                  <a:cubicBezTo>
                    <a:pt x="1084068" y="1893766"/>
                    <a:pt x="1074265" y="1911309"/>
                    <a:pt x="1050014" y="1919049"/>
                  </a:cubicBezTo>
                  <a:cubicBezTo>
                    <a:pt x="1029375" y="1919049"/>
                    <a:pt x="1008220" y="1919049"/>
                    <a:pt x="987581" y="1919049"/>
                  </a:cubicBezTo>
                  <a:cubicBezTo>
                    <a:pt x="973133" y="1910277"/>
                    <a:pt x="964878" y="1897377"/>
                    <a:pt x="960234" y="1880866"/>
                  </a:cubicBezTo>
                  <a:cubicBezTo>
                    <a:pt x="947851" y="1835460"/>
                    <a:pt x="933919" y="1790054"/>
                    <a:pt x="921535" y="1744132"/>
                  </a:cubicBezTo>
                  <a:cubicBezTo>
                    <a:pt x="914828" y="1719881"/>
                    <a:pt x="899865" y="1706982"/>
                    <a:pt x="875614" y="1703886"/>
                  </a:cubicBezTo>
                  <a:cubicBezTo>
                    <a:pt x="866326" y="1702854"/>
                    <a:pt x="857038" y="1701306"/>
                    <a:pt x="847751" y="1700790"/>
                  </a:cubicBezTo>
                  <a:cubicBezTo>
                    <a:pt x="826080" y="1699242"/>
                    <a:pt x="811117" y="1709046"/>
                    <a:pt x="800281" y="1727105"/>
                  </a:cubicBezTo>
                  <a:cubicBezTo>
                    <a:pt x="796153" y="1733813"/>
                    <a:pt x="792541" y="1740520"/>
                    <a:pt x="788414" y="1747228"/>
                  </a:cubicBezTo>
                  <a:cubicBezTo>
                    <a:pt x="766742" y="1783862"/>
                    <a:pt x="745587" y="1821013"/>
                    <a:pt x="723401" y="1857131"/>
                  </a:cubicBezTo>
                  <a:cubicBezTo>
                    <a:pt x="711533" y="1877254"/>
                    <a:pt x="697085" y="1882414"/>
                    <a:pt x="674383" y="1877254"/>
                  </a:cubicBezTo>
                  <a:cubicBezTo>
                    <a:pt x="660451" y="1874158"/>
                    <a:pt x="647552" y="1869515"/>
                    <a:pt x="634652" y="1863839"/>
                  </a:cubicBezTo>
                  <a:cubicBezTo>
                    <a:pt x="611949" y="1853003"/>
                    <a:pt x="604726" y="1839072"/>
                    <a:pt x="607822" y="1813789"/>
                  </a:cubicBezTo>
                  <a:cubicBezTo>
                    <a:pt x="613497" y="1766835"/>
                    <a:pt x="618141" y="1719881"/>
                    <a:pt x="624848" y="1672927"/>
                  </a:cubicBezTo>
                  <a:cubicBezTo>
                    <a:pt x="629492" y="1639905"/>
                    <a:pt x="611949" y="1621846"/>
                    <a:pt x="586150" y="1607398"/>
                  </a:cubicBezTo>
                  <a:cubicBezTo>
                    <a:pt x="560868" y="1593467"/>
                    <a:pt x="538165" y="1591403"/>
                    <a:pt x="514430" y="1611010"/>
                  </a:cubicBezTo>
                  <a:cubicBezTo>
                    <a:pt x="481407" y="1637325"/>
                    <a:pt x="446836" y="1661576"/>
                    <a:pt x="413814" y="1687375"/>
                  </a:cubicBezTo>
                  <a:cubicBezTo>
                    <a:pt x="380276" y="1713690"/>
                    <a:pt x="365828" y="1719365"/>
                    <a:pt x="324550" y="1682215"/>
                  </a:cubicBezTo>
                  <a:cubicBezTo>
                    <a:pt x="321970" y="1679635"/>
                    <a:pt x="319390" y="1677055"/>
                    <a:pt x="316810" y="1674475"/>
                  </a:cubicBezTo>
                  <a:cubicBezTo>
                    <a:pt x="296687" y="1653836"/>
                    <a:pt x="294623" y="1637841"/>
                    <a:pt x="309071" y="1612558"/>
                  </a:cubicBezTo>
                  <a:cubicBezTo>
                    <a:pt x="331258" y="1572828"/>
                    <a:pt x="353960" y="1532581"/>
                    <a:pt x="376148" y="1492851"/>
                  </a:cubicBezTo>
                  <a:cubicBezTo>
                    <a:pt x="382339" y="1481500"/>
                    <a:pt x="389047" y="1470148"/>
                    <a:pt x="387499" y="1456217"/>
                  </a:cubicBezTo>
                  <a:cubicBezTo>
                    <a:pt x="383887" y="1414423"/>
                    <a:pt x="337449" y="1381400"/>
                    <a:pt x="297203" y="1391720"/>
                  </a:cubicBezTo>
                  <a:cubicBezTo>
                    <a:pt x="250765" y="1403587"/>
                    <a:pt x="204327" y="1415455"/>
                    <a:pt x="158405" y="1427838"/>
                  </a:cubicBezTo>
                  <a:cubicBezTo>
                    <a:pt x="139830" y="1432998"/>
                    <a:pt x="125899" y="1427322"/>
                    <a:pt x="114031" y="1412875"/>
                  </a:cubicBezTo>
                  <a:cubicBezTo>
                    <a:pt x="104228" y="1401007"/>
                    <a:pt x="98036" y="1387592"/>
                    <a:pt x="91844" y="1373660"/>
                  </a:cubicBezTo>
                  <a:cubicBezTo>
                    <a:pt x="81525" y="1349409"/>
                    <a:pt x="86169" y="1331866"/>
                    <a:pt x="106808" y="1315871"/>
                  </a:cubicBezTo>
                  <a:cubicBezTo>
                    <a:pt x="140862" y="1288524"/>
                    <a:pt x="175432" y="1261693"/>
                    <a:pt x="209487" y="1234347"/>
                  </a:cubicBezTo>
                  <a:cubicBezTo>
                    <a:pt x="245605" y="1206484"/>
                    <a:pt x="248701" y="1194616"/>
                    <a:pt x="236834" y="1151274"/>
                  </a:cubicBezTo>
                  <a:cubicBezTo>
                    <a:pt x="228578" y="1122896"/>
                    <a:pt x="211551" y="1107932"/>
                    <a:pt x="181624" y="1104836"/>
                  </a:cubicBezTo>
                  <a:cubicBezTo>
                    <a:pt x="138282" y="1100192"/>
                    <a:pt x="95456" y="1091937"/>
                    <a:pt x="52114" y="1087293"/>
                  </a:cubicBezTo>
                  <a:cubicBezTo>
                    <a:pt x="27347" y="1084713"/>
                    <a:pt x="9804" y="1074910"/>
                    <a:pt x="1032" y="1051175"/>
                  </a:cubicBezTo>
                  <a:cubicBezTo>
                    <a:pt x="0" y="1028988"/>
                    <a:pt x="0" y="1008348"/>
                    <a:pt x="0" y="987194"/>
                  </a:cubicBezTo>
                  <a:close/>
                  <a:moveTo>
                    <a:pt x="1198616" y="960879"/>
                  </a:moveTo>
                  <a:cubicBezTo>
                    <a:pt x="1200163" y="838592"/>
                    <a:pt x="1104192" y="720433"/>
                    <a:pt x="958686" y="720949"/>
                  </a:cubicBezTo>
                  <a:cubicBezTo>
                    <a:pt x="824016" y="721465"/>
                    <a:pt x="720821" y="824145"/>
                    <a:pt x="720304" y="959331"/>
                  </a:cubicBezTo>
                  <a:cubicBezTo>
                    <a:pt x="719788" y="1096581"/>
                    <a:pt x="827628" y="1197712"/>
                    <a:pt x="957654" y="1198744"/>
                  </a:cubicBezTo>
                  <a:cubicBezTo>
                    <a:pt x="1090776" y="1199776"/>
                    <a:pt x="1198100" y="1092969"/>
                    <a:pt x="1198616" y="960879"/>
                  </a:cubicBezTo>
                  <a:close/>
                </a:path>
              </a:pathLst>
            </a:custGeom>
            <a:grpFill/>
            <a:ln w="51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4EBFD568-8E6E-401C-AE55-F36A046BAF38}"/>
                </a:ext>
              </a:extLst>
            </p:cNvPr>
            <p:cNvGrpSpPr/>
            <p:nvPr/>
          </p:nvGrpSpPr>
          <p:grpSpPr>
            <a:xfrm>
              <a:off x="7392963" y="2648852"/>
              <a:ext cx="1838947" cy="1835405"/>
              <a:chOff x="7167947" y="1624190"/>
              <a:chExt cx="2677922" cy="2672763"/>
            </a:xfrm>
            <a:grpFill/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9F4DA946-3FFE-44A8-9614-341AEDEEE4EB}"/>
                  </a:ext>
                </a:extLst>
              </p:cNvPr>
              <p:cNvSpPr/>
              <p:nvPr/>
            </p:nvSpPr>
            <p:spPr>
              <a:xfrm>
                <a:off x="7167947" y="1624190"/>
                <a:ext cx="2677922" cy="2672763"/>
              </a:xfrm>
              <a:custGeom>
                <a:avLst/>
                <a:gdLst>
                  <a:gd name="connsiteX0" fmla="*/ 2538684 w 2677922"/>
                  <a:gd name="connsiteY0" fmla="*/ 1897505 h 2672762"/>
                  <a:gd name="connsiteX1" fmla="*/ 2456643 w 2677922"/>
                  <a:gd name="connsiteY1" fmla="*/ 1879446 h 2672762"/>
                  <a:gd name="connsiteX2" fmla="*/ 2389566 w 2677922"/>
                  <a:gd name="connsiteY2" fmla="*/ 1863966 h 2672762"/>
                  <a:gd name="connsiteX3" fmla="*/ 2354479 w 2677922"/>
                  <a:gd name="connsiteY3" fmla="*/ 1874802 h 2672762"/>
                  <a:gd name="connsiteX4" fmla="*/ 2312170 w 2677922"/>
                  <a:gd name="connsiteY4" fmla="*/ 1950651 h 2672762"/>
                  <a:gd name="connsiteX5" fmla="*/ 2322489 w 2677922"/>
                  <a:gd name="connsiteY5" fmla="*/ 1983157 h 2672762"/>
                  <a:gd name="connsiteX6" fmla="*/ 2412785 w 2677922"/>
                  <a:gd name="connsiteY6" fmla="*/ 2080161 h 2672762"/>
                  <a:gd name="connsiteX7" fmla="*/ 2418461 w 2677922"/>
                  <a:gd name="connsiteY7" fmla="*/ 2146722 h 2672762"/>
                  <a:gd name="connsiteX8" fmla="*/ 2414849 w 2677922"/>
                  <a:gd name="connsiteY8" fmla="*/ 2151882 h 2672762"/>
                  <a:gd name="connsiteX9" fmla="*/ 2324037 w 2677922"/>
                  <a:gd name="connsiteY9" fmla="*/ 2174585 h 2672762"/>
                  <a:gd name="connsiteX10" fmla="*/ 2219294 w 2677922"/>
                  <a:gd name="connsiteY10" fmla="*/ 2118859 h 2672762"/>
                  <a:gd name="connsiteX11" fmla="*/ 2178531 w 2677922"/>
                  <a:gd name="connsiteY11" fmla="*/ 2120407 h 2672762"/>
                  <a:gd name="connsiteX12" fmla="*/ 2125386 w 2677922"/>
                  <a:gd name="connsiteY12" fmla="*/ 2172521 h 2672762"/>
                  <a:gd name="connsiteX13" fmla="*/ 2122806 w 2677922"/>
                  <a:gd name="connsiteY13" fmla="*/ 2217411 h 2672762"/>
                  <a:gd name="connsiteX14" fmla="*/ 2184723 w 2677922"/>
                  <a:gd name="connsiteY14" fmla="*/ 2334538 h 2672762"/>
                  <a:gd name="connsiteX15" fmla="*/ 2174404 w 2677922"/>
                  <a:gd name="connsiteY15" fmla="*/ 2395423 h 2672762"/>
                  <a:gd name="connsiteX16" fmla="*/ 2164084 w 2677922"/>
                  <a:gd name="connsiteY16" fmla="*/ 2404711 h 2672762"/>
                  <a:gd name="connsiteX17" fmla="*/ 2075336 w 2677922"/>
                  <a:gd name="connsiteY17" fmla="*/ 2401615 h 2672762"/>
                  <a:gd name="connsiteX18" fmla="*/ 1988652 w 2677922"/>
                  <a:gd name="connsiteY18" fmla="*/ 2320606 h 2672762"/>
                  <a:gd name="connsiteX19" fmla="*/ 1944277 w 2677922"/>
                  <a:gd name="connsiteY19" fmla="*/ 2311835 h 2672762"/>
                  <a:gd name="connsiteX20" fmla="*/ 1883392 w 2677922"/>
                  <a:gd name="connsiteY20" fmla="*/ 2346405 h 2672762"/>
                  <a:gd name="connsiteX21" fmla="*/ 1868429 w 2677922"/>
                  <a:gd name="connsiteY21" fmla="*/ 2391811 h 2672762"/>
                  <a:gd name="connsiteX22" fmla="*/ 1899388 w 2677922"/>
                  <a:gd name="connsiteY22" fmla="*/ 2526997 h 2672762"/>
                  <a:gd name="connsiteX23" fmla="*/ 1879264 w 2677922"/>
                  <a:gd name="connsiteY23" fmla="*/ 2571887 h 2672762"/>
                  <a:gd name="connsiteX24" fmla="*/ 1841082 w 2677922"/>
                  <a:gd name="connsiteY24" fmla="*/ 2588915 h 2672762"/>
                  <a:gd name="connsiteX25" fmla="*/ 1782777 w 2677922"/>
                  <a:gd name="connsiteY25" fmla="*/ 2568276 h 2672762"/>
                  <a:gd name="connsiteX26" fmla="*/ 1715184 w 2677922"/>
                  <a:gd name="connsiteY26" fmla="*/ 2459404 h 2672762"/>
                  <a:gd name="connsiteX27" fmla="*/ 1664618 w 2677922"/>
                  <a:gd name="connsiteY27" fmla="*/ 2435669 h 2672762"/>
                  <a:gd name="connsiteX28" fmla="*/ 1610440 w 2677922"/>
                  <a:gd name="connsiteY28" fmla="*/ 2450117 h 2672762"/>
                  <a:gd name="connsiteX29" fmla="*/ 1577418 w 2677922"/>
                  <a:gd name="connsiteY29" fmla="*/ 2495007 h 2672762"/>
                  <a:gd name="connsiteX30" fmla="*/ 1573806 w 2677922"/>
                  <a:gd name="connsiteY30" fmla="*/ 2616777 h 2672762"/>
                  <a:gd name="connsiteX31" fmla="*/ 1526852 w 2677922"/>
                  <a:gd name="connsiteY31" fmla="*/ 2672503 h 2672762"/>
                  <a:gd name="connsiteX32" fmla="*/ 1497441 w 2677922"/>
                  <a:gd name="connsiteY32" fmla="*/ 2676115 h 2672762"/>
                  <a:gd name="connsiteX33" fmla="*/ 1449972 w 2677922"/>
                  <a:gd name="connsiteY33" fmla="*/ 2644124 h 2672762"/>
                  <a:gd name="connsiteX34" fmla="*/ 1410241 w 2677922"/>
                  <a:gd name="connsiteY34" fmla="*/ 2514614 h 2672762"/>
                  <a:gd name="connsiteX35" fmla="*/ 1373091 w 2677922"/>
                  <a:gd name="connsiteY35" fmla="*/ 2482623 h 2672762"/>
                  <a:gd name="connsiteX36" fmla="*/ 1304982 w 2677922"/>
                  <a:gd name="connsiteY36" fmla="*/ 2483139 h 2672762"/>
                  <a:gd name="connsiteX37" fmla="*/ 1271959 w 2677922"/>
                  <a:gd name="connsiteY37" fmla="*/ 2511518 h 2672762"/>
                  <a:gd name="connsiteX38" fmla="*/ 1234293 w 2677922"/>
                  <a:gd name="connsiteY38" fmla="*/ 2633805 h 2672762"/>
                  <a:gd name="connsiteX39" fmla="*/ 1170828 w 2677922"/>
                  <a:gd name="connsiteY39" fmla="*/ 2674567 h 2672762"/>
                  <a:gd name="connsiteX40" fmla="*/ 1106847 w 2677922"/>
                  <a:gd name="connsiteY40" fmla="*/ 2602330 h 2672762"/>
                  <a:gd name="connsiteX41" fmla="*/ 1103751 w 2677922"/>
                  <a:gd name="connsiteY41" fmla="*/ 2491395 h 2672762"/>
                  <a:gd name="connsiteX42" fmla="*/ 1080532 w 2677922"/>
                  <a:gd name="connsiteY42" fmla="*/ 2454244 h 2672762"/>
                  <a:gd name="connsiteX43" fmla="*/ 1005199 w 2677922"/>
                  <a:gd name="connsiteY43" fmla="*/ 2435153 h 2672762"/>
                  <a:gd name="connsiteX44" fmla="*/ 969080 w 2677922"/>
                  <a:gd name="connsiteY44" fmla="*/ 2454244 h 2672762"/>
                  <a:gd name="connsiteX45" fmla="*/ 900456 w 2677922"/>
                  <a:gd name="connsiteY45" fmla="*/ 2564148 h 2672762"/>
                  <a:gd name="connsiteX46" fmla="*/ 836474 w 2677922"/>
                  <a:gd name="connsiteY46" fmla="*/ 2587367 h 2672762"/>
                  <a:gd name="connsiteX47" fmla="*/ 831830 w 2677922"/>
                  <a:gd name="connsiteY47" fmla="*/ 2585819 h 2672762"/>
                  <a:gd name="connsiteX48" fmla="*/ 785392 w 2677922"/>
                  <a:gd name="connsiteY48" fmla="*/ 2504810 h 2672762"/>
                  <a:gd name="connsiteX49" fmla="*/ 811707 w 2677922"/>
                  <a:gd name="connsiteY49" fmla="*/ 2390779 h 2672762"/>
                  <a:gd name="connsiteX50" fmla="*/ 794680 w 2677922"/>
                  <a:gd name="connsiteY50" fmla="*/ 2344341 h 2672762"/>
                  <a:gd name="connsiteX51" fmla="*/ 739470 w 2677922"/>
                  <a:gd name="connsiteY51" fmla="*/ 2312351 h 2672762"/>
                  <a:gd name="connsiteX52" fmla="*/ 689421 w 2677922"/>
                  <a:gd name="connsiteY52" fmla="*/ 2321638 h 2672762"/>
                  <a:gd name="connsiteX53" fmla="*/ 596029 w 2677922"/>
                  <a:gd name="connsiteY53" fmla="*/ 2408838 h 2672762"/>
                  <a:gd name="connsiteX54" fmla="*/ 530500 w 2677922"/>
                  <a:gd name="connsiteY54" fmla="*/ 2415030 h 2672762"/>
                  <a:gd name="connsiteX55" fmla="*/ 521212 w 2677922"/>
                  <a:gd name="connsiteY55" fmla="*/ 2408838 h 2672762"/>
                  <a:gd name="connsiteX56" fmla="*/ 500573 w 2677922"/>
                  <a:gd name="connsiteY56" fmla="*/ 2322670 h 2672762"/>
                  <a:gd name="connsiteX57" fmla="*/ 556298 w 2677922"/>
                  <a:gd name="connsiteY57" fmla="*/ 2217927 h 2672762"/>
                  <a:gd name="connsiteX58" fmla="*/ 552171 w 2677922"/>
                  <a:gd name="connsiteY58" fmla="*/ 2168909 h 2672762"/>
                  <a:gd name="connsiteX59" fmla="*/ 505733 w 2677922"/>
                  <a:gd name="connsiteY59" fmla="*/ 2122987 h 2672762"/>
                  <a:gd name="connsiteX60" fmla="*/ 457747 w 2677922"/>
                  <a:gd name="connsiteY60" fmla="*/ 2119375 h 2672762"/>
                  <a:gd name="connsiteX61" fmla="*/ 341652 w 2677922"/>
                  <a:gd name="connsiteY61" fmla="*/ 2180777 h 2672762"/>
                  <a:gd name="connsiteX62" fmla="*/ 278187 w 2677922"/>
                  <a:gd name="connsiteY62" fmla="*/ 2168909 h 2672762"/>
                  <a:gd name="connsiteX63" fmla="*/ 274059 w 2677922"/>
                  <a:gd name="connsiteY63" fmla="*/ 2164265 h 2672762"/>
                  <a:gd name="connsiteX64" fmla="*/ 276639 w 2677922"/>
                  <a:gd name="connsiteY64" fmla="*/ 2069325 h 2672762"/>
                  <a:gd name="connsiteX65" fmla="*/ 354551 w 2677922"/>
                  <a:gd name="connsiteY65" fmla="*/ 1986253 h 2672762"/>
                  <a:gd name="connsiteX66" fmla="*/ 363839 w 2677922"/>
                  <a:gd name="connsiteY66" fmla="*/ 1940847 h 2672762"/>
                  <a:gd name="connsiteX67" fmla="*/ 328237 w 2677922"/>
                  <a:gd name="connsiteY67" fmla="*/ 1878930 h 2672762"/>
                  <a:gd name="connsiteX68" fmla="*/ 283347 w 2677922"/>
                  <a:gd name="connsiteY68" fmla="*/ 1866030 h 2672762"/>
                  <a:gd name="connsiteX69" fmla="*/ 170864 w 2677922"/>
                  <a:gd name="connsiteY69" fmla="*/ 1891829 h 2672762"/>
                  <a:gd name="connsiteX70" fmla="*/ 155900 w 2677922"/>
                  <a:gd name="connsiteY70" fmla="*/ 1895441 h 2672762"/>
                  <a:gd name="connsiteX71" fmla="*/ 100175 w 2677922"/>
                  <a:gd name="connsiteY71" fmla="*/ 1868094 h 2672762"/>
                  <a:gd name="connsiteX72" fmla="*/ 87275 w 2677922"/>
                  <a:gd name="connsiteY72" fmla="*/ 1838168 h 2672762"/>
                  <a:gd name="connsiteX73" fmla="*/ 107915 w 2677922"/>
                  <a:gd name="connsiteY73" fmla="*/ 1779862 h 2672762"/>
                  <a:gd name="connsiteX74" fmla="*/ 213690 w 2677922"/>
                  <a:gd name="connsiteY74" fmla="*/ 1713817 h 2672762"/>
                  <a:gd name="connsiteX75" fmla="*/ 238972 w 2677922"/>
                  <a:gd name="connsiteY75" fmla="*/ 1654480 h 2672762"/>
                  <a:gd name="connsiteX76" fmla="*/ 222977 w 2677922"/>
                  <a:gd name="connsiteY76" fmla="*/ 1600818 h 2672762"/>
                  <a:gd name="connsiteX77" fmla="*/ 184279 w 2677922"/>
                  <a:gd name="connsiteY77" fmla="*/ 1575019 h 2672762"/>
                  <a:gd name="connsiteX78" fmla="*/ 59413 w 2677922"/>
                  <a:gd name="connsiteY78" fmla="*/ 1571407 h 2672762"/>
                  <a:gd name="connsiteX79" fmla="*/ 3687 w 2677922"/>
                  <a:gd name="connsiteY79" fmla="*/ 1524453 h 2672762"/>
                  <a:gd name="connsiteX80" fmla="*/ 1623 w 2677922"/>
                  <a:gd name="connsiteY80" fmla="*/ 1513618 h 2672762"/>
                  <a:gd name="connsiteX81" fmla="*/ 48577 w 2677922"/>
                  <a:gd name="connsiteY81" fmla="*/ 1442413 h 2672762"/>
                  <a:gd name="connsiteX82" fmla="*/ 160544 w 2677922"/>
                  <a:gd name="connsiteY82" fmla="*/ 1408358 h 2672762"/>
                  <a:gd name="connsiteX83" fmla="*/ 194083 w 2677922"/>
                  <a:gd name="connsiteY83" fmla="*/ 1370692 h 2672762"/>
                  <a:gd name="connsiteX84" fmla="*/ 192534 w 2677922"/>
                  <a:gd name="connsiteY84" fmla="*/ 1298971 h 2672762"/>
                  <a:gd name="connsiteX85" fmla="*/ 166220 w 2677922"/>
                  <a:gd name="connsiteY85" fmla="*/ 1269560 h 2672762"/>
                  <a:gd name="connsiteX86" fmla="*/ 47029 w 2677922"/>
                  <a:gd name="connsiteY86" fmla="*/ 1232926 h 2672762"/>
                  <a:gd name="connsiteX87" fmla="*/ 1623 w 2677922"/>
                  <a:gd name="connsiteY87" fmla="*/ 1166881 h 2672762"/>
                  <a:gd name="connsiteX88" fmla="*/ 6267 w 2677922"/>
                  <a:gd name="connsiteY88" fmla="*/ 1139534 h 2672762"/>
                  <a:gd name="connsiteX89" fmla="*/ 49093 w 2677922"/>
                  <a:gd name="connsiteY89" fmla="*/ 1105480 h 2672762"/>
                  <a:gd name="connsiteX90" fmla="*/ 164672 w 2677922"/>
                  <a:gd name="connsiteY90" fmla="*/ 1101868 h 2672762"/>
                  <a:gd name="connsiteX91" fmla="*/ 181699 w 2677922"/>
                  <a:gd name="connsiteY91" fmla="*/ 1101352 h 2672762"/>
                  <a:gd name="connsiteX92" fmla="*/ 227621 w 2677922"/>
                  <a:gd name="connsiteY92" fmla="*/ 1065233 h 2672762"/>
                  <a:gd name="connsiteX93" fmla="*/ 241036 w 2677922"/>
                  <a:gd name="connsiteY93" fmla="*/ 1014152 h 2672762"/>
                  <a:gd name="connsiteX94" fmla="*/ 219366 w 2677922"/>
                  <a:gd name="connsiteY94" fmla="*/ 965650 h 2672762"/>
                  <a:gd name="connsiteX95" fmla="*/ 113590 w 2677922"/>
                  <a:gd name="connsiteY95" fmla="*/ 899605 h 2672762"/>
                  <a:gd name="connsiteX96" fmla="*/ 89855 w 2677922"/>
                  <a:gd name="connsiteY96" fmla="*/ 832012 h 2672762"/>
                  <a:gd name="connsiteX97" fmla="*/ 104818 w 2677922"/>
                  <a:gd name="connsiteY97" fmla="*/ 799505 h 2672762"/>
                  <a:gd name="connsiteX98" fmla="*/ 151256 w 2677922"/>
                  <a:gd name="connsiteY98" fmla="*/ 779898 h 2672762"/>
                  <a:gd name="connsiteX99" fmla="*/ 283347 w 2677922"/>
                  <a:gd name="connsiteY99" fmla="*/ 810341 h 2672762"/>
                  <a:gd name="connsiteX100" fmla="*/ 331332 w 2677922"/>
                  <a:gd name="connsiteY100" fmla="*/ 794345 h 2672762"/>
                  <a:gd name="connsiteX101" fmla="*/ 363839 w 2677922"/>
                  <a:gd name="connsiteY101" fmla="*/ 737588 h 2672762"/>
                  <a:gd name="connsiteX102" fmla="*/ 354551 w 2677922"/>
                  <a:gd name="connsiteY102" fmla="*/ 689086 h 2672762"/>
                  <a:gd name="connsiteX103" fmla="*/ 266835 w 2677922"/>
                  <a:gd name="connsiteY103" fmla="*/ 595694 h 2672762"/>
                  <a:gd name="connsiteX104" fmla="*/ 261675 w 2677922"/>
                  <a:gd name="connsiteY104" fmla="*/ 529133 h 2672762"/>
                  <a:gd name="connsiteX105" fmla="*/ 270447 w 2677922"/>
                  <a:gd name="connsiteY105" fmla="*/ 516233 h 2672762"/>
                  <a:gd name="connsiteX106" fmla="*/ 349907 w 2677922"/>
                  <a:gd name="connsiteY106" fmla="*/ 498690 h 2672762"/>
                  <a:gd name="connsiteX107" fmla="*/ 457231 w 2677922"/>
                  <a:gd name="connsiteY107" fmla="*/ 555964 h 2672762"/>
                  <a:gd name="connsiteX108" fmla="*/ 507797 w 2677922"/>
                  <a:gd name="connsiteY108" fmla="*/ 551320 h 2672762"/>
                  <a:gd name="connsiteX109" fmla="*/ 551139 w 2677922"/>
                  <a:gd name="connsiteY109" fmla="*/ 508494 h 2672762"/>
                  <a:gd name="connsiteX110" fmla="*/ 556815 w 2677922"/>
                  <a:gd name="connsiteY110" fmla="*/ 456896 h 2672762"/>
                  <a:gd name="connsiteX111" fmla="*/ 494381 w 2677922"/>
                  <a:gd name="connsiteY111" fmla="*/ 339769 h 2672762"/>
                  <a:gd name="connsiteX112" fmla="*/ 505217 w 2677922"/>
                  <a:gd name="connsiteY112" fmla="*/ 280432 h 2672762"/>
                  <a:gd name="connsiteX113" fmla="*/ 537723 w 2677922"/>
                  <a:gd name="connsiteY113" fmla="*/ 256181 h 2672762"/>
                  <a:gd name="connsiteX114" fmla="*/ 590353 w 2677922"/>
                  <a:gd name="connsiteY114" fmla="*/ 261857 h 2672762"/>
                  <a:gd name="connsiteX115" fmla="*/ 679617 w 2677922"/>
                  <a:gd name="connsiteY115" fmla="*/ 344929 h 2672762"/>
                  <a:gd name="connsiteX116" fmla="*/ 754950 w 2677922"/>
                  <a:gd name="connsiteY116" fmla="*/ 355765 h 2672762"/>
                  <a:gd name="connsiteX117" fmla="*/ 797260 w 2677922"/>
                  <a:gd name="connsiteY117" fmla="*/ 329450 h 2672762"/>
                  <a:gd name="connsiteX118" fmla="*/ 811707 w 2677922"/>
                  <a:gd name="connsiteY118" fmla="*/ 285076 h 2672762"/>
                  <a:gd name="connsiteX119" fmla="*/ 781781 w 2677922"/>
                  <a:gd name="connsiteY119" fmla="*/ 156081 h 2672762"/>
                  <a:gd name="connsiteX120" fmla="*/ 807064 w 2677922"/>
                  <a:gd name="connsiteY120" fmla="*/ 100872 h 2672762"/>
                  <a:gd name="connsiteX121" fmla="*/ 841634 w 2677922"/>
                  <a:gd name="connsiteY121" fmla="*/ 86424 h 2672762"/>
                  <a:gd name="connsiteX122" fmla="*/ 896328 w 2677922"/>
                  <a:gd name="connsiteY122" fmla="*/ 106031 h 2672762"/>
                  <a:gd name="connsiteX123" fmla="*/ 965469 w 2677922"/>
                  <a:gd name="connsiteY123" fmla="*/ 217483 h 2672762"/>
                  <a:gd name="connsiteX124" fmla="*/ 1013455 w 2677922"/>
                  <a:gd name="connsiteY124" fmla="*/ 240702 h 2672762"/>
                  <a:gd name="connsiteX125" fmla="*/ 1077952 w 2677922"/>
                  <a:gd name="connsiteY125" fmla="*/ 222642 h 2672762"/>
                  <a:gd name="connsiteX126" fmla="*/ 1101687 w 2677922"/>
                  <a:gd name="connsiteY126" fmla="*/ 188072 h 2672762"/>
                  <a:gd name="connsiteX127" fmla="*/ 1106847 w 2677922"/>
                  <a:gd name="connsiteY127" fmla="*/ 53918 h 2672762"/>
                  <a:gd name="connsiteX128" fmla="*/ 1145029 w 2677922"/>
                  <a:gd name="connsiteY128" fmla="*/ 4900 h 2672762"/>
                  <a:gd name="connsiteX129" fmla="*/ 1158960 w 2677922"/>
                  <a:gd name="connsiteY129" fmla="*/ 1804 h 2672762"/>
                  <a:gd name="connsiteX130" fmla="*/ 1235841 w 2677922"/>
                  <a:gd name="connsiteY130" fmla="*/ 48758 h 2672762"/>
                  <a:gd name="connsiteX131" fmla="*/ 1269895 w 2677922"/>
                  <a:gd name="connsiteY131" fmla="*/ 162273 h 2672762"/>
                  <a:gd name="connsiteX132" fmla="*/ 1303434 w 2677922"/>
                  <a:gd name="connsiteY132" fmla="*/ 192716 h 2672762"/>
                  <a:gd name="connsiteX133" fmla="*/ 1376702 w 2677922"/>
                  <a:gd name="connsiteY133" fmla="*/ 192716 h 2672762"/>
                  <a:gd name="connsiteX134" fmla="*/ 1409209 w 2677922"/>
                  <a:gd name="connsiteY134" fmla="*/ 163305 h 2672762"/>
                  <a:gd name="connsiteX135" fmla="*/ 1447392 w 2677922"/>
                  <a:gd name="connsiteY135" fmla="*/ 37922 h 2672762"/>
                  <a:gd name="connsiteX136" fmla="*/ 1499505 w 2677922"/>
                  <a:gd name="connsiteY136" fmla="*/ 256 h 2672762"/>
                  <a:gd name="connsiteX137" fmla="*/ 1513436 w 2677922"/>
                  <a:gd name="connsiteY137" fmla="*/ 772 h 2672762"/>
                  <a:gd name="connsiteX138" fmla="*/ 1573290 w 2677922"/>
                  <a:gd name="connsiteY138" fmla="*/ 65269 h 2672762"/>
                  <a:gd name="connsiteX139" fmla="*/ 1576902 w 2677922"/>
                  <a:gd name="connsiteY139" fmla="*/ 185492 h 2672762"/>
                  <a:gd name="connsiteX140" fmla="*/ 1598057 w 2677922"/>
                  <a:gd name="connsiteY140" fmla="*/ 220578 h 2672762"/>
                  <a:gd name="connsiteX141" fmla="*/ 1674422 w 2677922"/>
                  <a:gd name="connsiteY141" fmla="*/ 240702 h 2672762"/>
                  <a:gd name="connsiteX142" fmla="*/ 1710540 w 2677922"/>
                  <a:gd name="connsiteY142" fmla="*/ 221610 h 2672762"/>
                  <a:gd name="connsiteX143" fmla="*/ 1779165 w 2677922"/>
                  <a:gd name="connsiteY143" fmla="*/ 111707 h 2672762"/>
                  <a:gd name="connsiteX144" fmla="*/ 1845726 w 2677922"/>
                  <a:gd name="connsiteY144" fmla="*/ 88488 h 2672762"/>
                  <a:gd name="connsiteX145" fmla="*/ 1857594 w 2677922"/>
                  <a:gd name="connsiteY145" fmla="*/ 92616 h 2672762"/>
                  <a:gd name="connsiteX146" fmla="*/ 1895260 w 2677922"/>
                  <a:gd name="connsiteY146" fmla="*/ 166401 h 2672762"/>
                  <a:gd name="connsiteX147" fmla="*/ 1868429 w 2677922"/>
                  <a:gd name="connsiteY147" fmla="*/ 281980 h 2672762"/>
                  <a:gd name="connsiteX148" fmla="*/ 1887004 w 2677922"/>
                  <a:gd name="connsiteY148" fmla="*/ 332030 h 2672762"/>
                  <a:gd name="connsiteX149" fmla="*/ 1946857 w 2677922"/>
                  <a:gd name="connsiteY149" fmla="*/ 365052 h 2672762"/>
                  <a:gd name="connsiteX150" fmla="*/ 1986588 w 2677922"/>
                  <a:gd name="connsiteY150" fmla="*/ 355765 h 2672762"/>
                  <a:gd name="connsiteX151" fmla="*/ 2081528 w 2677922"/>
                  <a:gd name="connsiteY151" fmla="*/ 267532 h 2672762"/>
                  <a:gd name="connsiteX152" fmla="*/ 2151701 w 2677922"/>
                  <a:gd name="connsiteY152" fmla="*/ 261857 h 2672762"/>
                  <a:gd name="connsiteX153" fmla="*/ 2155312 w 2677922"/>
                  <a:gd name="connsiteY153" fmla="*/ 264437 h 2672762"/>
                  <a:gd name="connsiteX154" fmla="*/ 2177500 w 2677922"/>
                  <a:gd name="connsiteY154" fmla="*/ 353701 h 2672762"/>
                  <a:gd name="connsiteX155" fmla="*/ 2122290 w 2677922"/>
                  <a:gd name="connsiteY155" fmla="*/ 456896 h 2672762"/>
                  <a:gd name="connsiteX156" fmla="*/ 2126934 w 2677922"/>
                  <a:gd name="connsiteY156" fmla="*/ 505914 h 2672762"/>
                  <a:gd name="connsiteX157" fmla="*/ 2173372 w 2677922"/>
                  <a:gd name="connsiteY157" fmla="*/ 551836 h 2672762"/>
                  <a:gd name="connsiteX158" fmla="*/ 2219810 w 2677922"/>
                  <a:gd name="connsiteY158" fmla="*/ 555964 h 2672762"/>
                  <a:gd name="connsiteX159" fmla="*/ 2336937 w 2677922"/>
                  <a:gd name="connsiteY159" fmla="*/ 494046 h 2672762"/>
                  <a:gd name="connsiteX160" fmla="*/ 2400917 w 2677922"/>
                  <a:gd name="connsiteY160" fmla="*/ 507462 h 2672762"/>
                  <a:gd name="connsiteX161" fmla="*/ 2420525 w 2677922"/>
                  <a:gd name="connsiteY161" fmla="*/ 533777 h 2672762"/>
                  <a:gd name="connsiteX162" fmla="*/ 2415365 w 2677922"/>
                  <a:gd name="connsiteY162" fmla="*/ 591566 h 2672762"/>
                  <a:gd name="connsiteX163" fmla="*/ 2321973 w 2677922"/>
                  <a:gd name="connsiteY163" fmla="*/ 692182 h 2672762"/>
                  <a:gd name="connsiteX164" fmla="*/ 2313718 w 2677922"/>
                  <a:gd name="connsiteY164" fmla="*/ 733460 h 2672762"/>
                  <a:gd name="connsiteX165" fmla="*/ 2349320 w 2677922"/>
                  <a:gd name="connsiteY165" fmla="*/ 795377 h 2672762"/>
                  <a:gd name="connsiteX166" fmla="*/ 2394726 w 2677922"/>
                  <a:gd name="connsiteY166" fmla="*/ 810341 h 2672762"/>
                  <a:gd name="connsiteX167" fmla="*/ 2526816 w 2677922"/>
                  <a:gd name="connsiteY167" fmla="*/ 780414 h 2672762"/>
                  <a:gd name="connsiteX168" fmla="*/ 2575834 w 2677922"/>
                  <a:gd name="connsiteY168" fmla="*/ 803117 h 2672762"/>
                  <a:gd name="connsiteX169" fmla="*/ 2591313 w 2677922"/>
                  <a:gd name="connsiteY169" fmla="*/ 838719 h 2672762"/>
                  <a:gd name="connsiteX170" fmla="*/ 2570158 w 2677922"/>
                  <a:gd name="connsiteY170" fmla="*/ 896509 h 2672762"/>
                  <a:gd name="connsiteX171" fmla="*/ 2461287 w 2677922"/>
                  <a:gd name="connsiteY171" fmla="*/ 964102 h 2672762"/>
                  <a:gd name="connsiteX172" fmla="*/ 2438068 w 2677922"/>
                  <a:gd name="connsiteY172" fmla="*/ 1014668 h 2672762"/>
                  <a:gd name="connsiteX173" fmla="*/ 2454063 w 2677922"/>
                  <a:gd name="connsiteY173" fmla="*/ 1073489 h 2672762"/>
                  <a:gd name="connsiteX174" fmla="*/ 2492762 w 2677922"/>
                  <a:gd name="connsiteY174" fmla="*/ 1100836 h 2672762"/>
                  <a:gd name="connsiteX175" fmla="*/ 2628464 w 2677922"/>
                  <a:gd name="connsiteY175" fmla="*/ 1105996 h 2672762"/>
                  <a:gd name="connsiteX176" fmla="*/ 2672322 w 2677922"/>
                  <a:gd name="connsiteY176" fmla="*/ 1140566 h 2672762"/>
                  <a:gd name="connsiteX177" fmla="*/ 2677998 w 2677922"/>
                  <a:gd name="connsiteY177" fmla="*/ 1182360 h 2672762"/>
                  <a:gd name="connsiteX178" fmla="*/ 2644459 w 2677922"/>
                  <a:gd name="connsiteY178" fmla="*/ 1229830 h 2672762"/>
                  <a:gd name="connsiteX179" fmla="*/ 2522172 w 2677922"/>
                  <a:gd name="connsiteY179" fmla="*/ 1267497 h 2672762"/>
                  <a:gd name="connsiteX180" fmla="*/ 2483990 w 2677922"/>
                  <a:gd name="connsiteY180" fmla="*/ 1315998 h 2672762"/>
                  <a:gd name="connsiteX181" fmla="*/ 2486570 w 2677922"/>
                  <a:gd name="connsiteY181" fmla="*/ 1379980 h 2672762"/>
                  <a:gd name="connsiteX182" fmla="*/ 2512885 w 2677922"/>
                  <a:gd name="connsiteY182" fmla="*/ 1407842 h 2672762"/>
                  <a:gd name="connsiteX183" fmla="*/ 2641363 w 2677922"/>
                  <a:gd name="connsiteY183" fmla="*/ 1447057 h 2672762"/>
                  <a:gd name="connsiteX184" fmla="*/ 2677998 w 2677922"/>
                  <a:gd name="connsiteY184" fmla="*/ 1498138 h 2672762"/>
                  <a:gd name="connsiteX185" fmla="*/ 2677998 w 2677922"/>
                  <a:gd name="connsiteY185" fmla="*/ 1507426 h 2672762"/>
                  <a:gd name="connsiteX186" fmla="*/ 2611952 w 2677922"/>
                  <a:gd name="connsiteY186" fmla="*/ 1572955 h 2672762"/>
                  <a:gd name="connsiteX187" fmla="*/ 2490182 w 2677922"/>
                  <a:gd name="connsiteY187" fmla="*/ 1576567 h 2672762"/>
                  <a:gd name="connsiteX188" fmla="*/ 2457675 w 2677922"/>
                  <a:gd name="connsiteY188" fmla="*/ 1596690 h 2672762"/>
                  <a:gd name="connsiteX189" fmla="*/ 2437036 w 2677922"/>
                  <a:gd name="connsiteY189" fmla="*/ 1673055 h 2672762"/>
                  <a:gd name="connsiteX190" fmla="*/ 2457159 w 2677922"/>
                  <a:gd name="connsiteY190" fmla="*/ 1710205 h 2672762"/>
                  <a:gd name="connsiteX191" fmla="*/ 2564483 w 2677922"/>
                  <a:gd name="connsiteY191" fmla="*/ 1777282 h 2672762"/>
                  <a:gd name="connsiteX192" fmla="*/ 2588733 w 2677922"/>
                  <a:gd name="connsiteY192" fmla="*/ 1845907 h 2672762"/>
                  <a:gd name="connsiteX193" fmla="*/ 2571706 w 2677922"/>
                  <a:gd name="connsiteY193" fmla="*/ 1880994 h 2672762"/>
                  <a:gd name="connsiteX194" fmla="*/ 2538684 w 2677922"/>
                  <a:gd name="connsiteY194" fmla="*/ 1897505 h 2672762"/>
                  <a:gd name="connsiteX195" fmla="*/ 1338521 w 2677922"/>
                  <a:gd name="connsiteY195" fmla="*/ 2312867 h 2672762"/>
                  <a:gd name="connsiteX196" fmla="*/ 2316814 w 2677922"/>
                  <a:gd name="connsiteY196" fmla="*/ 1335605 h 2672762"/>
                  <a:gd name="connsiteX197" fmla="*/ 1340068 w 2677922"/>
                  <a:gd name="connsiteY197" fmla="*/ 359376 h 2672762"/>
                  <a:gd name="connsiteX198" fmla="*/ 361775 w 2677922"/>
                  <a:gd name="connsiteY198" fmla="*/ 1331994 h 2672762"/>
                  <a:gd name="connsiteX199" fmla="*/ 1338521 w 2677922"/>
                  <a:gd name="connsiteY199" fmla="*/ 2312867 h 2672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</a:cxnLst>
                <a:rect l="l" t="t" r="r" b="b"/>
                <a:pathLst>
                  <a:path w="2677922" h="2672762">
                    <a:moveTo>
                      <a:pt x="2538684" y="1897505"/>
                    </a:moveTo>
                    <a:cubicBezTo>
                      <a:pt x="2511337" y="1891313"/>
                      <a:pt x="2483990" y="1885121"/>
                      <a:pt x="2456643" y="1879446"/>
                    </a:cubicBezTo>
                    <a:cubicBezTo>
                      <a:pt x="2434456" y="1874286"/>
                      <a:pt x="2411753" y="1869642"/>
                      <a:pt x="2389566" y="1863966"/>
                    </a:cubicBezTo>
                    <a:cubicBezTo>
                      <a:pt x="2375119" y="1860354"/>
                      <a:pt x="2363767" y="1864482"/>
                      <a:pt x="2354479" y="1874802"/>
                    </a:cubicBezTo>
                    <a:cubicBezTo>
                      <a:pt x="2335389" y="1896989"/>
                      <a:pt x="2320425" y="1922272"/>
                      <a:pt x="2312170" y="1950651"/>
                    </a:cubicBezTo>
                    <a:cubicBezTo>
                      <a:pt x="2308042" y="1964066"/>
                      <a:pt x="2314234" y="1973869"/>
                      <a:pt x="2322489" y="1983157"/>
                    </a:cubicBezTo>
                    <a:cubicBezTo>
                      <a:pt x="2352416" y="2015664"/>
                      <a:pt x="2382858" y="2048170"/>
                      <a:pt x="2412785" y="2080161"/>
                    </a:cubicBezTo>
                    <a:cubicBezTo>
                      <a:pt x="2435488" y="2104412"/>
                      <a:pt x="2436520" y="2118859"/>
                      <a:pt x="2418461" y="2146722"/>
                    </a:cubicBezTo>
                    <a:cubicBezTo>
                      <a:pt x="2417429" y="2148270"/>
                      <a:pt x="2416397" y="2150334"/>
                      <a:pt x="2414849" y="2151882"/>
                    </a:cubicBezTo>
                    <a:cubicBezTo>
                      <a:pt x="2380795" y="2197804"/>
                      <a:pt x="2365831" y="2198320"/>
                      <a:pt x="2324037" y="2174585"/>
                    </a:cubicBezTo>
                    <a:cubicBezTo>
                      <a:pt x="2289982" y="2154978"/>
                      <a:pt x="2253864" y="2137434"/>
                      <a:pt x="2219294" y="2118859"/>
                    </a:cubicBezTo>
                    <a:cubicBezTo>
                      <a:pt x="2204846" y="2111120"/>
                      <a:pt x="2191431" y="2111120"/>
                      <a:pt x="2178531" y="2120407"/>
                    </a:cubicBezTo>
                    <a:cubicBezTo>
                      <a:pt x="2157892" y="2134855"/>
                      <a:pt x="2140349" y="2152398"/>
                      <a:pt x="2125386" y="2172521"/>
                    </a:cubicBezTo>
                    <a:cubicBezTo>
                      <a:pt x="2114550" y="2186968"/>
                      <a:pt x="2114034" y="2201416"/>
                      <a:pt x="2122806" y="2217411"/>
                    </a:cubicBezTo>
                    <a:cubicBezTo>
                      <a:pt x="2143961" y="2256109"/>
                      <a:pt x="2164600" y="2295323"/>
                      <a:pt x="2184723" y="2334538"/>
                    </a:cubicBezTo>
                    <a:cubicBezTo>
                      <a:pt x="2198655" y="2361885"/>
                      <a:pt x="2196591" y="2374268"/>
                      <a:pt x="2174404" y="2395423"/>
                    </a:cubicBezTo>
                    <a:cubicBezTo>
                      <a:pt x="2170792" y="2398519"/>
                      <a:pt x="2167696" y="2402131"/>
                      <a:pt x="2164084" y="2404711"/>
                    </a:cubicBezTo>
                    <a:cubicBezTo>
                      <a:pt x="2131062" y="2428962"/>
                      <a:pt x="2114034" y="2440829"/>
                      <a:pt x="2075336" y="2401615"/>
                    </a:cubicBezTo>
                    <a:cubicBezTo>
                      <a:pt x="2047473" y="2373236"/>
                      <a:pt x="2017547" y="2347953"/>
                      <a:pt x="1988652" y="2320606"/>
                    </a:cubicBezTo>
                    <a:cubicBezTo>
                      <a:pt x="1975236" y="2307707"/>
                      <a:pt x="1960789" y="2305127"/>
                      <a:pt x="1944277" y="2311835"/>
                    </a:cubicBezTo>
                    <a:cubicBezTo>
                      <a:pt x="1922607" y="2320606"/>
                      <a:pt x="1901968" y="2331958"/>
                      <a:pt x="1883392" y="2346405"/>
                    </a:cubicBezTo>
                    <a:cubicBezTo>
                      <a:pt x="1867913" y="2358273"/>
                      <a:pt x="1863785" y="2373236"/>
                      <a:pt x="1868429" y="2391811"/>
                    </a:cubicBezTo>
                    <a:cubicBezTo>
                      <a:pt x="1879264" y="2436701"/>
                      <a:pt x="1889584" y="2482107"/>
                      <a:pt x="1899388" y="2526997"/>
                    </a:cubicBezTo>
                    <a:cubicBezTo>
                      <a:pt x="1903516" y="2546604"/>
                      <a:pt x="1896808" y="2561568"/>
                      <a:pt x="1879264" y="2571887"/>
                    </a:cubicBezTo>
                    <a:cubicBezTo>
                      <a:pt x="1867397" y="2579111"/>
                      <a:pt x="1854498" y="2584787"/>
                      <a:pt x="1841082" y="2588915"/>
                    </a:cubicBezTo>
                    <a:cubicBezTo>
                      <a:pt x="1813736" y="2597686"/>
                      <a:pt x="1798256" y="2592526"/>
                      <a:pt x="1782777" y="2568276"/>
                    </a:cubicBezTo>
                    <a:cubicBezTo>
                      <a:pt x="1760074" y="2532157"/>
                      <a:pt x="1736855" y="2496555"/>
                      <a:pt x="1715184" y="2459404"/>
                    </a:cubicBezTo>
                    <a:cubicBezTo>
                      <a:pt x="1703316" y="2439281"/>
                      <a:pt x="1687837" y="2431542"/>
                      <a:pt x="1664618" y="2435669"/>
                    </a:cubicBezTo>
                    <a:cubicBezTo>
                      <a:pt x="1646043" y="2439281"/>
                      <a:pt x="1627984" y="2443925"/>
                      <a:pt x="1610440" y="2450117"/>
                    </a:cubicBezTo>
                    <a:cubicBezTo>
                      <a:pt x="1586190" y="2458888"/>
                      <a:pt x="1578450" y="2469208"/>
                      <a:pt x="1577418" y="2495007"/>
                    </a:cubicBezTo>
                    <a:cubicBezTo>
                      <a:pt x="1575870" y="2535769"/>
                      <a:pt x="1574838" y="2576015"/>
                      <a:pt x="1573806" y="2616777"/>
                    </a:cubicBezTo>
                    <a:cubicBezTo>
                      <a:pt x="1572774" y="2653928"/>
                      <a:pt x="1563487" y="2665795"/>
                      <a:pt x="1526852" y="2672503"/>
                    </a:cubicBezTo>
                    <a:cubicBezTo>
                      <a:pt x="1517049" y="2674567"/>
                      <a:pt x="1507245" y="2675599"/>
                      <a:pt x="1497441" y="2676115"/>
                    </a:cubicBezTo>
                    <a:cubicBezTo>
                      <a:pt x="1473191" y="2677663"/>
                      <a:pt x="1457711" y="2667859"/>
                      <a:pt x="1449972" y="2644124"/>
                    </a:cubicBezTo>
                    <a:cubicBezTo>
                      <a:pt x="1436040" y="2600782"/>
                      <a:pt x="1422624" y="2557956"/>
                      <a:pt x="1410241" y="2514614"/>
                    </a:cubicBezTo>
                    <a:cubicBezTo>
                      <a:pt x="1404565" y="2495007"/>
                      <a:pt x="1392698" y="2485719"/>
                      <a:pt x="1373091" y="2482623"/>
                    </a:cubicBezTo>
                    <a:cubicBezTo>
                      <a:pt x="1350388" y="2479527"/>
                      <a:pt x="1327685" y="2479527"/>
                      <a:pt x="1304982" y="2483139"/>
                    </a:cubicBezTo>
                    <a:cubicBezTo>
                      <a:pt x="1287955" y="2485719"/>
                      <a:pt x="1277119" y="2494491"/>
                      <a:pt x="1271959" y="2511518"/>
                    </a:cubicBezTo>
                    <a:cubicBezTo>
                      <a:pt x="1260092" y="2552280"/>
                      <a:pt x="1247192" y="2593042"/>
                      <a:pt x="1234293" y="2633805"/>
                    </a:cubicBezTo>
                    <a:cubicBezTo>
                      <a:pt x="1222941" y="2670439"/>
                      <a:pt x="1208494" y="2679727"/>
                      <a:pt x="1170828" y="2674567"/>
                    </a:cubicBezTo>
                    <a:cubicBezTo>
                      <a:pt x="1114070" y="2666827"/>
                      <a:pt x="1107362" y="2659087"/>
                      <a:pt x="1106847" y="2602330"/>
                    </a:cubicBezTo>
                    <a:cubicBezTo>
                      <a:pt x="1106331" y="2565180"/>
                      <a:pt x="1104783" y="2528545"/>
                      <a:pt x="1103751" y="2491395"/>
                    </a:cubicBezTo>
                    <a:cubicBezTo>
                      <a:pt x="1103234" y="2474368"/>
                      <a:pt x="1096527" y="2460952"/>
                      <a:pt x="1080532" y="2454244"/>
                    </a:cubicBezTo>
                    <a:cubicBezTo>
                      <a:pt x="1056281" y="2443925"/>
                      <a:pt x="1031514" y="2436701"/>
                      <a:pt x="1005199" y="2435153"/>
                    </a:cubicBezTo>
                    <a:cubicBezTo>
                      <a:pt x="989203" y="2434121"/>
                      <a:pt x="977852" y="2440313"/>
                      <a:pt x="969080" y="2454244"/>
                    </a:cubicBezTo>
                    <a:cubicBezTo>
                      <a:pt x="946894" y="2491395"/>
                      <a:pt x="923159" y="2527513"/>
                      <a:pt x="900456" y="2564148"/>
                    </a:cubicBezTo>
                    <a:cubicBezTo>
                      <a:pt x="882396" y="2593042"/>
                      <a:pt x="868465" y="2598202"/>
                      <a:pt x="836474" y="2587367"/>
                    </a:cubicBezTo>
                    <a:cubicBezTo>
                      <a:pt x="834926" y="2586851"/>
                      <a:pt x="833379" y="2586335"/>
                      <a:pt x="831830" y="2585819"/>
                    </a:cubicBezTo>
                    <a:cubicBezTo>
                      <a:pt x="782297" y="2565696"/>
                      <a:pt x="772493" y="2554344"/>
                      <a:pt x="785392" y="2504810"/>
                    </a:cubicBezTo>
                    <a:cubicBezTo>
                      <a:pt x="795196" y="2467144"/>
                      <a:pt x="802420" y="2428962"/>
                      <a:pt x="811707" y="2390779"/>
                    </a:cubicBezTo>
                    <a:cubicBezTo>
                      <a:pt x="816351" y="2371172"/>
                      <a:pt x="811191" y="2356209"/>
                      <a:pt x="794680" y="2344341"/>
                    </a:cubicBezTo>
                    <a:cubicBezTo>
                      <a:pt x="777137" y="2331958"/>
                      <a:pt x="759078" y="2321122"/>
                      <a:pt x="739470" y="2312351"/>
                    </a:cubicBezTo>
                    <a:cubicBezTo>
                      <a:pt x="720895" y="2304095"/>
                      <a:pt x="704900" y="2307191"/>
                      <a:pt x="689421" y="2321638"/>
                    </a:cubicBezTo>
                    <a:cubicBezTo>
                      <a:pt x="658462" y="2351049"/>
                      <a:pt x="626988" y="2379944"/>
                      <a:pt x="596029" y="2408838"/>
                    </a:cubicBezTo>
                    <a:cubicBezTo>
                      <a:pt x="572810" y="2431026"/>
                      <a:pt x="557847" y="2432057"/>
                      <a:pt x="530500" y="2415030"/>
                    </a:cubicBezTo>
                    <a:cubicBezTo>
                      <a:pt x="527404" y="2412966"/>
                      <a:pt x="524308" y="2410902"/>
                      <a:pt x="521212" y="2408838"/>
                    </a:cubicBezTo>
                    <a:cubicBezTo>
                      <a:pt x="481482" y="2380460"/>
                      <a:pt x="477870" y="2365496"/>
                      <a:pt x="500573" y="2322670"/>
                    </a:cubicBezTo>
                    <a:cubicBezTo>
                      <a:pt x="519148" y="2287584"/>
                      <a:pt x="537207" y="2252497"/>
                      <a:pt x="556298" y="2217927"/>
                    </a:cubicBezTo>
                    <a:cubicBezTo>
                      <a:pt x="566102" y="2199868"/>
                      <a:pt x="564555" y="2184388"/>
                      <a:pt x="552171" y="2168909"/>
                    </a:cubicBezTo>
                    <a:cubicBezTo>
                      <a:pt x="538756" y="2151882"/>
                      <a:pt x="523276" y="2136402"/>
                      <a:pt x="505733" y="2122987"/>
                    </a:cubicBezTo>
                    <a:cubicBezTo>
                      <a:pt x="490254" y="2111120"/>
                      <a:pt x="474774" y="2110088"/>
                      <a:pt x="457747" y="2119375"/>
                    </a:cubicBezTo>
                    <a:cubicBezTo>
                      <a:pt x="419564" y="2140014"/>
                      <a:pt x="380866" y="2160653"/>
                      <a:pt x="341652" y="2180777"/>
                    </a:cubicBezTo>
                    <a:cubicBezTo>
                      <a:pt x="314305" y="2195224"/>
                      <a:pt x="298310" y="2191612"/>
                      <a:pt x="278187" y="2168909"/>
                    </a:cubicBezTo>
                    <a:cubicBezTo>
                      <a:pt x="276639" y="2167361"/>
                      <a:pt x="275607" y="2165813"/>
                      <a:pt x="274059" y="2164265"/>
                    </a:cubicBezTo>
                    <a:cubicBezTo>
                      <a:pt x="238456" y="2122987"/>
                      <a:pt x="238972" y="2108540"/>
                      <a:pt x="276639" y="2069325"/>
                    </a:cubicBezTo>
                    <a:cubicBezTo>
                      <a:pt x="302954" y="2041463"/>
                      <a:pt x="327721" y="2013084"/>
                      <a:pt x="354551" y="1986253"/>
                    </a:cubicBezTo>
                    <a:cubicBezTo>
                      <a:pt x="367967" y="1972322"/>
                      <a:pt x="370547" y="1957874"/>
                      <a:pt x="363839" y="1940847"/>
                    </a:cubicBezTo>
                    <a:cubicBezTo>
                      <a:pt x="355067" y="1918660"/>
                      <a:pt x="342684" y="1898021"/>
                      <a:pt x="328237" y="1878930"/>
                    </a:cubicBezTo>
                    <a:cubicBezTo>
                      <a:pt x="316369" y="1863450"/>
                      <a:pt x="300374" y="1861902"/>
                      <a:pt x="283347" y="1866030"/>
                    </a:cubicBezTo>
                    <a:cubicBezTo>
                      <a:pt x="245680" y="1874802"/>
                      <a:pt x="208530" y="1883573"/>
                      <a:pt x="170864" y="1891829"/>
                    </a:cubicBezTo>
                    <a:cubicBezTo>
                      <a:pt x="165704" y="1892861"/>
                      <a:pt x="160544" y="1894409"/>
                      <a:pt x="155900" y="1895441"/>
                    </a:cubicBezTo>
                    <a:cubicBezTo>
                      <a:pt x="127521" y="1900601"/>
                      <a:pt x="113074" y="1893893"/>
                      <a:pt x="100175" y="1868094"/>
                    </a:cubicBezTo>
                    <a:cubicBezTo>
                      <a:pt x="95531" y="1858291"/>
                      <a:pt x="90887" y="1848487"/>
                      <a:pt x="87275" y="1838168"/>
                    </a:cubicBezTo>
                    <a:cubicBezTo>
                      <a:pt x="77988" y="1810821"/>
                      <a:pt x="83147" y="1795341"/>
                      <a:pt x="107915" y="1779862"/>
                    </a:cubicBezTo>
                    <a:cubicBezTo>
                      <a:pt x="143001" y="1757675"/>
                      <a:pt x="178603" y="1735488"/>
                      <a:pt x="213690" y="1713817"/>
                    </a:cubicBezTo>
                    <a:cubicBezTo>
                      <a:pt x="241552" y="1696274"/>
                      <a:pt x="245680" y="1686470"/>
                      <a:pt x="238972" y="1654480"/>
                    </a:cubicBezTo>
                    <a:cubicBezTo>
                      <a:pt x="234845" y="1636420"/>
                      <a:pt x="230201" y="1617845"/>
                      <a:pt x="222977" y="1600818"/>
                    </a:cubicBezTo>
                    <a:cubicBezTo>
                      <a:pt x="215753" y="1583791"/>
                      <a:pt x="203370" y="1575535"/>
                      <a:pt x="184279" y="1575019"/>
                    </a:cubicBezTo>
                    <a:cubicBezTo>
                      <a:pt x="142485" y="1574503"/>
                      <a:pt x="101207" y="1572955"/>
                      <a:pt x="59413" y="1571407"/>
                    </a:cubicBezTo>
                    <a:cubicBezTo>
                      <a:pt x="21746" y="1570375"/>
                      <a:pt x="10395" y="1560572"/>
                      <a:pt x="3687" y="1524453"/>
                    </a:cubicBezTo>
                    <a:cubicBezTo>
                      <a:pt x="3171" y="1520841"/>
                      <a:pt x="2139" y="1517230"/>
                      <a:pt x="1623" y="1513618"/>
                    </a:cubicBezTo>
                    <a:cubicBezTo>
                      <a:pt x="-4053" y="1467696"/>
                      <a:pt x="3687" y="1455828"/>
                      <a:pt x="48577" y="1442413"/>
                    </a:cubicBezTo>
                    <a:cubicBezTo>
                      <a:pt x="85727" y="1431061"/>
                      <a:pt x="122877" y="1418678"/>
                      <a:pt x="160544" y="1408358"/>
                    </a:cubicBezTo>
                    <a:cubicBezTo>
                      <a:pt x="181183" y="1402683"/>
                      <a:pt x="192018" y="1390815"/>
                      <a:pt x="194083" y="1370692"/>
                    </a:cubicBezTo>
                    <a:cubicBezTo>
                      <a:pt x="196147" y="1346957"/>
                      <a:pt x="197178" y="1322706"/>
                      <a:pt x="192534" y="1298971"/>
                    </a:cubicBezTo>
                    <a:cubicBezTo>
                      <a:pt x="189954" y="1283492"/>
                      <a:pt x="181183" y="1274204"/>
                      <a:pt x="166220" y="1269560"/>
                    </a:cubicBezTo>
                    <a:cubicBezTo>
                      <a:pt x="126490" y="1257693"/>
                      <a:pt x="86759" y="1245310"/>
                      <a:pt x="47029" y="1232926"/>
                    </a:cubicBezTo>
                    <a:cubicBezTo>
                      <a:pt x="3687" y="1219511"/>
                      <a:pt x="-957" y="1212287"/>
                      <a:pt x="1623" y="1166881"/>
                    </a:cubicBezTo>
                    <a:cubicBezTo>
                      <a:pt x="2139" y="1157593"/>
                      <a:pt x="4203" y="1148306"/>
                      <a:pt x="6267" y="1139534"/>
                    </a:cubicBezTo>
                    <a:cubicBezTo>
                      <a:pt x="12459" y="1116831"/>
                      <a:pt x="25358" y="1106512"/>
                      <a:pt x="49093" y="1105480"/>
                    </a:cubicBezTo>
                    <a:cubicBezTo>
                      <a:pt x="87791" y="1103932"/>
                      <a:pt x="125974" y="1102900"/>
                      <a:pt x="164672" y="1101868"/>
                    </a:cubicBezTo>
                    <a:cubicBezTo>
                      <a:pt x="170348" y="1101868"/>
                      <a:pt x="176023" y="1101352"/>
                      <a:pt x="181699" y="1101352"/>
                    </a:cubicBezTo>
                    <a:cubicBezTo>
                      <a:pt x="207498" y="1102384"/>
                      <a:pt x="220913" y="1087936"/>
                      <a:pt x="227621" y="1065233"/>
                    </a:cubicBezTo>
                    <a:cubicBezTo>
                      <a:pt x="232781" y="1048206"/>
                      <a:pt x="237425" y="1031179"/>
                      <a:pt x="241036" y="1014152"/>
                    </a:cubicBezTo>
                    <a:cubicBezTo>
                      <a:pt x="245680" y="990417"/>
                      <a:pt x="240005" y="979065"/>
                      <a:pt x="219366" y="965650"/>
                    </a:cubicBezTo>
                    <a:cubicBezTo>
                      <a:pt x="184279" y="943463"/>
                      <a:pt x="148676" y="921276"/>
                      <a:pt x="113590" y="899605"/>
                    </a:cubicBezTo>
                    <a:cubicBezTo>
                      <a:pt x="82116" y="879997"/>
                      <a:pt x="77472" y="867614"/>
                      <a:pt x="89855" y="832012"/>
                    </a:cubicBezTo>
                    <a:cubicBezTo>
                      <a:pt x="93467" y="820660"/>
                      <a:pt x="98111" y="809309"/>
                      <a:pt x="104818" y="799505"/>
                    </a:cubicBezTo>
                    <a:cubicBezTo>
                      <a:pt x="115654" y="782994"/>
                      <a:pt x="130617" y="774738"/>
                      <a:pt x="151256" y="779898"/>
                    </a:cubicBezTo>
                    <a:cubicBezTo>
                      <a:pt x="195114" y="790217"/>
                      <a:pt x="239489" y="799505"/>
                      <a:pt x="283347" y="810341"/>
                    </a:cubicBezTo>
                    <a:cubicBezTo>
                      <a:pt x="303469" y="815500"/>
                      <a:pt x="318949" y="810857"/>
                      <a:pt x="331332" y="794345"/>
                    </a:cubicBezTo>
                    <a:cubicBezTo>
                      <a:pt x="344232" y="776802"/>
                      <a:pt x="355584" y="757711"/>
                      <a:pt x="363839" y="737588"/>
                    </a:cubicBezTo>
                    <a:cubicBezTo>
                      <a:pt x="371063" y="719529"/>
                      <a:pt x="368999" y="704049"/>
                      <a:pt x="354551" y="689086"/>
                    </a:cubicBezTo>
                    <a:cubicBezTo>
                      <a:pt x="324625" y="658643"/>
                      <a:pt x="296246" y="627169"/>
                      <a:pt x="266835" y="595694"/>
                    </a:cubicBezTo>
                    <a:cubicBezTo>
                      <a:pt x="244132" y="570927"/>
                      <a:pt x="243100" y="556996"/>
                      <a:pt x="261675" y="529133"/>
                    </a:cubicBezTo>
                    <a:cubicBezTo>
                      <a:pt x="264771" y="525005"/>
                      <a:pt x="267351" y="520361"/>
                      <a:pt x="270447" y="516233"/>
                    </a:cubicBezTo>
                    <a:cubicBezTo>
                      <a:pt x="296762" y="481663"/>
                      <a:pt x="311209" y="478567"/>
                      <a:pt x="349907" y="498690"/>
                    </a:cubicBezTo>
                    <a:cubicBezTo>
                      <a:pt x="386026" y="517781"/>
                      <a:pt x="422144" y="536357"/>
                      <a:pt x="457231" y="555964"/>
                    </a:cubicBezTo>
                    <a:cubicBezTo>
                      <a:pt x="475806" y="566283"/>
                      <a:pt x="492318" y="564219"/>
                      <a:pt x="507797" y="551320"/>
                    </a:cubicBezTo>
                    <a:cubicBezTo>
                      <a:pt x="523276" y="538421"/>
                      <a:pt x="537723" y="523973"/>
                      <a:pt x="551139" y="508494"/>
                    </a:cubicBezTo>
                    <a:cubicBezTo>
                      <a:pt x="564555" y="492499"/>
                      <a:pt x="567650" y="476503"/>
                      <a:pt x="556815" y="456896"/>
                    </a:cubicBezTo>
                    <a:cubicBezTo>
                      <a:pt x="535143" y="418198"/>
                      <a:pt x="515020" y="378983"/>
                      <a:pt x="494381" y="339769"/>
                    </a:cubicBezTo>
                    <a:cubicBezTo>
                      <a:pt x="480966" y="313970"/>
                      <a:pt x="484062" y="300039"/>
                      <a:pt x="505217" y="280432"/>
                    </a:cubicBezTo>
                    <a:cubicBezTo>
                      <a:pt x="515020" y="271144"/>
                      <a:pt x="525856" y="263405"/>
                      <a:pt x="537723" y="256181"/>
                    </a:cubicBezTo>
                    <a:cubicBezTo>
                      <a:pt x="558362" y="244313"/>
                      <a:pt x="572810" y="245861"/>
                      <a:pt x="590353" y="261857"/>
                    </a:cubicBezTo>
                    <a:cubicBezTo>
                      <a:pt x="620280" y="289203"/>
                      <a:pt x="650207" y="317066"/>
                      <a:pt x="679617" y="344929"/>
                    </a:cubicBezTo>
                    <a:cubicBezTo>
                      <a:pt x="710576" y="374340"/>
                      <a:pt x="717284" y="375372"/>
                      <a:pt x="754950" y="355765"/>
                    </a:cubicBezTo>
                    <a:cubicBezTo>
                      <a:pt x="769913" y="348025"/>
                      <a:pt x="783845" y="339769"/>
                      <a:pt x="797260" y="329450"/>
                    </a:cubicBezTo>
                    <a:cubicBezTo>
                      <a:pt x="811707" y="317582"/>
                      <a:pt x="816351" y="303651"/>
                      <a:pt x="811707" y="285076"/>
                    </a:cubicBezTo>
                    <a:cubicBezTo>
                      <a:pt x="800872" y="242249"/>
                      <a:pt x="791585" y="198907"/>
                      <a:pt x="781781" y="156081"/>
                    </a:cubicBezTo>
                    <a:cubicBezTo>
                      <a:pt x="775589" y="128218"/>
                      <a:pt x="782297" y="114287"/>
                      <a:pt x="807064" y="100872"/>
                    </a:cubicBezTo>
                    <a:cubicBezTo>
                      <a:pt x="818415" y="95196"/>
                      <a:pt x="829766" y="90552"/>
                      <a:pt x="841634" y="86424"/>
                    </a:cubicBezTo>
                    <a:cubicBezTo>
                      <a:pt x="866917" y="78685"/>
                      <a:pt x="881364" y="83328"/>
                      <a:pt x="896328" y="106031"/>
                    </a:cubicBezTo>
                    <a:cubicBezTo>
                      <a:pt x="920062" y="142666"/>
                      <a:pt x="943798" y="179300"/>
                      <a:pt x="965469" y="217483"/>
                    </a:cubicBezTo>
                    <a:cubicBezTo>
                      <a:pt x="976820" y="237090"/>
                      <a:pt x="992299" y="243797"/>
                      <a:pt x="1013455" y="240702"/>
                    </a:cubicBezTo>
                    <a:cubicBezTo>
                      <a:pt x="1035641" y="237090"/>
                      <a:pt x="1057313" y="231414"/>
                      <a:pt x="1077952" y="222642"/>
                    </a:cubicBezTo>
                    <a:cubicBezTo>
                      <a:pt x="1092915" y="215935"/>
                      <a:pt x="1101171" y="205615"/>
                      <a:pt x="1101687" y="188072"/>
                    </a:cubicBezTo>
                    <a:cubicBezTo>
                      <a:pt x="1102719" y="143182"/>
                      <a:pt x="1105298" y="98808"/>
                      <a:pt x="1106847" y="53918"/>
                    </a:cubicBezTo>
                    <a:cubicBezTo>
                      <a:pt x="1107878" y="25023"/>
                      <a:pt x="1117166" y="12640"/>
                      <a:pt x="1145029" y="4900"/>
                    </a:cubicBezTo>
                    <a:cubicBezTo>
                      <a:pt x="1149672" y="3868"/>
                      <a:pt x="1154316" y="2320"/>
                      <a:pt x="1158960" y="1804"/>
                    </a:cubicBezTo>
                    <a:cubicBezTo>
                      <a:pt x="1210042" y="-3872"/>
                      <a:pt x="1222426" y="1804"/>
                      <a:pt x="1235841" y="48758"/>
                    </a:cubicBezTo>
                    <a:cubicBezTo>
                      <a:pt x="1246676" y="86940"/>
                      <a:pt x="1259576" y="124091"/>
                      <a:pt x="1269895" y="162273"/>
                    </a:cubicBezTo>
                    <a:cubicBezTo>
                      <a:pt x="1275055" y="180332"/>
                      <a:pt x="1285890" y="190136"/>
                      <a:pt x="1303434" y="192716"/>
                    </a:cubicBezTo>
                    <a:cubicBezTo>
                      <a:pt x="1327685" y="195812"/>
                      <a:pt x="1352452" y="195812"/>
                      <a:pt x="1376702" y="192716"/>
                    </a:cubicBezTo>
                    <a:cubicBezTo>
                      <a:pt x="1393730" y="190652"/>
                      <a:pt x="1404049" y="180332"/>
                      <a:pt x="1409209" y="163305"/>
                    </a:cubicBezTo>
                    <a:cubicBezTo>
                      <a:pt x="1421593" y="121511"/>
                      <a:pt x="1434492" y="79717"/>
                      <a:pt x="1447392" y="37922"/>
                    </a:cubicBezTo>
                    <a:cubicBezTo>
                      <a:pt x="1457195" y="6964"/>
                      <a:pt x="1466998" y="-260"/>
                      <a:pt x="1499505" y="256"/>
                    </a:cubicBezTo>
                    <a:cubicBezTo>
                      <a:pt x="1504149" y="256"/>
                      <a:pt x="1508793" y="256"/>
                      <a:pt x="1513436" y="772"/>
                    </a:cubicBezTo>
                    <a:cubicBezTo>
                      <a:pt x="1559358" y="5416"/>
                      <a:pt x="1572258" y="19347"/>
                      <a:pt x="1573290" y="65269"/>
                    </a:cubicBezTo>
                    <a:cubicBezTo>
                      <a:pt x="1574322" y="105515"/>
                      <a:pt x="1575870" y="145246"/>
                      <a:pt x="1576902" y="185492"/>
                    </a:cubicBezTo>
                    <a:cubicBezTo>
                      <a:pt x="1577418" y="201487"/>
                      <a:pt x="1583093" y="213871"/>
                      <a:pt x="1598057" y="220578"/>
                    </a:cubicBezTo>
                    <a:cubicBezTo>
                      <a:pt x="1622308" y="231414"/>
                      <a:pt x="1647590" y="238638"/>
                      <a:pt x="1674422" y="240702"/>
                    </a:cubicBezTo>
                    <a:cubicBezTo>
                      <a:pt x="1690933" y="241733"/>
                      <a:pt x="1702285" y="235026"/>
                      <a:pt x="1710540" y="221610"/>
                    </a:cubicBezTo>
                    <a:cubicBezTo>
                      <a:pt x="1733243" y="184976"/>
                      <a:pt x="1756462" y="148342"/>
                      <a:pt x="1779165" y="111707"/>
                    </a:cubicBezTo>
                    <a:cubicBezTo>
                      <a:pt x="1798772" y="80749"/>
                      <a:pt x="1810640" y="76621"/>
                      <a:pt x="1845726" y="88488"/>
                    </a:cubicBezTo>
                    <a:cubicBezTo>
                      <a:pt x="1849854" y="90036"/>
                      <a:pt x="1853466" y="91068"/>
                      <a:pt x="1857594" y="92616"/>
                    </a:cubicBezTo>
                    <a:cubicBezTo>
                      <a:pt x="1898356" y="110159"/>
                      <a:pt x="1905063" y="123059"/>
                      <a:pt x="1895260" y="166401"/>
                    </a:cubicBezTo>
                    <a:cubicBezTo>
                      <a:pt x="1886488" y="205099"/>
                      <a:pt x="1877717" y="243281"/>
                      <a:pt x="1868429" y="281980"/>
                    </a:cubicBezTo>
                    <a:cubicBezTo>
                      <a:pt x="1863269" y="303135"/>
                      <a:pt x="1868429" y="319646"/>
                      <a:pt x="1887004" y="332030"/>
                    </a:cubicBezTo>
                    <a:cubicBezTo>
                      <a:pt x="1906096" y="344929"/>
                      <a:pt x="1925187" y="356796"/>
                      <a:pt x="1946857" y="365052"/>
                    </a:cubicBezTo>
                    <a:cubicBezTo>
                      <a:pt x="1962337" y="370728"/>
                      <a:pt x="1974720" y="367116"/>
                      <a:pt x="1986588" y="355765"/>
                    </a:cubicBezTo>
                    <a:cubicBezTo>
                      <a:pt x="2018062" y="325838"/>
                      <a:pt x="2049537" y="296943"/>
                      <a:pt x="2081528" y="267532"/>
                    </a:cubicBezTo>
                    <a:cubicBezTo>
                      <a:pt x="2107843" y="242765"/>
                      <a:pt x="2122290" y="241733"/>
                      <a:pt x="2151701" y="261857"/>
                    </a:cubicBezTo>
                    <a:cubicBezTo>
                      <a:pt x="2153248" y="262889"/>
                      <a:pt x="2154281" y="263405"/>
                      <a:pt x="2155312" y="264437"/>
                    </a:cubicBezTo>
                    <a:cubicBezTo>
                      <a:pt x="2205363" y="300555"/>
                      <a:pt x="2198139" y="316034"/>
                      <a:pt x="2177500" y="353701"/>
                    </a:cubicBezTo>
                    <a:cubicBezTo>
                      <a:pt x="2158925" y="387755"/>
                      <a:pt x="2141381" y="422842"/>
                      <a:pt x="2122290" y="456896"/>
                    </a:cubicBezTo>
                    <a:cubicBezTo>
                      <a:pt x="2112487" y="474955"/>
                      <a:pt x="2114550" y="490435"/>
                      <a:pt x="2126934" y="505914"/>
                    </a:cubicBezTo>
                    <a:cubicBezTo>
                      <a:pt x="2140865" y="522941"/>
                      <a:pt x="2156345" y="538421"/>
                      <a:pt x="2173372" y="551836"/>
                    </a:cubicBezTo>
                    <a:cubicBezTo>
                      <a:pt x="2187819" y="563187"/>
                      <a:pt x="2202783" y="564735"/>
                      <a:pt x="2219810" y="555964"/>
                    </a:cubicBezTo>
                    <a:cubicBezTo>
                      <a:pt x="2258508" y="534809"/>
                      <a:pt x="2297722" y="514170"/>
                      <a:pt x="2336937" y="494046"/>
                    </a:cubicBezTo>
                    <a:cubicBezTo>
                      <a:pt x="2364799" y="479599"/>
                      <a:pt x="2380795" y="482695"/>
                      <a:pt x="2400917" y="507462"/>
                    </a:cubicBezTo>
                    <a:cubicBezTo>
                      <a:pt x="2408141" y="515717"/>
                      <a:pt x="2414849" y="524489"/>
                      <a:pt x="2420525" y="533777"/>
                    </a:cubicBezTo>
                    <a:cubicBezTo>
                      <a:pt x="2434972" y="556480"/>
                      <a:pt x="2433424" y="571443"/>
                      <a:pt x="2415365" y="591566"/>
                    </a:cubicBezTo>
                    <a:cubicBezTo>
                      <a:pt x="2384406" y="625105"/>
                      <a:pt x="2353448" y="659159"/>
                      <a:pt x="2321973" y="692182"/>
                    </a:cubicBezTo>
                    <a:cubicBezTo>
                      <a:pt x="2310106" y="704565"/>
                      <a:pt x="2307526" y="717981"/>
                      <a:pt x="2313718" y="733460"/>
                    </a:cubicBezTo>
                    <a:cubicBezTo>
                      <a:pt x="2323005" y="755647"/>
                      <a:pt x="2334357" y="776286"/>
                      <a:pt x="2349320" y="795377"/>
                    </a:cubicBezTo>
                    <a:cubicBezTo>
                      <a:pt x="2361187" y="810857"/>
                      <a:pt x="2375635" y="814984"/>
                      <a:pt x="2394726" y="810341"/>
                    </a:cubicBezTo>
                    <a:cubicBezTo>
                      <a:pt x="2438584" y="799505"/>
                      <a:pt x="2482958" y="789701"/>
                      <a:pt x="2526816" y="780414"/>
                    </a:cubicBezTo>
                    <a:cubicBezTo>
                      <a:pt x="2550035" y="775254"/>
                      <a:pt x="2563967" y="781962"/>
                      <a:pt x="2575834" y="803117"/>
                    </a:cubicBezTo>
                    <a:cubicBezTo>
                      <a:pt x="2582026" y="814468"/>
                      <a:pt x="2587186" y="826336"/>
                      <a:pt x="2591313" y="838719"/>
                    </a:cubicBezTo>
                    <a:cubicBezTo>
                      <a:pt x="2600085" y="867098"/>
                      <a:pt x="2595441" y="880514"/>
                      <a:pt x="2570158" y="896509"/>
                    </a:cubicBezTo>
                    <a:cubicBezTo>
                      <a:pt x="2534040" y="919212"/>
                      <a:pt x="2498437" y="942947"/>
                      <a:pt x="2461287" y="964102"/>
                    </a:cubicBezTo>
                    <a:cubicBezTo>
                      <a:pt x="2440132" y="976485"/>
                      <a:pt x="2434456" y="992997"/>
                      <a:pt x="2438068" y="1014668"/>
                    </a:cubicBezTo>
                    <a:cubicBezTo>
                      <a:pt x="2441164" y="1034791"/>
                      <a:pt x="2446840" y="1054398"/>
                      <a:pt x="2454063" y="1073489"/>
                    </a:cubicBezTo>
                    <a:cubicBezTo>
                      <a:pt x="2460771" y="1091032"/>
                      <a:pt x="2472638" y="1100320"/>
                      <a:pt x="2492762" y="1100836"/>
                    </a:cubicBezTo>
                    <a:cubicBezTo>
                      <a:pt x="2538168" y="1101352"/>
                      <a:pt x="2583058" y="1104448"/>
                      <a:pt x="2628464" y="1105996"/>
                    </a:cubicBezTo>
                    <a:cubicBezTo>
                      <a:pt x="2653230" y="1107028"/>
                      <a:pt x="2665614" y="1116831"/>
                      <a:pt x="2672322" y="1140566"/>
                    </a:cubicBezTo>
                    <a:cubicBezTo>
                      <a:pt x="2676449" y="1153982"/>
                      <a:pt x="2677998" y="1167913"/>
                      <a:pt x="2677998" y="1182360"/>
                    </a:cubicBezTo>
                    <a:cubicBezTo>
                      <a:pt x="2677998" y="1210223"/>
                      <a:pt x="2670258" y="1221575"/>
                      <a:pt x="2644459" y="1229830"/>
                    </a:cubicBezTo>
                    <a:cubicBezTo>
                      <a:pt x="2603697" y="1242730"/>
                      <a:pt x="2562934" y="1255113"/>
                      <a:pt x="2522172" y="1267497"/>
                    </a:cubicBezTo>
                    <a:cubicBezTo>
                      <a:pt x="2492762" y="1276268"/>
                      <a:pt x="2485022" y="1285556"/>
                      <a:pt x="2483990" y="1315998"/>
                    </a:cubicBezTo>
                    <a:cubicBezTo>
                      <a:pt x="2483474" y="1337153"/>
                      <a:pt x="2481926" y="1358824"/>
                      <a:pt x="2486570" y="1379980"/>
                    </a:cubicBezTo>
                    <a:cubicBezTo>
                      <a:pt x="2489666" y="1394427"/>
                      <a:pt x="2498437" y="1403199"/>
                      <a:pt x="2512885" y="1407842"/>
                    </a:cubicBezTo>
                    <a:cubicBezTo>
                      <a:pt x="2555711" y="1420742"/>
                      <a:pt x="2598537" y="1433641"/>
                      <a:pt x="2641363" y="1447057"/>
                    </a:cubicBezTo>
                    <a:cubicBezTo>
                      <a:pt x="2671290" y="1456344"/>
                      <a:pt x="2678514" y="1466664"/>
                      <a:pt x="2677998" y="1498138"/>
                    </a:cubicBezTo>
                    <a:cubicBezTo>
                      <a:pt x="2677998" y="1501234"/>
                      <a:pt x="2677998" y="1504330"/>
                      <a:pt x="2677998" y="1507426"/>
                    </a:cubicBezTo>
                    <a:cubicBezTo>
                      <a:pt x="2675934" y="1555928"/>
                      <a:pt x="2660454" y="1571407"/>
                      <a:pt x="2611952" y="1572955"/>
                    </a:cubicBezTo>
                    <a:cubicBezTo>
                      <a:pt x="2571190" y="1573987"/>
                      <a:pt x="2530944" y="1576051"/>
                      <a:pt x="2490182" y="1576567"/>
                    </a:cubicBezTo>
                    <a:cubicBezTo>
                      <a:pt x="2474702" y="1577083"/>
                      <a:pt x="2463867" y="1583791"/>
                      <a:pt x="2457675" y="1596690"/>
                    </a:cubicBezTo>
                    <a:cubicBezTo>
                      <a:pt x="2446324" y="1620941"/>
                      <a:pt x="2439100" y="1646224"/>
                      <a:pt x="2437036" y="1673055"/>
                    </a:cubicBezTo>
                    <a:cubicBezTo>
                      <a:pt x="2435488" y="1690082"/>
                      <a:pt x="2442712" y="1701434"/>
                      <a:pt x="2457159" y="1710205"/>
                    </a:cubicBezTo>
                    <a:cubicBezTo>
                      <a:pt x="2493278" y="1732392"/>
                      <a:pt x="2528880" y="1754579"/>
                      <a:pt x="2564483" y="1777282"/>
                    </a:cubicBezTo>
                    <a:cubicBezTo>
                      <a:pt x="2596989" y="1797405"/>
                      <a:pt x="2601117" y="1809789"/>
                      <a:pt x="2588733" y="1845907"/>
                    </a:cubicBezTo>
                    <a:cubicBezTo>
                      <a:pt x="2584606" y="1858291"/>
                      <a:pt x="2578930" y="1870158"/>
                      <a:pt x="2571706" y="1880994"/>
                    </a:cubicBezTo>
                    <a:cubicBezTo>
                      <a:pt x="2564998" y="1890797"/>
                      <a:pt x="2554163" y="1897505"/>
                      <a:pt x="2538684" y="1897505"/>
                    </a:cubicBezTo>
                    <a:close/>
                    <a:moveTo>
                      <a:pt x="1338521" y="2312867"/>
                    </a:moveTo>
                    <a:cubicBezTo>
                      <a:pt x="1869461" y="2314931"/>
                      <a:pt x="2317329" y="1887701"/>
                      <a:pt x="2316814" y="1335605"/>
                    </a:cubicBezTo>
                    <a:cubicBezTo>
                      <a:pt x="2316298" y="792797"/>
                      <a:pt x="1880813" y="359892"/>
                      <a:pt x="1340068" y="359376"/>
                    </a:cubicBezTo>
                    <a:cubicBezTo>
                      <a:pt x="796228" y="358860"/>
                      <a:pt x="363839" y="794861"/>
                      <a:pt x="361775" y="1331994"/>
                    </a:cubicBezTo>
                    <a:cubicBezTo>
                      <a:pt x="359711" y="1882026"/>
                      <a:pt x="806032" y="2314415"/>
                      <a:pt x="1338521" y="2312867"/>
                    </a:cubicBezTo>
                    <a:close/>
                  </a:path>
                </a:pathLst>
              </a:custGeom>
              <a:grpFill/>
              <a:ln w="51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E9B41061-E576-4CF5-9B7C-FC1E177299A2}"/>
                  </a:ext>
                </a:extLst>
              </p:cNvPr>
              <p:cNvSpPr/>
              <p:nvPr/>
            </p:nvSpPr>
            <p:spPr>
              <a:xfrm>
                <a:off x="7558586" y="2011427"/>
                <a:ext cx="1898797" cy="1893637"/>
              </a:xfrm>
              <a:custGeom>
                <a:avLst/>
                <a:gdLst>
                  <a:gd name="connsiteX0" fmla="*/ 30 w 1898796"/>
                  <a:gd name="connsiteY0" fmla="*/ 947852 h 1893636"/>
                  <a:gd name="connsiteX1" fmla="*/ 950461 w 1898796"/>
                  <a:gd name="connsiteY1" fmla="*/ 2 h 1893636"/>
                  <a:gd name="connsiteX2" fmla="*/ 1898827 w 1898796"/>
                  <a:gd name="connsiteY2" fmla="*/ 950948 h 1893636"/>
                  <a:gd name="connsiteX3" fmla="*/ 946849 w 1898796"/>
                  <a:gd name="connsiteY3" fmla="*/ 1898283 h 1893636"/>
                  <a:gd name="connsiteX4" fmla="*/ 30 w 1898796"/>
                  <a:gd name="connsiteY4" fmla="*/ 947852 h 1893636"/>
                  <a:gd name="connsiteX5" fmla="*/ 1187811 w 1898796"/>
                  <a:gd name="connsiteY5" fmla="*/ 949916 h 1893636"/>
                  <a:gd name="connsiteX6" fmla="*/ 949429 w 1898796"/>
                  <a:gd name="connsiteY6" fmla="*/ 710503 h 1893636"/>
                  <a:gd name="connsiteX7" fmla="*/ 710532 w 1898796"/>
                  <a:gd name="connsiteY7" fmla="*/ 948368 h 1893636"/>
                  <a:gd name="connsiteX8" fmla="*/ 948397 w 1898796"/>
                  <a:gd name="connsiteY8" fmla="*/ 1188298 h 1893636"/>
                  <a:gd name="connsiteX9" fmla="*/ 1187811 w 1898796"/>
                  <a:gd name="connsiteY9" fmla="*/ 949916 h 1893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898796" h="1893636">
                    <a:moveTo>
                      <a:pt x="30" y="947852"/>
                    </a:moveTo>
                    <a:cubicBezTo>
                      <a:pt x="-3065" y="428263"/>
                      <a:pt x="426228" y="-1030"/>
                      <a:pt x="950461" y="2"/>
                    </a:cubicBezTo>
                    <a:cubicBezTo>
                      <a:pt x="1472114" y="1034"/>
                      <a:pt x="1899859" y="427747"/>
                      <a:pt x="1898827" y="950948"/>
                    </a:cubicBezTo>
                    <a:cubicBezTo>
                      <a:pt x="1897795" y="1468473"/>
                      <a:pt x="1477790" y="1899315"/>
                      <a:pt x="946849" y="1898283"/>
                    </a:cubicBezTo>
                    <a:cubicBezTo>
                      <a:pt x="411781" y="1896735"/>
                      <a:pt x="-4097" y="1460218"/>
                      <a:pt x="30" y="947852"/>
                    </a:cubicBezTo>
                    <a:close/>
                    <a:moveTo>
                      <a:pt x="1187811" y="949916"/>
                    </a:moveTo>
                    <a:cubicBezTo>
                      <a:pt x="1188327" y="817310"/>
                      <a:pt x="1084099" y="710503"/>
                      <a:pt x="949429" y="710503"/>
                    </a:cubicBezTo>
                    <a:cubicBezTo>
                      <a:pt x="805987" y="710503"/>
                      <a:pt x="710015" y="828146"/>
                      <a:pt x="710532" y="948368"/>
                    </a:cubicBezTo>
                    <a:cubicBezTo>
                      <a:pt x="711048" y="1081490"/>
                      <a:pt x="815791" y="1188298"/>
                      <a:pt x="948397" y="1188298"/>
                    </a:cubicBezTo>
                    <a:cubicBezTo>
                      <a:pt x="1081003" y="1188298"/>
                      <a:pt x="1187294" y="1083038"/>
                      <a:pt x="1187811" y="949916"/>
                    </a:cubicBezTo>
                    <a:close/>
                  </a:path>
                </a:pathLst>
              </a:custGeom>
              <a:grpFill/>
              <a:ln w="51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4C2D19A9-E706-4355-967B-37AED5F69B20}"/>
              </a:ext>
            </a:extLst>
          </p:cNvPr>
          <p:cNvSpPr/>
          <p:nvPr/>
        </p:nvSpPr>
        <p:spPr>
          <a:xfrm>
            <a:off x="10132589" y="4237994"/>
            <a:ext cx="577306" cy="577307"/>
          </a:xfrm>
          <a:custGeom>
            <a:avLst/>
            <a:gdLst>
              <a:gd name="connsiteX0" fmla="*/ 686157 w 1243505"/>
              <a:gd name="connsiteY0" fmla="*/ 1016068 h 1243505"/>
              <a:gd name="connsiteX1" fmla="*/ 560258 w 1243505"/>
              <a:gd name="connsiteY1" fmla="*/ 1016068 h 1243505"/>
              <a:gd name="connsiteX2" fmla="*/ 545811 w 1243505"/>
              <a:gd name="connsiteY2" fmla="*/ 1026903 h 1243505"/>
              <a:gd name="connsiteX3" fmla="*/ 533944 w 1243505"/>
              <a:gd name="connsiteY3" fmla="*/ 1088821 h 1243505"/>
              <a:gd name="connsiteX4" fmla="*/ 505565 w 1243505"/>
              <a:gd name="connsiteY4" fmla="*/ 1169829 h 1243505"/>
              <a:gd name="connsiteX5" fmla="*/ 469447 w 1243505"/>
              <a:gd name="connsiteY5" fmla="*/ 1240002 h 1243505"/>
              <a:gd name="connsiteX6" fmla="*/ 452935 w 1243505"/>
              <a:gd name="connsiteY6" fmla="*/ 1246710 h 1243505"/>
              <a:gd name="connsiteX7" fmla="*/ 305366 w 1243505"/>
              <a:gd name="connsiteY7" fmla="*/ 1185824 h 1243505"/>
              <a:gd name="connsiteX8" fmla="*/ 298142 w 1243505"/>
              <a:gd name="connsiteY8" fmla="*/ 1168281 h 1243505"/>
              <a:gd name="connsiteX9" fmla="*/ 333744 w 1243505"/>
              <a:gd name="connsiteY9" fmla="*/ 1059410 h 1243505"/>
              <a:gd name="connsiteX10" fmla="*/ 342000 w 1243505"/>
              <a:gd name="connsiteY10" fmla="*/ 1043415 h 1243505"/>
              <a:gd name="connsiteX11" fmla="*/ 395662 w 1243505"/>
              <a:gd name="connsiteY11" fmla="*/ 962922 h 1243505"/>
              <a:gd name="connsiteX12" fmla="*/ 393598 w 1243505"/>
              <a:gd name="connsiteY12" fmla="*/ 947959 h 1243505"/>
              <a:gd name="connsiteX13" fmla="*/ 299174 w 1243505"/>
              <a:gd name="connsiteY13" fmla="*/ 853535 h 1243505"/>
              <a:gd name="connsiteX14" fmla="*/ 285243 w 1243505"/>
              <a:gd name="connsiteY14" fmla="*/ 851471 h 1243505"/>
              <a:gd name="connsiteX15" fmla="*/ 230549 w 1243505"/>
              <a:gd name="connsiteY15" fmla="*/ 888106 h 1243505"/>
              <a:gd name="connsiteX16" fmla="*/ 148509 w 1243505"/>
              <a:gd name="connsiteY16" fmla="*/ 926804 h 1243505"/>
              <a:gd name="connsiteX17" fmla="*/ 78852 w 1243505"/>
              <a:gd name="connsiteY17" fmla="*/ 949507 h 1243505"/>
              <a:gd name="connsiteX18" fmla="*/ 62340 w 1243505"/>
              <a:gd name="connsiteY18" fmla="*/ 942799 h 1243505"/>
              <a:gd name="connsiteX19" fmla="*/ 939 w 1243505"/>
              <a:gd name="connsiteY19" fmla="*/ 794198 h 1243505"/>
              <a:gd name="connsiteX20" fmla="*/ 7131 w 1243505"/>
              <a:gd name="connsiteY20" fmla="*/ 778718 h 1243505"/>
              <a:gd name="connsiteX21" fmla="*/ 114454 w 1243505"/>
              <a:gd name="connsiteY21" fmla="*/ 725056 h 1243505"/>
              <a:gd name="connsiteX22" fmla="*/ 189787 w 1243505"/>
              <a:gd name="connsiteY22" fmla="*/ 708545 h 1243505"/>
              <a:gd name="connsiteX23" fmla="*/ 221261 w 1243505"/>
              <a:gd name="connsiteY23" fmla="*/ 702354 h 1243505"/>
              <a:gd name="connsiteX24" fmla="*/ 231581 w 1243505"/>
              <a:gd name="connsiteY24" fmla="*/ 688938 h 1243505"/>
              <a:gd name="connsiteX25" fmla="*/ 225905 w 1243505"/>
              <a:gd name="connsiteY25" fmla="*/ 631149 h 1243505"/>
              <a:gd name="connsiteX26" fmla="*/ 231581 w 1243505"/>
              <a:gd name="connsiteY26" fmla="*/ 559428 h 1243505"/>
              <a:gd name="connsiteX27" fmla="*/ 220745 w 1243505"/>
              <a:gd name="connsiteY27" fmla="*/ 544980 h 1243505"/>
              <a:gd name="connsiteX28" fmla="*/ 172760 w 1243505"/>
              <a:gd name="connsiteY28" fmla="*/ 535693 h 1243505"/>
              <a:gd name="connsiteX29" fmla="*/ 27770 w 1243505"/>
              <a:gd name="connsiteY29" fmla="*/ 478419 h 1243505"/>
              <a:gd name="connsiteX30" fmla="*/ 8163 w 1243505"/>
              <a:gd name="connsiteY30" fmla="*/ 431465 h 1243505"/>
              <a:gd name="connsiteX31" fmla="*/ 62340 w 1243505"/>
              <a:gd name="connsiteY31" fmla="*/ 305051 h 1243505"/>
              <a:gd name="connsiteX32" fmla="*/ 79884 w 1243505"/>
              <a:gd name="connsiteY32" fmla="*/ 297827 h 1243505"/>
              <a:gd name="connsiteX33" fmla="*/ 188755 w 1243505"/>
              <a:gd name="connsiteY33" fmla="*/ 333430 h 1243505"/>
              <a:gd name="connsiteX34" fmla="*/ 204750 w 1243505"/>
              <a:gd name="connsiteY34" fmla="*/ 341685 h 1243505"/>
              <a:gd name="connsiteX35" fmla="*/ 285243 w 1243505"/>
              <a:gd name="connsiteY35" fmla="*/ 395347 h 1243505"/>
              <a:gd name="connsiteX36" fmla="*/ 300206 w 1243505"/>
              <a:gd name="connsiteY36" fmla="*/ 393283 h 1243505"/>
              <a:gd name="connsiteX37" fmla="*/ 393598 w 1243505"/>
              <a:gd name="connsiteY37" fmla="*/ 299891 h 1243505"/>
              <a:gd name="connsiteX38" fmla="*/ 395662 w 1243505"/>
              <a:gd name="connsiteY38" fmla="*/ 283896 h 1243505"/>
              <a:gd name="connsiteX39" fmla="*/ 353352 w 1243505"/>
              <a:gd name="connsiteY39" fmla="*/ 220947 h 1243505"/>
              <a:gd name="connsiteX40" fmla="*/ 325489 w 1243505"/>
              <a:gd name="connsiteY40" fmla="*/ 162125 h 1243505"/>
              <a:gd name="connsiteX41" fmla="*/ 299690 w 1243505"/>
              <a:gd name="connsiteY41" fmla="*/ 82665 h 1243505"/>
              <a:gd name="connsiteX42" fmla="*/ 307946 w 1243505"/>
              <a:gd name="connsiteY42" fmla="*/ 61510 h 1243505"/>
              <a:gd name="connsiteX43" fmla="*/ 451903 w 1243505"/>
              <a:gd name="connsiteY43" fmla="*/ 2172 h 1243505"/>
              <a:gd name="connsiteX44" fmla="*/ 470478 w 1243505"/>
              <a:gd name="connsiteY44" fmla="*/ 9396 h 1243505"/>
              <a:gd name="connsiteX45" fmla="*/ 522076 w 1243505"/>
              <a:gd name="connsiteY45" fmla="*/ 111559 h 1243505"/>
              <a:gd name="connsiteX46" fmla="*/ 537555 w 1243505"/>
              <a:gd name="connsiteY46" fmla="*/ 177605 h 1243505"/>
              <a:gd name="connsiteX47" fmla="*/ 546843 w 1243505"/>
              <a:gd name="connsiteY47" fmla="*/ 223011 h 1243505"/>
              <a:gd name="connsiteX48" fmla="*/ 559227 w 1243505"/>
              <a:gd name="connsiteY48" fmla="*/ 231782 h 1243505"/>
              <a:gd name="connsiteX49" fmla="*/ 688737 w 1243505"/>
              <a:gd name="connsiteY49" fmla="*/ 231782 h 1243505"/>
              <a:gd name="connsiteX50" fmla="*/ 704216 w 1243505"/>
              <a:gd name="connsiteY50" fmla="*/ 220431 h 1243505"/>
              <a:gd name="connsiteX51" fmla="*/ 716600 w 1243505"/>
              <a:gd name="connsiteY51" fmla="*/ 156966 h 1243505"/>
              <a:gd name="connsiteX52" fmla="*/ 743430 w 1243505"/>
              <a:gd name="connsiteY52" fmla="*/ 79569 h 1243505"/>
              <a:gd name="connsiteX53" fmla="*/ 780065 w 1243505"/>
              <a:gd name="connsiteY53" fmla="*/ 8364 h 1243505"/>
              <a:gd name="connsiteX54" fmla="*/ 797092 w 1243505"/>
              <a:gd name="connsiteY54" fmla="*/ 1140 h 1243505"/>
              <a:gd name="connsiteX55" fmla="*/ 944146 w 1243505"/>
              <a:gd name="connsiteY55" fmla="*/ 62542 h 1243505"/>
              <a:gd name="connsiteX56" fmla="*/ 950853 w 1243505"/>
              <a:gd name="connsiteY56" fmla="*/ 79053 h 1243505"/>
              <a:gd name="connsiteX57" fmla="*/ 914735 w 1243505"/>
              <a:gd name="connsiteY57" fmla="*/ 189472 h 1243505"/>
              <a:gd name="connsiteX58" fmla="*/ 906479 w 1243505"/>
              <a:gd name="connsiteY58" fmla="*/ 205467 h 1243505"/>
              <a:gd name="connsiteX59" fmla="*/ 853334 w 1243505"/>
              <a:gd name="connsiteY59" fmla="*/ 284928 h 1243505"/>
              <a:gd name="connsiteX60" fmla="*/ 855398 w 1243505"/>
              <a:gd name="connsiteY60" fmla="*/ 300923 h 1243505"/>
              <a:gd name="connsiteX61" fmla="*/ 948789 w 1243505"/>
              <a:gd name="connsiteY61" fmla="*/ 394315 h 1243505"/>
              <a:gd name="connsiteX62" fmla="*/ 963753 w 1243505"/>
              <a:gd name="connsiteY62" fmla="*/ 396379 h 1243505"/>
              <a:gd name="connsiteX63" fmla="*/ 1015866 w 1243505"/>
              <a:gd name="connsiteY63" fmla="*/ 360777 h 1243505"/>
              <a:gd name="connsiteX64" fmla="*/ 1099971 w 1243505"/>
              <a:gd name="connsiteY64" fmla="*/ 320530 h 1243505"/>
              <a:gd name="connsiteX65" fmla="*/ 1168596 w 1243505"/>
              <a:gd name="connsiteY65" fmla="*/ 298343 h 1243505"/>
              <a:gd name="connsiteX66" fmla="*/ 1186139 w 1243505"/>
              <a:gd name="connsiteY66" fmla="*/ 305567 h 1243505"/>
              <a:gd name="connsiteX67" fmla="*/ 1247024 w 1243505"/>
              <a:gd name="connsiteY67" fmla="*/ 453136 h 1243505"/>
              <a:gd name="connsiteX68" fmla="*/ 1240317 w 1243505"/>
              <a:gd name="connsiteY68" fmla="*/ 469648 h 1243505"/>
              <a:gd name="connsiteX69" fmla="*/ 1135573 w 1243505"/>
              <a:gd name="connsiteY69" fmla="*/ 522277 h 1243505"/>
              <a:gd name="connsiteX70" fmla="*/ 1059209 w 1243505"/>
              <a:gd name="connsiteY70" fmla="*/ 539821 h 1243505"/>
              <a:gd name="connsiteX71" fmla="*/ 1040117 w 1243505"/>
              <a:gd name="connsiteY71" fmla="*/ 543433 h 1243505"/>
              <a:gd name="connsiteX72" fmla="*/ 1017930 w 1243505"/>
              <a:gd name="connsiteY72" fmla="*/ 572843 h 1243505"/>
              <a:gd name="connsiteX73" fmla="*/ 1016383 w 1243505"/>
              <a:gd name="connsiteY73" fmla="*/ 688422 h 1243505"/>
              <a:gd name="connsiteX74" fmla="*/ 1028250 w 1243505"/>
              <a:gd name="connsiteY74" fmla="*/ 703386 h 1243505"/>
              <a:gd name="connsiteX75" fmla="*/ 1118030 w 1243505"/>
              <a:gd name="connsiteY75" fmla="*/ 720929 h 1243505"/>
              <a:gd name="connsiteX76" fmla="*/ 1142281 w 1243505"/>
              <a:gd name="connsiteY76" fmla="*/ 729184 h 1243505"/>
              <a:gd name="connsiteX77" fmla="*/ 1237737 w 1243505"/>
              <a:gd name="connsiteY77" fmla="*/ 777686 h 1243505"/>
              <a:gd name="connsiteX78" fmla="*/ 1246508 w 1243505"/>
              <a:gd name="connsiteY78" fmla="*/ 797809 h 1243505"/>
              <a:gd name="connsiteX79" fmla="*/ 1186655 w 1243505"/>
              <a:gd name="connsiteY79" fmla="*/ 941767 h 1243505"/>
              <a:gd name="connsiteX80" fmla="*/ 1167564 w 1243505"/>
              <a:gd name="connsiteY80" fmla="*/ 950023 h 1243505"/>
              <a:gd name="connsiteX81" fmla="*/ 1062304 w 1243505"/>
              <a:gd name="connsiteY81" fmla="*/ 915452 h 1243505"/>
              <a:gd name="connsiteX82" fmla="*/ 1042697 w 1243505"/>
              <a:gd name="connsiteY82" fmla="*/ 905649 h 1243505"/>
              <a:gd name="connsiteX83" fmla="*/ 963237 w 1243505"/>
              <a:gd name="connsiteY83" fmla="*/ 852503 h 1243505"/>
              <a:gd name="connsiteX84" fmla="*/ 947241 w 1243505"/>
              <a:gd name="connsiteY84" fmla="*/ 855083 h 1243505"/>
              <a:gd name="connsiteX85" fmla="*/ 855914 w 1243505"/>
              <a:gd name="connsiteY85" fmla="*/ 946927 h 1243505"/>
              <a:gd name="connsiteX86" fmla="*/ 853850 w 1243505"/>
              <a:gd name="connsiteY86" fmla="*/ 966018 h 1243505"/>
              <a:gd name="connsiteX87" fmla="*/ 890484 w 1243505"/>
              <a:gd name="connsiteY87" fmla="*/ 1020711 h 1243505"/>
              <a:gd name="connsiteX88" fmla="*/ 925054 w 1243505"/>
              <a:gd name="connsiteY88" fmla="*/ 1093464 h 1243505"/>
              <a:gd name="connsiteX89" fmla="*/ 949821 w 1243505"/>
              <a:gd name="connsiteY89" fmla="*/ 1169313 h 1243505"/>
              <a:gd name="connsiteX90" fmla="*/ 943114 w 1243505"/>
              <a:gd name="connsiteY90" fmla="*/ 1185824 h 1243505"/>
              <a:gd name="connsiteX91" fmla="*/ 794512 w 1243505"/>
              <a:gd name="connsiteY91" fmla="*/ 1247226 h 1243505"/>
              <a:gd name="connsiteX92" fmla="*/ 779033 w 1243505"/>
              <a:gd name="connsiteY92" fmla="*/ 1241034 h 1243505"/>
              <a:gd name="connsiteX93" fmla="*/ 724855 w 1243505"/>
              <a:gd name="connsiteY93" fmla="*/ 1134226 h 1243505"/>
              <a:gd name="connsiteX94" fmla="*/ 718148 w 1243505"/>
              <a:gd name="connsiteY94" fmla="*/ 1105332 h 1243505"/>
              <a:gd name="connsiteX95" fmla="*/ 703184 w 1243505"/>
              <a:gd name="connsiteY95" fmla="*/ 1031031 h 1243505"/>
              <a:gd name="connsiteX96" fmla="*/ 686157 w 1243505"/>
              <a:gd name="connsiteY96" fmla="*/ 1016068 h 1243505"/>
              <a:gd name="connsiteX97" fmla="*/ 624240 w 1243505"/>
              <a:gd name="connsiteY97" fmla="*/ 791102 h 1243505"/>
              <a:gd name="connsiteX98" fmla="*/ 790900 w 1243505"/>
              <a:gd name="connsiteY98" fmla="*/ 623925 h 1243505"/>
              <a:gd name="connsiteX99" fmla="*/ 624240 w 1243505"/>
              <a:gd name="connsiteY99" fmla="*/ 458296 h 1243505"/>
              <a:gd name="connsiteX100" fmla="*/ 458095 w 1243505"/>
              <a:gd name="connsiteY100" fmla="*/ 624441 h 1243505"/>
              <a:gd name="connsiteX101" fmla="*/ 624240 w 1243505"/>
              <a:gd name="connsiteY101" fmla="*/ 791102 h 1243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</a:cxnLst>
            <a:rect l="l" t="t" r="r" b="b"/>
            <a:pathLst>
              <a:path w="1243505" h="1243505">
                <a:moveTo>
                  <a:pt x="686157" y="1016068"/>
                </a:moveTo>
                <a:cubicBezTo>
                  <a:pt x="644363" y="1024840"/>
                  <a:pt x="602053" y="1021743"/>
                  <a:pt x="560258" y="1016068"/>
                </a:cubicBezTo>
                <a:cubicBezTo>
                  <a:pt x="550455" y="1015036"/>
                  <a:pt x="547359" y="1018132"/>
                  <a:pt x="545811" y="1026903"/>
                </a:cubicBezTo>
                <a:cubicBezTo>
                  <a:pt x="542199" y="1047542"/>
                  <a:pt x="537039" y="1068181"/>
                  <a:pt x="533944" y="1088821"/>
                </a:cubicBezTo>
                <a:cubicBezTo>
                  <a:pt x="529816" y="1117715"/>
                  <a:pt x="519496" y="1144030"/>
                  <a:pt x="505565" y="1169829"/>
                </a:cubicBezTo>
                <a:cubicBezTo>
                  <a:pt x="492666" y="1192532"/>
                  <a:pt x="481314" y="1216267"/>
                  <a:pt x="469447" y="1240002"/>
                </a:cubicBezTo>
                <a:cubicBezTo>
                  <a:pt x="465835" y="1247741"/>
                  <a:pt x="461191" y="1249290"/>
                  <a:pt x="452935" y="1246710"/>
                </a:cubicBezTo>
                <a:cubicBezTo>
                  <a:pt x="401853" y="1231230"/>
                  <a:pt x="352836" y="1211107"/>
                  <a:pt x="305366" y="1185824"/>
                </a:cubicBezTo>
                <a:cubicBezTo>
                  <a:pt x="297110" y="1181696"/>
                  <a:pt x="295562" y="1177053"/>
                  <a:pt x="298142" y="1168281"/>
                </a:cubicBezTo>
                <a:cubicBezTo>
                  <a:pt x="310525" y="1132163"/>
                  <a:pt x="321877" y="1095528"/>
                  <a:pt x="333744" y="1059410"/>
                </a:cubicBezTo>
                <a:cubicBezTo>
                  <a:pt x="335808" y="1053734"/>
                  <a:pt x="338904" y="1048574"/>
                  <a:pt x="342000" y="1043415"/>
                </a:cubicBezTo>
                <a:cubicBezTo>
                  <a:pt x="360059" y="1016584"/>
                  <a:pt x="377602" y="989753"/>
                  <a:pt x="395662" y="962922"/>
                </a:cubicBezTo>
                <a:cubicBezTo>
                  <a:pt x="399790" y="956730"/>
                  <a:pt x="399790" y="952603"/>
                  <a:pt x="393598" y="947959"/>
                </a:cubicBezTo>
                <a:cubicBezTo>
                  <a:pt x="356963" y="921644"/>
                  <a:pt x="326005" y="889653"/>
                  <a:pt x="299174" y="853535"/>
                </a:cubicBezTo>
                <a:cubicBezTo>
                  <a:pt x="295046" y="847859"/>
                  <a:pt x="290918" y="847859"/>
                  <a:pt x="285243" y="851471"/>
                </a:cubicBezTo>
                <a:cubicBezTo>
                  <a:pt x="267183" y="863855"/>
                  <a:pt x="248092" y="875206"/>
                  <a:pt x="230549" y="888106"/>
                </a:cubicBezTo>
                <a:cubicBezTo>
                  <a:pt x="205782" y="906681"/>
                  <a:pt x="178435" y="918548"/>
                  <a:pt x="148509" y="926804"/>
                </a:cubicBezTo>
                <a:cubicBezTo>
                  <a:pt x="124774" y="933511"/>
                  <a:pt x="101555" y="941767"/>
                  <a:pt x="78852" y="949507"/>
                </a:cubicBezTo>
                <a:cubicBezTo>
                  <a:pt x="71112" y="952087"/>
                  <a:pt x="66468" y="950539"/>
                  <a:pt x="62340" y="942799"/>
                </a:cubicBezTo>
                <a:cubicBezTo>
                  <a:pt x="36541" y="895329"/>
                  <a:pt x="15902" y="845795"/>
                  <a:pt x="939" y="794198"/>
                </a:cubicBezTo>
                <a:cubicBezTo>
                  <a:pt x="-1125" y="786458"/>
                  <a:pt x="-93" y="782330"/>
                  <a:pt x="7131" y="778718"/>
                </a:cubicBezTo>
                <a:cubicBezTo>
                  <a:pt x="42733" y="760659"/>
                  <a:pt x="77820" y="741052"/>
                  <a:pt x="114454" y="725056"/>
                </a:cubicBezTo>
                <a:cubicBezTo>
                  <a:pt x="137673" y="714737"/>
                  <a:pt x="164504" y="714221"/>
                  <a:pt x="189787" y="708545"/>
                </a:cubicBezTo>
                <a:cubicBezTo>
                  <a:pt x="200106" y="705965"/>
                  <a:pt x="210942" y="704417"/>
                  <a:pt x="221261" y="702354"/>
                </a:cubicBezTo>
                <a:cubicBezTo>
                  <a:pt x="229001" y="700806"/>
                  <a:pt x="233129" y="698226"/>
                  <a:pt x="231581" y="688938"/>
                </a:cubicBezTo>
                <a:cubicBezTo>
                  <a:pt x="229001" y="669847"/>
                  <a:pt x="226937" y="650756"/>
                  <a:pt x="225905" y="631149"/>
                </a:cubicBezTo>
                <a:cubicBezTo>
                  <a:pt x="224873" y="606898"/>
                  <a:pt x="229517" y="583163"/>
                  <a:pt x="231581" y="559428"/>
                </a:cubicBezTo>
                <a:cubicBezTo>
                  <a:pt x="232613" y="549624"/>
                  <a:pt x="229001" y="546528"/>
                  <a:pt x="220745" y="544980"/>
                </a:cubicBezTo>
                <a:cubicBezTo>
                  <a:pt x="204750" y="542401"/>
                  <a:pt x="188755" y="537757"/>
                  <a:pt x="172760" y="535693"/>
                </a:cubicBezTo>
                <a:cubicBezTo>
                  <a:pt x="118582" y="530533"/>
                  <a:pt x="74208" y="502154"/>
                  <a:pt x="27770" y="478419"/>
                </a:cubicBezTo>
                <a:cubicBezTo>
                  <a:pt x="-2157" y="463456"/>
                  <a:pt x="-1125" y="463456"/>
                  <a:pt x="8163" y="431465"/>
                </a:cubicBezTo>
                <a:cubicBezTo>
                  <a:pt x="21062" y="387091"/>
                  <a:pt x="41701" y="345813"/>
                  <a:pt x="62340" y="305051"/>
                </a:cubicBezTo>
                <a:cubicBezTo>
                  <a:pt x="66468" y="296795"/>
                  <a:pt x="71112" y="295247"/>
                  <a:pt x="79884" y="297827"/>
                </a:cubicBezTo>
                <a:cubicBezTo>
                  <a:pt x="116002" y="310211"/>
                  <a:pt x="152636" y="321562"/>
                  <a:pt x="188755" y="333430"/>
                </a:cubicBezTo>
                <a:cubicBezTo>
                  <a:pt x="194430" y="335494"/>
                  <a:pt x="199590" y="338589"/>
                  <a:pt x="204750" y="341685"/>
                </a:cubicBezTo>
                <a:cubicBezTo>
                  <a:pt x="231581" y="359745"/>
                  <a:pt x="258412" y="377288"/>
                  <a:pt x="285243" y="395347"/>
                </a:cubicBezTo>
                <a:cubicBezTo>
                  <a:pt x="291434" y="399475"/>
                  <a:pt x="295562" y="399475"/>
                  <a:pt x="300206" y="393283"/>
                </a:cubicBezTo>
                <a:cubicBezTo>
                  <a:pt x="326521" y="357165"/>
                  <a:pt x="357479" y="326206"/>
                  <a:pt x="393598" y="299891"/>
                </a:cubicBezTo>
                <a:cubicBezTo>
                  <a:pt x="400305" y="294731"/>
                  <a:pt x="399790" y="290604"/>
                  <a:pt x="395662" y="283896"/>
                </a:cubicBezTo>
                <a:cubicBezTo>
                  <a:pt x="381214" y="263257"/>
                  <a:pt x="367799" y="241586"/>
                  <a:pt x="353352" y="220947"/>
                </a:cubicBezTo>
                <a:cubicBezTo>
                  <a:pt x="340452" y="202887"/>
                  <a:pt x="331681" y="183280"/>
                  <a:pt x="325489" y="162125"/>
                </a:cubicBezTo>
                <a:cubicBezTo>
                  <a:pt x="317749" y="135294"/>
                  <a:pt x="308978" y="108980"/>
                  <a:pt x="299690" y="82665"/>
                </a:cubicBezTo>
                <a:cubicBezTo>
                  <a:pt x="296078" y="72345"/>
                  <a:pt x="297626" y="66669"/>
                  <a:pt x="307946" y="61510"/>
                </a:cubicBezTo>
                <a:cubicBezTo>
                  <a:pt x="353867" y="37259"/>
                  <a:pt x="401853" y="17136"/>
                  <a:pt x="451903" y="2172"/>
                </a:cubicBezTo>
                <a:cubicBezTo>
                  <a:pt x="461191" y="-408"/>
                  <a:pt x="465835" y="624"/>
                  <a:pt x="470478" y="9396"/>
                </a:cubicBezTo>
                <a:cubicBezTo>
                  <a:pt x="487506" y="43451"/>
                  <a:pt x="505565" y="77505"/>
                  <a:pt x="522076" y="111559"/>
                </a:cubicBezTo>
                <a:cubicBezTo>
                  <a:pt x="531880" y="132199"/>
                  <a:pt x="532396" y="155934"/>
                  <a:pt x="537555" y="177605"/>
                </a:cubicBezTo>
                <a:cubicBezTo>
                  <a:pt x="541167" y="192568"/>
                  <a:pt x="543747" y="208047"/>
                  <a:pt x="546843" y="223011"/>
                </a:cubicBezTo>
                <a:cubicBezTo>
                  <a:pt x="548391" y="230234"/>
                  <a:pt x="550971" y="232814"/>
                  <a:pt x="559227" y="231782"/>
                </a:cubicBezTo>
                <a:cubicBezTo>
                  <a:pt x="602569" y="225590"/>
                  <a:pt x="645395" y="225074"/>
                  <a:pt x="688737" y="231782"/>
                </a:cubicBezTo>
                <a:cubicBezTo>
                  <a:pt x="699056" y="233330"/>
                  <a:pt x="702152" y="229718"/>
                  <a:pt x="704216" y="220431"/>
                </a:cubicBezTo>
                <a:cubicBezTo>
                  <a:pt x="707828" y="199276"/>
                  <a:pt x="713504" y="178636"/>
                  <a:pt x="716600" y="156966"/>
                </a:cubicBezTo>
                <a:cubicBezTo>
                  <a:pt x="720727" y="129103"/>
                  <a:pt x="730531" y="103820"/>
                  <a:pt x="743430" y="79569"/>
                </a:cubicBezTo>
                <a:cubicBezTo>
                  <a:pt x="756330" y="56350"/>
                  <a:pt x="768197" y="32099"/>
                  <a:pt x="780065" y="8364"/>
                </a:cubicBezTo>
                <a:cubicBezTo>
                  <a:pt x="784193" y="108"/>
                  <a:pt x="788320" y="-1440"/>
                  <a:pt x="797092" y="1140"/>
                </a:cubicBezTo>
                <a:cubicBezTo>
                  <a:pt x="848174" y="16620"/>
                  <a:pt x="897192" y="36743"/>
                  <a:pt x="944146" y="62542"/>
                </a:cubicBezTo>
                <a:cubicBezTo>
                  <a:pt x="951885" y="66669"/>
                  <a:pt x="953949" y="70797"/>
                  <a:pt x="950853" y="79053"/>
                </a:cubicBezTo>
                <a:cubicBezTo>
                  <a:pt x="938470" y="115687"/>
                  <a:pt x="927118" y="152838"/>
                  <a:pt x="914735" y="189472"/>
                </a:cubicBezTo>
                <a:cubicBezTo>
                  <a:pt x="912671" y="195148"/>
                  <a:pt x="909575" y="200308"/>
                  <a:pt x="906479" y="205467"/>
                </a:cubicBezTo>
                <a:cubicBezTo>
                  <a:pt x="888936" y="231782"/>
                  <a:pt x="871393" y="258613"/>
                  <a:pt x="853334" y="284928"/>
                </a:cubicBezTo>
                <a:cubicBezTo>
                  <a:pt x="848690" y="291635"/>
                  <a:pt x="849206" y="296279"/>
                  <a:pt x="855398" y="300923"/>
                </a:cubicBezTo>
                <a:cubicBezTo>
                  <a:pt x="891516" y="327238"/>
                  <a:pt x="922475" y="358713"/>
                  <a:pt x="948789" y="394315"/>
                </a:cubicBezTo>
                <a:cubicBezTo>
                  <a:pt x="953433" y="401023"/>
                  <a:pt x="957561" y="400507"/>
                  <a:pt x="963753" y="396379"/>
                </a:cubicBezTo>
                <a:cubicBezTo>
                  <a:pt x="981296" y="384511"/>
                  <a:pt x="999355" y="373676"/>
                  <a:pt x="1015866" y="360777"/>
                </a:cubicBezTo>
                <a:cubicBezTo>
                  <a:pt x="1041149" y="341685"/>
                  <a:pt x="1069528" y="329302"/>
                  <a:pt x="1099971" y="320530"/>
                </a:cubicBezTo>
                <a:cubicBezTo>
                  <a:pt x="1123190" y="314339"/>
                  <a:pt x="1145893" y="306083"/>
                  <a:pt x="1168596" y="298343"/>
                </a:cubicBezTo>
                <a:cubicBezTo>
                  <a:pt x="1177368" y="295247"/>
                  <a:pt x="1181495" y="297311"/>
                  <a:pt x="1186139" y="305567"/>
                </a:cubicBezTo>
                <a:cubicBezTo>
                  <a:pt x="1211422" y="352521"/>
                  <a:pt x="1232061" y="401539"/>
                  <a:pt x="1247024" y="453136"/>
                </a:cubicBezTo>
                <a:cubicBezTo>
                  <a:pt x="1249604" y="461392"/>
                  <a:pt x="1247540" y="465520"/>
                  <a:pt x="1240317" y="469648"/>
                </a:cubicBezTo>
                <a:cubicBezTo>
                  <a:pt x="1205230" y="487191"/>
                  <a:pt x="1171176" y="506282"/>
                  <a:pt x="1135573" y="522277"/>
                </a:cubicBezTo>
                <a:cubicBezTo>
                  <a:pt x="1111838" y="533113"/>
                  <a:pt x="1084492" y="533629"/>
                  <a:pt x="1059209" y="539821"/>
                </a:cubicBezTo>
                <a:cubicBezTo>
                  <a:pt x="1053017" y="541369"/>
                  <a:pt x="1046309" y="542401"/>
                  <a:pt x="1040117" y="543433"/>
                </a:cubicBezTo>
                <a:cubicBezTo>
                  <a:pt x="1015866" y="548592"/>
                  <a:pt x="1014318" y="548592"/>
                  <a:pt x="1017930" y="572843"/>
                </a:cubicBezTo>
                <a:cubicBezTo>
                  <a:pt x="1024122" y="611541"/>
                  <a:pt x="1021542" y="649724"/>
                  <a:pt x="1016383" y="688422"/>
                </a:cubicBezTo>
                <a:cubicBezTo>
                  <a:pt x="1014835" y="699258"/>
                  <a:pt x="1019478" y="701837"/>
                  <a:pt x="1028250" y="703386"/>
                </a:cubicBezTo>
                <a:cubicBezTo>
                  <a:pt x="1058177" y="709061"/>
                  <a:pt x="1088103" y="715253"/>
                  <a:pt x="1118030" y="720929"/>
                </a:cubicBezTo>
                <a:cubicBezTo>
                  <a:pt x="1126802" y="722477"/>
                  <a:pt x="1134541" y="725572"/>
                  <a:pt x="1142281" y="729184"/>
                </a:cubicBezTo>
                <a:cubicBezTo>
                  <a:pt x="1173756" y="745696"/>
                  <a:pt x="1205746" y="762207"/>
                  <a:pt x="1237737" y="777686"/>
                </a:cubicBezTo>
                <a:cubicBezTo>
                  <a:pt x="1247024" y="782330"/>
                  <a:pt x="1249604" y="786974"/>
                  <a:pt x="1246508" y="797809"/>
                </a:cubicBezTo>
                <a:cubicBezTo>
                  <a:pt x="1231545" y="847859"/>
                  <a:pt x="1211422" y="895329"/>
                  <a:pt x="1186655" y="941767"/>
                </a:cubicBezTo>
                <a:cubicBezTo>
                  <a:pt x="1182011" y="950539"/>
                  <a:pt x="1177368" y="953634"/>
                  <a:pt x="1167564" y="950023"/>
                </a:cubicBezTo>
                <a:cubicBezTo>
                  <a:pt x="1132477" y="938155"/>
                  <a:pt x="1097391" y="926804"/>
                  <a:pt x="1062304" y="915452"/>
                </a:cubicBezTo>
                <a:cubicBezTo>
                  <a:pt x="1055081" y="913388"/>
                  <a:pt x="1048889" y="909776"/>
                  <a:pt x="1042697" y="905649"/>
                </a:cubicBezTo>
                <a:cubicBezTo>
                  <a:pt x="1016383" y="888106"/>
                  <a:pt x="989552" y="870562"/>
                  <a:pt x="963237" y="852503"/>
                </a:cubicBezTo>
                <a:cubicBezTo>
                  <a:pt x="956529" y="847859"/>
                  <a:pt x="952401" y="848375"/>
                  <a:pt x="947241" y="855083"/>
                </a:cubicBezTo>
                <a:cubicBezTo>
                  <a:pt x="921443" y="890169"/>
                  <a:pt x="891000" y="921128"/>
                  <a:pt x="855914" y="946927"/>
                </a:cubicBezTo>
                <a:cubicBezTo>
                  <a:pt x="847658" y="953119"/>
                  <a:pt x="848174" y="958278"/>
                  <a:pt x="853850" y="966018"/>
                </a:cubicBezTo>
                <a:cubicBezTo>
                  <a:pt x="866749" y="984077"/>
                  <a:pt x="877584" y="1002652"/>
                  <a:pt x="890484" y="1020711"/>
                </a:cubicBezTo>
                <a:cubicBezTo>
                  <a:pt x="906479" y="1042899"/>
                  <a:pt x="917831" y="1067149"/>
                  <a:pt x="925054" y="1093464"/>
                </a:cubicBezTo>
                <a:cubicBezTo>
                  <a:pt x="932278" y="1119263"/>
                  <a:pt x="941050" y="1144030"/>
                  <a:pt x="949821" y="1169313"/>
                </a:cubicBezTo>
                <a:cubicBezTo>
                  <a:pt x="952401" y="1177053"/>
                  <a:pt x="950853" y="1181696"/>
                  <a:pt x="943114" y="1185824"/>
                </a:cubicBezTo>
                <a:cubicBezTo>
                  <a:pt x="895644" y="1211623"/>
                  <a:pt x="846110" y="1232262"/>
                  <a:pt x="794512" y="1247226"/>
                </a:cubicBezTo>
                <a:cubicBezTo>
                  <a:pt x="786773" y="1249290"/>
                  <a:pt x="782645" y="1248258"/>
                  <a:pt x="779033" y="1241034"/>
                </a:cubicBezTo>
                <a:cubicBezTo>
                  <a:pt x="760974" y="1205432"/>
                  <a:pt x="742399" y="1169829"/>
                  <a:pt x="724855" y="1134226"/>
                </a:cubicBezTo>
                <a:cubicBezTo>
                  <a:pt x="720211" y="1125455"/>
                  <a:pt x="720211" y="1115136"/>
                  <a:pt x="718148" y="1105332"/>
                </a:cubicBezTo>
                <a:cubicBezTo>
                  <a:pt x="712988" y="1080565"/>
                  <a:pt x="708344" y="1055798"/>
                  <a:pt x="703184" y="1031031"/>
                </a:cubicBezTo>
                <a:cubicBezTo>
                  <a:pt x="700604" y="1015552"/>
                  <a:pt x="701120" y="1015552"/>
                  <a:pt x="686157" y="1016068"/>
                </a:cubicBezTo>
                <a:close/>
                <a:moveTo>
                  <a:pt x="624240" y="791102"/>
                </a:moveTo>
                <a:cubicBezTo>
                  <a:pt x="720211" y="788522"/>
                  <a:pt x="791416" y="716801"/>
                  <a:pt x="790900" y="623925"/>
                </a:cubicBezTo>
                <a:cubicBezTo>
                  <a:pt x="790384" y="528985"/>
                  <a:pt x="717632" y="457780"/>
                  <a:pt x="624240" y="458296"/>
                </a:cubicBezTo>
                <a:cubicBezTo>
                  <a:pt x="530332" y="458296"/>
                  <a:pt x="458095" y="530533"/>
                  <a:pt x="458095" y="624441"/>
                </a:cubicBezTo>
                <a:cubicBezTo>
                  <a:pt x="458095" y="718349"/>
                  <a:pt x="530848" y="788522"/>
                  <a:pt x="624240" y="791102"/>
                </a:cubicBezTo>
                <a:close/>
              </a:path>
            </a:pathLst>
          </a:custGeom>
          <a:solidFill>
            <a:schemeClr val="bg1">
              <a:alpha val="5000"/>
            </a:schemeClr>
          </a:solidFill>
          <a:ln w="51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BC20A26-F482-4693-ACD6-51371EC7CC4B}"/>
              </a:ext>
            </a:extLst>
          </p:cNvPr>
          <p:cNvGrpSpPr/>
          <p:nvPr/>
        </p:nvGrpSpPr>
        <p:grpSpPr>
          <a:xfrm rot="2159485">
            <a:off x="10055501" y="2964359"/>
            <a:ext cx="1639387" cy="985059"/>
            <a:chOff x="2753518" y="3556278"/>
            <a:chExt cx="2028524" cy="1218879"/>
          </a:xfrm>
          <a:solidFill>
            <a:schemeClr val="bg1">
              <a:alpha val="5000"/>
            </a:schemeClr>
          </a:solidFill>
        </p:grpSpPr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DD9359D8-12EB-4981-8FC9-674C1DA3FA8C}"/>
                </a:ext>
              </a:extLst>
            </p:cNvPr>
            <p:cNvSpPr/>
            <p:nvPr/>
          </p:nvSpPr>
          <p:spPr>
            <a:xfrm>
              <a:off x="2753518" y="3683131"/>
              <a:ext cx="796648" cy="799367"/>
            </a:xfrm>
            <a:custGeom>
              <a:avLst/>
              <a:gdLst>
                <a:gd name="connsiteX0" fmla="*/ 817500 w 1511813"/>
                <a:gd name="connsiteY0" fmla="*/ 1518710 h 1516973"/>
                <a:gd name="connsiteX1" fmla="*/ 802537 w 1511813"/>
                <a:gd name="connsiteY1" fmla="*/ 1507875 h 1516973"/>
                <a:gd name="connsiteX2" fmla="*/ 780866 w 1511813"/>
                <a:gd name="connsiteY2" fmla="*/ 1442862 h 1516973"/>
                <a:gd name="connsiteX3" fmla="*/ 776738 w 1511813"/>
                <a:gd name="connsiteY3" fmla="*/ 1385072 h 1516973"/>
                <a:gd name="connsiteX4" fmla="*/ 760227 w 1511813"/>
                <a:gd name="connsiteY4" fmla="*/ 1369593 h 1516973"/>
                <a:gd name="connsiteX5" fmla="*/ 694698 w 1511813"/>
                <a:gd name="connsiteY5" fmla="*/ 1366497 h 1516973"/>
                <a:gd name="connsiteX6" fmla="*/ 676638 w 1511813"/>
                <a:gd name="connsiteY6" fmla="*/ 1379912 h 1516973"/>
                <a:gd name="connsiteX7" fmla="*/ 637940 w 1511813"/>
                <a:gd name="connsiteY7" fmla="*/ 1501683 h 1516973"/>
                <a:gd name="connsiteX8" fmla="*/ 622977 w 1511813"/>
                <a:gd name="connsiteY8" fmla="*/ 1508907 h 1516973"/>
                <a:gd name="connsiteX9" fmla="*/ 430517 w 1511813"/>
                <a:gd name="connsiteY9" fmla="*/ 1447505 h 1516973"/>
                <a:gd name="connsiteX10" fmla="*/ 422262 w 1511813"/>
                <a:gd name="connsiteY10" fmla="*/ 1431510 h 1516973"/>
                <a:gd name="connsiteX11" fmla="*/ 435677 w 1511813"/>
                <a:gd name="connsiteY11" fmla="*/ 1364433 h 1516973"/>
                <a:gd name="connsiteX12" fmla="*/ 461992 w 1511813"/>
                <a:gd name="connsiteY12" fmla="*/ 1310255 h 1516973"/>
                <a:gd name="connsiteX13" fmla="*/ 456316 w 1511813"/>
                <a:gd name="connsiteY13" fmla="*/ 1290132 h 1516973"/>
                <a:gd name="connsiteX14" fmla="*/ 395431 w 1511813"/>
                <a:gd name="connsiteY14" fmla="*/ 1251434 h 1516973"/>
                <a:gd name="connsiteX15" fmla="*/ 378919 w 1511813"/>
                <a:gd name="connsiteY15" fmla="*/ 1254014 h 1516973"/>
                <a:gd name="connsiteX16" fmla="*/ 283464 w 1511813"/>
                <a:gd name="connsiteY16" fmla="*/ 1342246 h 1516973"/>
                <a:gd name="connsiteX17" fmla="*/ 265920 w 1511813"/>
                <a:gd name="connsiteY17" fmla="*/ 1341214 h 1516973"/>
                <a:gd name="connsiteX18" fmla="*/ 130218 w 1511813"/>
                <a:gd name="connsiteY18" fmla="*/ 1191580 h 1516973"/>
                <a:gd name="connsiteX19" fmla="*/ 130734 w 1511813"/>
                <a:gd name="connsiteY19" fmla="*/ 1174553 h 1516973"/>
                <a:gd name="connsiteX20" fmla="*/ 177688 w 1511813"/>
                <a:gd name="connsiteY20" fmla="*/ 1121408 h 1516973"/>
                <a:gd name="connsiteX21" fmla="*/ 225674 w 1511813"/>
                <a:gd name="connsiteY21" fmla="*/ 1089417 h 1516973"/>
                <a:gd name="connsiteX22" fmla="*/ 230834 w 1511813"/>
                <a:gd name="connsiteY22" fmla="*/ 1067230 h 1516973"/>
                <a:gd name="connsiteX23" fmla="*/ 198327 w 1511813"/>
                <a:gd name="connsiteY23" fmla="*/ 1004281 h 1516973"/>
                <a:gd name="connsiteX24" fmla="*/ 183880 w 1511813"/>
                <a:gd name="connsiteY24" fmla="*/ 998089 h 1516973"/>
                <a:gd name="connsiteX25" fmla="*/ 67269 w 1511813"/>
                <a:gd name="connsiteY25" fmla="*/ 1025952 h 1516973"/>
                <a:gd name="connsiteX26" fmla="*/ 55918 w 1511813"/>
                <a:gd name="connsiteY26" fmla="*/ 1027500 h 1516973"/>
                <a:gd name="connsiteX27" fmla="*/ 41470 w 1511813"/>
                <a:gd name="connsiteY27" fmla="*/ 1018212 h 1516973"/>
                <a:gd name="connsiteX28" fmla="*/ 1224 w 1511813"/>
                <a:gd name="connsiteY28" fmla="*/ 841748 h 1516973"/>
                <a:gd name="connsiteX29" fmla="*/ 30635 w 1511813"/>
                <a:gd name="connsiteY29" fmla="*/ 797374 h 1516973"/>
                <a:gd name="connsiteX30" fmla="*/ 134862 w 1511813"/>
                <a:gd name="connsiteY30" fmla="*/ 778799 h 1516973"/>
                <a:gd name="connsiteX31" fmla="*/ 147246 w 1511813"/>
                <a:gd name="connsiteY31" fmla="*/ 765899 h 1516973"/>
                <a:gd name="connsiteX32" fmla="*/ 150342 w 1511813"/>
                <a:gd name="connsiteY32" fmla="*/ 696242 h 1516973"/>
                <a:gd name="connsiteX33" fmla="*/ 137442 w 1511813"/>
                <a:gd name="connsiteY33" fmla="*/ 678699 h 1516973"/>
                <a:gd name="connsiteX34" fmla="*/ 14639 w 1511813"/>
                <a:gd name="connsiteY34" fmla="*/ 639485 h 1516973"/>
                <a:gd name="connsiteX35" fmla="*/ 7932 w 1511813"/>
                <a:gd name="connsiteY35" fmla="*/ 625037 h 1516973"/>
                <a:gd name="connsiteX36" fmla="*/ 69333 w 1511813"/>
                <a:gd name="connsiteY36" fmla="*/ 432578 h 1516973"/>
                <a:gd name="connsiteX37" fmla="*/ 86360 w 1511813"/>
                <a:gd name="connsiteY37" fmla="*/ 423806 h 1516973"/>
                <a:gd name="connsiteX38" fmla="*/ 150858 w 1511813"/>
                <a:gd name="connsiteY38" fmla="*/ 436706 h 1516973"/>
                <a:gd name="connsiteX39" fmla="*/ 206583 w 1511813"/>
                <a:gd name="connsiteY39" fmla="*/ 463536 h 1516973"/>
                <a:gd name="connsiteX40" fmla="*/ 227738 w 1511813"/>
                <a:gd name="connsiteY40" fmla="*/ 457345 h 1516973"/>
                <a:gd name="connsiteX41" fmla="*/ 266952 w 1511813"/>
                <a:gd name="connsiteY41" fmla="*/ 396459 h 1516973"/>
                <a:gd name="connsiteX42" fmla="*/ 264373 w 1511813"/>
                <a:gd name="connsiteY42" fmla="*/ 380980 h 1516973"/>
                <a:gd name="connsiteX43" fmla="*/ 175108 w 1511813"/>
                <a:gd name="connsiteY43" fmla="*/ 284492 h 1516973"/>
                <a:gd name="connsiteX44" fmla="*/ 176140 w 1511813"/>
                <a:gd name="connsiteY44" fmla="*/ 267981 h 1516973"/>
                <a:gd name="connsiteX45" fmla="*/ 325258 w 1511813"/>
                <a:gd name="connsiteY45" fmla="*/ 132279 h 1516973"/>
                <a:gd name="connsiteX46" fmla="*/ 343317 w 1511813"/>
                <a:gd name="connsiteY46" fmla="*/ 132795 h 1516973"/>
                <a:gd name="connsiteX47" fmla="*/ 395431 w 1511813"/>
                <a:gd name="connsiteY47" fmla="*/ 178717 h 1516973"/>
                <a:gd name="connsiteX48" fmla="*/ 426389 w 1511813"/>
                <a:gd name="connsiteY48" fmla="*/ 224639 h 1516973"/>
                <a:gd name="connsiteX49" fmla="*/ 451156 w 1511813"/>
                <a:gd name="connsiteY49" fmla="*/ 231347 h 1516973"/>
                <a:gd name="connsiteX50" fmla="*/ 512042 w 1511813"/>
                <a:gd name="connsiteY50" fmla="*/ 200388 h 1516973"/>
                <a:gd name="connsiteX51" fmla="*/ 518233 w 1511813"/>
                <a:gd name="connsiteY51" fmla="*/ 183877 h 1516973"/>
                <a:gd name="connsiteX52" fmla="*/ 491403 w 1511813"/>
                <a:gd name="connsiteY52" fmla="*/ 69846 h 1516973"/>
                <a:gd name="connsiteX53" fmla="*/ 489855 w 1511813"/>
                <a:gd name="connsiteY53" fmla="*/ 58494 h 1516973"/>
                <a:gd name="connsiteX54" fmla="*/ 499658 w 1511813"/>
                <a:gd name="connsiteY54" fmla="*/ 43015 h 1516973"/>
                <a:gd name="connsiteX55" fmla="*/ 695730 w 1511813"/>
                <a:gd name="connsiteY55" fmla="*/ 189 h 1516973"/>
                <a:gd name="connsiteX56" fmla="*/ 713273 w 1511813"/>
                <a:gd name="connsiteY56" fmla="*/ 12056 h 1516973"/>
                <a:gd name="connsiteX57" fmla="*/ 721012 w 1511813"/>
                <a:gd name="connsiteY57" fmla="*/ 35275 h 1516973"/>
                <a:gd name="connsiteX58" fmla="*/ 738556 w 1511813"/>
                <a:gd name="connsiteY58" fmla="*/ 134343 h 1516973"/>
                <a:gd name="connsiteX59" fmla="*/ 753519 w 1511813"/>
                <a:gd name="connsiteY59" fmla="*/ 148790 h 1516973"/>
                <a:gd name="connsiteX60" fmla="*/ 820596 w 1511813"/>
                <a:gd name="connsiteY60" fmla="*/ 151886 h 1516973"/>
                <a:gd name="connsiteX61" fmla="*/ 838655 w 1511813"/>
                <a:gd name="connsiteY61" fmla="*/ 138471 h 1516973"/>
                <a:gd name="connsiteX62" fmla="*/ 877354 w 1511813"/>
                <a:gd name="connsiteY62" fmla="*/ 16700 h 1516973"/>
                <a:gd name="connsiteX63" fmla="*/ 892317 w 1511813"/>
                <a:gd name="connsiteY63" fmla="*/ 9476 h 1516973"/>
                <a:gd name="connsiteX64" fmla="*/ 1084777 w 1511813"/>
                <a:gd name="connsiteY64" fmla="*/ 70878 h 1516973"/>
                <a:gd name="connsiteX65" fmla="*/ 1093032 w 1511813"/>
                <a:gd name="connsiteY65" fmla="*/ 86873 h 1516973"/>
                <a:gd name="connsiteX66" fmla="*/ 1079617 w 1511813"/>
                <a:gd name="connsiteY66" fmla="*/ 152402 h 1516973"/>
                <a:gd name="connsiteX67" fmla="*/ 1053302 w 1511813"/>
                <a:gd name="connsiteY67" fmla="*/ 206580 h 1516973"/>
                <a:gd name="connsiteX68" fmla="*/ 1060010 w 1511813"/>
                <a:gd name="connsiteY68" fmla="*/ 228251 h 1516973"/>
                <a:gd name="connsiteX69" fmla="*/ 1118315 w 1511813"/>
                <a:gd name="connsiteY69" fmla="*/ 265917 h 1516973"/>
                <a:gd name="connsiteX70" fmla="*/ 1136374 w 1511813"/>
                <a:gd name="connsiteY70" fmla="*/ 262821 h 1516973"/>
                <a:gd name="connsiteX71" fmla="*/ 1232346 w 1511813"/>
                <a:gd name="connsiteY71" fmla="*/ 174589 h 1516973"/>
                <a:gd name="connsiteX72" fmla="*/ 1247825 w 1511813"/>
                <a:gd name="connsiteY72" fmla="*/ 175621 h 1516973"/>
                <a:gd name="connsiteX73" fmla="*/ 1384559 w 1511813"/>
                <a:gd name="connsiteY73" fmla="*/ 325770 h 1516973"/>
                <a:gd name="connsiteX74" fmla="*/ 1384043 w 1511813"/>
                <a:gd name="connsiteY74" fmla="*/ 342798 h 1516973"/>
                <a:gd name="connsiteX75" fmla="*/ 1336057 w 1511813"/>
                <a:gd name="connsiteY75" fmla="*/ 396975 h 1516973"/>
                <a:gd name="connsiteX76" fmla="*/ 1291167 w 1511813"/>
                <a:gd name="connsiteY76" fmla="*/ 426902 h 1516973"/>
                <a:gd name="connsiteX77" fmla="*/ 1284976 w 1511813"/>
                <a:gd name="connsiteY77" fmla="*/ 451153 h 1516973"/>
                <a:gd name="connsiteX78" fmla="*/ 1316450 w 1511813"/>
                <a:gd name="connsiteY78" fmla="*/ 513070 h 1516973"/>
                <a:gd name="connsiteX79" fmla="*/ 1330898 w 1511813"/>
                <a:gd name="connsiteY79" fmla="*/ 519262 h 1516973"/>
                <a:gd name="connsiteX80" fmla="*/ 1447509 w 1511813"/>
                <a:gd name="connsiteY80" fmla="*/ 491399 h 1516973"/>
                <a:gd name="connsiteX81" fmla="*/ 1458860 w 1511813"/>
                <a:gd name="connsiteY81" fmla="*/ 489851 h 1516973"/>
                <a:gd name="connsiteX82" fmla="*/ 1473307 w 1511813"/>
                <a:gd name="connsiteY82" fmla="*/ 499139 h 1516973"/>
                <a:gd name="connsiteX83" fmla="*/ 1513554 w 1511813"/>
                <a:gd name="connsiteY83" fmla="*/ 675603 h 1516973"/>
                <a:gd name="connsiteX84" fmla="*/ 1514070 w 1511813"/>
                <a:gd name="connsiteY84" fmla="*/ 679215 h 1516973"/>
                <a:gd name="connsiteX85" fmla="*/ 1490335 w 1511813"/>
                <a:gd name="connsiteY85" fmla="*/ 717397 h 1516973"/>
                <a:gd name="connsiteX86" fmla="*/ 1379916 w 1511813"/>
                <a:gd name="connsiteY86" fmla="*/ 738036 h 1516973"/>
                <a:gd name="connsiteX87" fmla="*/ 1367532 w 1511813"/>
                <a:gd name="connsiteY87" fmla="*/ 749904 h 1516973"/>
                <a:gd name="connsiteX88" fmla="*/ 1363920 w 1511813"/>
                <a:gd name="connsiteY88" fmla="*/ 822141 h 1516973"/>
                <a:gd name="connsiteX89" fmla="*/ 1375788 w 1511813"/>
                <a:gd name="connsiteY89" fmla="*/ 838136 h 1516973"/>
                <a:gd name="connsiteX90" fmla="*/ 1498590 w 1511813"/>
                <a:gd name="connsiteY90" fmla="*/ 876834 h 1516973"/>
                <a:gd name="connsiteX91" fmla="*/ 1506330 w 1511813"/>
                <a:gd name="connsiteY91" fmla="*/ 891798 h 1516973"/>
                <a:gd name="connsiteX92" fmla="*/ 1444413 w 1511813"/>
                <a:gd name="connsiteY92" fmla="*/ 1085289 h 1516973"/>
                <a:gd name="connsiteX93" fmla="*/ 1429449 w 1511813"/>
                <a:gd name="connsiteY93" fmla="*/ 1093029 h 1516973"/>
                <a:gd name="connsiteX94" fmla="*/ 1306647 w 1511813"/>
                <a:gd name="connsiteY94" fmla="*/ 1052783 h 1516973"/>
                <a:gd name="connsiteX95" fmla="*/ 1287556 w 1511813"/>
                <a:gd name="connsiteY95" fmla="*/ 1057942 h 1516973"/>
                <a:gd name="connsiteX96" fmla="*/ 1248857 w 1511813"/>
                <a:gd name="connsiteY96" fmla="*/ 1118828 h 1516973"/>
                <a:gd name="connsiteX97" fmla="*/ 1250405 w 1511813"/>
                <a:gd name="connsiteY97" fmla="*/ 1135339 h 1516973"/>
                <a:gd name="connsiteX98" fmla="*/ 1339153 w 1511813"/>
                <a:gd name="connsiteY98" fmla="*/ 1230795 h 1516973"/>
                <a:gd name="connsiteX99" fmla="*/ 1337605 w 1511813"/>
                <a:gd name="connsiteY99" fmla="*/ 1249370 h 1516973"/>
                <a:gd name="connsiteX100" fmla="*/ 1189004 w 1511813"/>
                <a:gd name="connsiteY100" fmla="*/ 1384040 h 1516973"/>
                <a:gd name="connsiteX101" fmla="*/ 1170945 w 1511813"/>
                <a:gd name="connsiteY101" fmla="*/ 1383524 h 1516973"/>
                <a:gd name="connsiteX102" fmla="*/ 1118831 w 1511813"/>
                <a:gd name="connsiteY102" fmla="*/ 1337602 h 1516973"/>
                <a:gd name="connsiteX103" fmla="*/ 1086840 w 1511813"/>
                <a:gd name="connsiteY103" fmla="*/ 1289616 h 1516973"/>
                <a:gd name="connsiteX104" fmla="*/ 1064137 w 1511813"/>
                <a:gd name="connsiteY104" fmla="*/ 1284456 h 1516973"/>
                <a:gd name="connsiteX105" fmla="*/ 1002220 w 1511813"/>
                <a:gd name="connsiteY105" fmla="*/ 1316447 h 1516973"/>
                <a:gd name="connsiteX106" fmla="*/ 996028 w 1511813"/>
                <a:gd name="connsiteY106" fmla="*/ 1332958 h 1516973"/>
                <a:gd name="connsiteX107" fmla="*/ 1022859 w 1511813"/>
                <a:gd name="connsiteY107" fmla="*/ 1446989 h 1516973"/>
                <a:gd name="connsiteX108" fmla="*/ 1024407 w 1511813"/>
                <a:gd name="connsiteY108" fmla="*/ 1459889 h 1516973"/>
                <a:gd name="connsiteX109" fmla="*/ 1015636 w 1511813"/>
                <a:gd name="connsiteY109" fmla="*/ 1473304 h 1516973"/>
                <a:gd name="connsiteX110" fmla="*/ 817500 w 1511813"/>
                <a:gd name="connsiteY110" fmla="*/ 1518710 h 1516973"/>
                <a:gd name="connsiteX111" fmla="*/ 758163 w 1511813"/>
                <a:gd name="connsiteY111" fmla="*/ 1148238 h 1516973"/>
                <a:gd name="connsiteX112" fmla="*/ 1145146 w 1511813"/>
                <a:gd name="connsiteY112" fmla="*/ 758675 h 1516973"/>
                <a:gd name="connsiteX113" fmla="*/ 757131 w 1511813"/>
                <a:gd name="connsiteY113" fmla="*/ 371176 h 1516973"/>
                <a:gd name="connsiteX114" fmla="*/ 368600 w 1511813"/>
                <a:gd name="connsiteY114" fmla="*/ 759707 h 1516973"/>
                <a:gd name="connsiteX115" fmla="*/ 758163 w 1511813"/>
                <a:gd name="connsiteY115" fmla="*/ 1148238 h 1516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</a:cxnLst>
              <a:rect l="l" t="t" r="r" b="b"/>
              <a:pathLst>
                <a:path w="1511813" h="1516973">
                  <a:moveTo>
                    <a:pt x="817500" y="1518710"/>
                  </a:moveTo>
                  <a:cubicBezTo>
                    <a:pt x="809245" y="1520774"/>
                    <a:pt x="805633" y="1516130"/>
                    <a:pt x="802537" y="1507875"/>
                  </a:cubicBezTo>
                  <a:cubicBezTo>
                    <a:pt x="795829" y="1486204"/>
                    <a:pt x="788090" y="1464532"/>
                    <a:pt x="780866" y="1442862"/>
                  </a:cubicBezTo>
                  <a:cubicBezTo>
                    <a:pt x="774674" y="1424286"/>
                    <a:pt x="777770" y="1404679"/>
                    <a:pt x="776738" y="1385072"/>
                  </a:cubicBezTo>
                  <a:cubicBezTo>
                    <a:pt x="776222" y="1369593"/>
                    <a:pt x="775706" y="1370109"/>
                    <a:pt x="760227" y="1369593"/>
                  </a:cubicBezTo>
                  <a:cubicBezTo>
                    <a:pt x="738556" y="1369593"/>
                    <a:pt x="716369" y="1368045"/>
                    <a:pt x="694698" y="1366497"/>
                  </a:cubicBezTo>
                  <a:cubicBezTo>
                    <a:pt x="683346" y="1365465"/>
                    <a:pt x="676638" y="1365981"/>
                    <a:pt x="676638" y="1379912"/>
                  </a:cubicBezTo>
                  <a:cubicBezTo>
                    <a:pt x="676638" y="1424286"/>
                    <a:pt x="655483" y="1462469"/>
                    <a:pt x="637940" y="1501683"/>
                  </a:cubicBezTo>
                  <a:cubicBezTo>
                    <a:pt x="634844" y="1508907"/>
                    <a:pt x="630716" y="1510454"/>
                    <a:pt x="622977" y="1508907"/>
                  </a:cubicBezTo>
                  <a:cubicBezTo>
                    <a:pt x="556416" y="1496523"/>
                    <a:pt x="492434" y="1475368"/>
                    <a:pt x="430517" y="1447505"/>
                  </a:cubicBezTo>
                  <a:cubicBezTo>
                    <a:pt x="423294" y="1443893"/>
                    <a:pt x="420198" y="1440282"/>
                    <a:pt x="422262" y="1431510"/>
                  </a:cubicBezTo>
                  <a:cubicBezTo>
                    <a:pt x="427421" y="1409323"/>
                    <a:pt x="431033" y="1386620"/>
                    <a:pt x="435677" y="1364433"/>
                  </a:cubicBezTo>
                  <a:cubicBezTo>
                    <a:pt x="439805" y="1344310"/>
                    <a:pt x="452704" y="1327798"/>
                    <a:pt x="461992" y="1310255"/>
                  </a:cubicBezTo>
                  <a:cubicBezTo>
                    <a:pt x="467152" y="1300452"/>
                    <a:pt x="466120" y="1295808"/>
                    <a:pt x="456316" y="1290132"/>
                  </a:cubicBezTo>
                  <a:cubicBezTo>
                    <a:pt x="435677" y="1278265"/>
                    <a:pt x="415554" y="1264849"/>
                    <a:pt x="395431" y="1251434"/>
                  </a:cubicBezTo>
                  <a:cubicBezTo>
                    <a:pt x="388207" y="1246274"/>
                    <a:pt x="383563" y="1246274"/>
                    <a:pt x="378919" y="1254014"/>
                  </a:cubicBezTo>
                  <a:cubicBezTo>
                    <a:pt x="356216" y="1293228"/>
                    <a:pt x="319066" y="1317479"/>
                    <a:pt x="283464" y="1342246"/>
                  </a:cubicBezTo>
                  <a:cubicBezTo>
                    <a:pt x="276240" y="1346890"/>
                    <a:pt x="272112" y="1346374"/>
                    <a:pt x="265920" y="1341214"/>
                  </a:cubicBezTo>
                  <a:cubicBezTo>
                    <a:pt x="214323" y="1297356"/>
                    <a:pt x="169433" y="1246790"/>
                    <a:pt x="130218" y="1191580"/>
                  </a:cubicBezTo>
                  <a:cubicBezTo>
                    <a:pt x="125575" y="1185389"/>
                    <a:pt x="125059" y="1180745"/>
                    <a:pt x="130734" y="1174553"/>
                  </a:cubicBezTo>
                  <a:cubicBezTo>
                    <a:pt x="146730" y="1157010"/>
                    <a:pt x="161177" y="1138435"/>
                    <a:pt x="177688" y="1121408"/>
                  </a:cubicBezTo>
                  <a:cubicBezTo>
                    <a:pt x="191104" y="1107476"/>
                    <a:pt x="209163" y="1099221"/>
                    <a:pt x="225674" y="1089417"/>
                  </a:cubicBezTo>
                  <a:cubicBezTo>
                    <a:pt x="236510" y="1083225"/>
                    <a:pt x="237026" y="1078065"/>
                    <a:pt x="230834" y="1067230"/>
                  </a:cubicBezTo>
                  <a:cubicBezTo>
                    <a:pt x="218967" y="1047107"/>
                    <a:pt x="208647" y="1025436"/>
                    <a:pt x="198327" y="1004281"/>
                  </a:cubicBezTo>
                  <a:cubicBezTo>
                    <a:pt x="194716" y="997057"/>
                    <a:pt x="192136" y="993445"/>
                    <a:pt x="183880" y="998089"/>
                  </a:cubicBezTo>
                  <a:cubicBezTo>
                    <a:pt x="147246" y="1017180"/>
                    <a:pt x="108031" y="1024920"/>
                    <a:pt x="67269" y="1025952"/>
                  </a:cubicBezTo>
                  <a:cubicBezTo>
                    <a:pt x="63657" y="1025952"/>
                    <a:pt x="59529" y="1026984"/>
                    <a:pt x="55918" y="1027500"/>
                  </a:cubicBezTo>
                  <a:cubicBezTo>
                    <a:pt x="48694" y="1028532"/>
                    <a:pt x="44050" y="1025952"/>
                    <a:pt x="41470" y="1018212"/>
                  </a:cubicBezTo>
                  <a:cubicBezTo>
                    <a:pt x="21347" y="960939"/>
                    <a:pt x="6384" y="902117"/>
                    <a:pt x="1224" y="841748"/>
                  </a:cubicBezTo>
                  <a:cubicBezTo>
                    <a:pt x="-1872" y="808725"/>
                    <a:pt x="-1356" y="809241"/>
                    <a:pt x="30635" y="797374"/>
                  </a:cubicBezTo>
                  <a:cubicBezTo>
                    <a:pt x="64173" y="784474"/>
                    <a:pt x="98744" y="775703"/>
                    <a:pt x="134862" y="778799"/>
                  </a:cubicBezTo>
                  <a:cubicBezTo>
                    <a:pt x="144150" y="779315"/>
                    <a:pt x="147246" y="775187"/>
                    <a:pt x="147246" y="765899"/>
                  </a:cubicBezTo>
                  <a:cubicBezTo>
                    <a:pt x="147246" y="742680"/>
                    <a:pt x="148278" y="719461"/>
                    <a:pt x="150342" y="696242"/>
                  </a:cubicBezTo>
                  <a:cubicBezTo>
                    <a:pt x="151373" y="685923"/>
                    <a:pt x="150858" y="678699"/>
                    <a:pt x="137442" y="678699"/>
                  </a:cubicBezTo>
                  <a:cubicBezTo>
                    <a:pt x="92552" y="678699"/>
                    <a:pt x="53854" y="657544"/>
                    <a:pt x="14639" y="639485"/>
                  </a:cubicBezTo>
                  <a:cubicBezTo>
                    <a:pt x="7932" y="636389"/>
                    <a:pt x="6384" y="632261"/>
                    <a:pt x="7932" y="625037"/>
                  </a:cubicBezTo>
                  <a:cubicBezTo>
                    <a:pt x="20315" y="558476"/>
                    <a:pt x="40954" y="494495"/>
                    <a:pt x="69333" y="432578"/>
                  </a:cubicBezTo>
                  <a:cubicBezTo>
                    <a:pt x="72945" y="424838"/>
                    <a:pt x="77073" y="421742"/>
                    <a:pt x="86360" y="423806"/>
                  </a:cubicBezTo>
                  <a:cubicBezTo>
                    <a:pt x="107515" y="428450"/>
                    <a:pt x="129186" y="432578"/>
                    <a:pt x="150858" y="436706"/>
                  </a:cubicBezTo>
                  <a:cubicBezTo>
                    <a:pt x="171497" y="440833"/>
                    <a:pt x="188008" y="453733"/>
                    <a:pt x="206583" y="463536"/>
                  </a:cubicBezTo>
                  <a:cubicBezTo>
                    <a:pt x="216903" y="468696"/>
                    <a:pt x="221546" y="467664"/>
                    <a:pt x="227738" y="457345"/>
                  </a:cubicBezTo>
                  <a:cubicBezTo>
                    <a:pt x="239606" y="436706"/>
                    <a:pt x="253021" y="416582"/>
                    <a:pt x="266952" y="396459"/>
                  </a:cubicBezTo>
                  <a:cubicBezTo>
                    <a:pt x="271596" y="389752"/>
                    <a:pt x="271596" y="385108"/>
                    <a:pt x="264373" y="380980"/>
                  </a:cubicBezTo>
                  <a:cubicBezTo>
                    <a:pt x="225158" y="357761"/>
                    <a:pt x="200391" y="320611"/>
                    <a:pt x="175108" y="284492"/>
                  </a:cubicBezTo>
                  <a:cubicBezTo>
                    <a:pt x="170465" y="277785"/>
                    <a:pt x="170981" y="273657"/>
                    <a:pt x="176140" y="267981"/>
                  </a:cubicBezTo>
                  <a:cubicBezTo>
                    <a:pt x="219998" y="216383"/>
                    <a:pt x="270048" y="171493"/>
                    <a:pt x="325258" y="132279"/>
                  </a:cubicBezTo>
                  <a:cubicBezTo>
                    <a:pt x="331966" y="127635"/>
                    <a:pt x="336609" y="126603"/>
                    <a:pt x="343317" y="132795"/>
                  </a:cubicBezTo>
                  <a:cubicBezTo>
                    <a:pt x="360344" y="148274"/>
                    <a:pt x="378404" y="162722"/>
                    <a:pt x="395431" y="178717"/>
                  </a:cubicBezTo>
                  <a:cubicBezTo>
                    <a:pt x="409362" y="191616"/>
                    <a:pt x="416070" y="209160"/>
                    <a:pt x="426389" y="224639"/>
                  </a:cubicBezTo>
                  <a:cubicBezTo>
                    <a:pt x="437741" y="241666"/>
                    <a:pt x="435161" y="240634"/>
                    <a:pt x="451156" y="231347"/>
                  </a:cubicBezTo>
                  <a:cubicBezTo>
                    <a:pt x="470763" y="219995"/>
                    <a:pt x="491403" y="209676"/>
                    <a:pt x="512042" y="200388"/>
                  </a:cubicBezTo>
                  <a:cubicBezTo>
                    <a:pt x="521329" y="196260"/>
                    <a:pt x="522361" y="192132"/>
                    <a:pt x="518233" y="183877"/>
                  </a:cubicBezTo>
                  <a:cubicBezTo>
                    <a:pt x="499142" y="148274"/>
                    <a:pt x="492434" y="109576"/>
                    <a:pt x="491403" y="69846"/>
                  </a:cubicBezTo>
                  <a:cubicBezTo>
                    <a:pt x="491403" y="66234"/>
                    <a:pt x="490371" y="62106"/>
                    <a:pt x="489855" y="58494"/>
                  </a:cubicBezTo>
                  <a:cubicBezTo>
                    <a:pt x="488307" y="50239"/>
                    <a:pt x="491403" y="46111"/>
                    <a:pt x="499658" y="43015"/>
                  </a:cubicBezTo>
                  <a:cubicBezTo>
                    <a:pt x="563123" y="20312"/>
                    <a:pt x="628653" y="6380"/>
                    <a:pt x="695730" y="189"/>
                  </a:cubicBezTo>
                  <a:cubicBezTo>
                    <a:pt x="706049" y="-843"/>
                    <a:pt x="710693" y="2253"/>
                    <a:pt x="713273" y="12056"/>
                  </a:cubicBezTo>
                  <a:cubicBezTo>
                    <a:pt x="715337" y="19796"/>
                    <a:pt x="717917" y="27536"/>
                    <a:pt x="721012" y="35275"/>
                  </a:cubicBezTo>
                  <a:cubicBezTo>
                    <a:pt x="734428" y="67266"/>
                    <a:pt x="741136" y="99772"/>
                    <a:pt x="738556" y="134343"/>
                  </a:cubicBezTo>
                  <a:cubicBezTo>
                    <a:pt x="737524" y="145694"/>
                    <a:pt x="742168" y="148790"/>
                    <a:pt x="753519" y="148790"/>
                  </a:cubicBezTo>
                  <a:cubicBezTo>
                    <a:pt x="775706" y="148274"/>
                    <a:pt x="797893" y="149822"/>
                    <a:pt x="820596" y="151886"/>
                  </a:cubicBezTo>
                  <a:cubicBezTo>
                    <a:pt x="831948" y="152918"/>
                    <a:pt x="838655" y="152402"/>
                    <a:pt x="838655" y="138471"/>
                  </a:cubicBezTo>
                  <a:cubicBezTo>
                    <a:pt x="838655" y="94097"/>
                    <a:pt x="859810" y="55914"/>
                    <a:pt x="877354" y="16700"/>
                  </a:cubicBezTo>
                  <a:cubicBezTo>
                    <a:pt x="880449" y="9476"/>
                    <a:pt x="885093" y="7928"/>
                    <a:pt x="892317" y="9476"/>
                  </a:cubicBezTo>
                  <a:cubicBezTo>
                    <a:pt x="958878" y="21860"/>
                    <a:pt x="1022859" y="42499"/>
                    <a:pt x="1084777" y="70878"/>
                  </a:cubicBezTo>
                  <a:cubicBezTo>
                    <a:pt x="1092000" y="74489"/>
                    <a:pt x="1095096" y="78617"/>
                    <a:pt x="1093032" y="86873"/>
                  </a:cubicBezTo>
                  <a:cubicBezTo>
                    <a:pt x="1088388" y="108544"/>
                    <a:pt x="1084261" y="130731"/>
                    <a:pt x="1079617" y="152402"/>
                  </a:cubicBezTo>
                  <a:cubicBezTo>
                    <a:pt x="1075489" y="172525"/>
                    <a:pt x="1062590" y="189036"/>
                    <a:pt x="1053302" y="206580"/>
                  </a:cubicBezTo>
                  <a:cubicBezTo>
                    <a:pt x="1047626" y="217415"/>
                    <a:pt x="1048658" y="222575"/>
                    <a:pt x="1060010" y="228251"/>
                  </a:cubicBezTo>
                  <a:cubicBezTo>
                    <a:pt x="1080133" y="239602"/>
                    <a:pt x="1099740" y="252502"/>
                    <a:pt x="1118315" y="265917"/>
                  </a:cubicBezTo>
                  <a:cubicBezTo>
                    <a:pt x="1126571" y="272109"/>
                    <a:pt x="1131214" y="271593"/>
                    <a:pt x="1136374" y="262821"/>
                  </a:cubicBezTo>
                  <a:cubicBezTo>
                    <a:pt x="1159077" y="223607"/>
                    <a:pt x="1196744" y="199872"/>
                    <a:pt x="1232346" y="174589"/>
                  </a:cubicBezTo>
                  <a:cubicBezTo>
                    <a:pt x="1238538" y="170461"/>
                    <a:pt x="1242666" y="170977"/>
                    <a:pt x="1247825" y="175621"/>
                  </a:cubicBezTo>
                  <a:cubicBezTo>
                    <a:pt x="1299939" y="219995"/>
                    <a:pt x="1345345" y="270045"/>
                    <a:pt x="1384559" y="325770"/>
                  </a:cubicBezTo>
                  <a:cubicBezTo>
                    <a:pt x="1389203" y="331962"/>
                    <a:pt x="1389719" y="336606"/>
                    <a:pt x="1384043" y="342798"/>
                  </a:cubicBezTo>
                  <a:cubicBezTo>
                    <a:pt x="1368048" y="360857"/>
                    <a:pt x="1352569" y="379432"/>
                    <a:pt x="1336057" y="396975"/>
                  </a:cubicBezTo>
                  <a:cubicBezTo>
                    <a:pt x="1323674" y="409875"/>
                    <a:pt x="1306131" y="417098"/>
                    <a:pt x="1291167" y="426902"/>
                  </a:cubicBezTo>
                  <a:cubicBezTo>
                    <a:pt x="1276720" y="436706"/>
                    <a:pt x="1276720" y="436190"/>
                    <a:pt x="1284976" y="451153"/>
                  </a:cubicBezTo>
                  <a:cubicBezTo>
                    <a:pt x="1295811" y="471792"/>
                    <a:pt x="1306647" y="492431"/>
                    <a:pt x="1316450" y="513070"/>
                  </a:cubicBezTo>
                  <a:cubicBezTo>
                    <a:pt x="1320062" y="520294"/>
                    <a:pt x="1323158" y="523390"/>
                    <a:pt x="1330898" y="519262"/>
                  </a:cubicBezTo>
                  <a:cubicBezTo>
                    <a:pt x="1367532" y="500171"/>
                    <a:pt x="1406746" y="492431"/>
                    <a:pt x="1447509" y="491399"/>
                  </a:cubicBezTo>
                  <a:cubicBezTo>
                    <a:pt x="1451120" y="491399"/>
                    <a:pt x="1455248" y="490367"/>
                    <a:pt x="1458860" y="489851"/>
                  </a:cubicBezTo>
                  <a:cubicBezTo>
                    <a:pt x="1466600" y="488819"/>
                    <a:pt x="1470728" y="491399"/>
                    <a:pt x="1473307" y="499139"/>
                  </a:cubicBezTo>
                  <a:cubicBezTo>
                    <a:pt x="1493431" y="556412"/>
                    <a:pt x="1508394" y="615234"/>
                    <a:pt x="1513554" y="675603"/>
                  </a:cubicBezTo>
                  <a:cubicBezTo>
                    <a:pt x="1513554" y="676635"/>
                    <a:pt x="1513554" y="678183"/>
                    <a:pt x="1514070" y="679215"/>
                  </a:cubicBezTo>
                  <a:cubicBezTo>
                    <a:pt x="1518713" y="714301"/>
                    <a:pt x="1519745" y="706046"/>
                    <a:pt x="1490335" y="717397"/>
                  </a:cubicBezTo>
                  <a:cubicBezTo>
                    <a:pt x="1454732" y="730813"/>
                    <a:pt x="1418614" y="741648"/>
                    <a:pt x="1379916" y="738036"/>
                  </a:cubicBezTo>
                  <a:cubicBezTo>
                    <a:pt x="1371144" y="737004"/>
                    <a:pt x="1368048" y="740616"/>
                    <a:pt x="1367532" y="749904"/>
                  </a:cubicBezTo>
                  <a:cubicBezTo>
                    <a:pt x="1367016" y="774155"/>
                    <a:pt x="1365984" y="797890"/>
                    <a:pt x="1363920" y="822141"/>
                  </a:cubicBezTo>
                  <a:cubicBezTo>
                    <a:pt x="1363404" y="831944"/>
                    <a:pt x="1363920" y="838136"/>
                    <a:pt x="1375788" y="838136"/>
                  </a:cubicBezTo>
                  <a:cubicBezTo>
                    <a:pt x="1420678" y="838136"/>
                    <a:pt x="1459376" y="858775"/>
                    <a:pt x="1498590" y="876834"/>
                  </a:cubicBezTo>
                  <a:cubicBezTo>
                    <a:pt x="1505298" y="879930"/>
                    <a:pt x="1507878" y="883542"/>
                    <a:pt x="1506330" y="891798"/>
                  </a:cubicBezTo>
                  <a:cubicBezTo>
                    <a:pt x="1493947" y="958875"/>
                    <a:pt x="1472791" y="1023372"/>
                    <a:pt x="1444413" y="1085289"/>
                  </a:cubicBezTo>
                  <a:cubicBezTo>
                    <a:pt x="1441317" y="1092513"/>
                    <a:pt x="1437189" y="1094577"/>
                    <a:pt x="1429449" y="1093029"/>
                  </a:cubicBezTo>
                  <a:cubicBezTo>
                    <a:pt x="1386623" y="1085289"/>
                    <a:pt x="1343797" y="1078581"/>
                    <a:pt x="1306647" y="1052783"/>
                  </a:cubicBezTo>
                  <a:cubicBezTo>
                    <a:pt x="1297875" y="1046591"/>
                    <a:pt x="1293231" y="1048655"/>
                    <a:pt x="1287556" y="1057942"/>
                  </a:cubicBezTo>
                  <a:cubicBezTo>
                    <a:pt x="1275688" y="1078581"/>
                    <a:pt x="1262273" y="1098705"/>
                    <a:pt x="1248857" y="1118828"/>
                  </a:cubicBezTo>
                  <a:cubicBezTo>
                    <a:pt x="1244214" y="1125535"/>
                    <a:pt x="1242150" y="1130179"/>
                    <a:pt x="1250405" y="1135339"/>
                  </a:cubicBezTo>
                  <a:cubicBezTo>
                    <a:pt x="1289620" y="1158558"/>
                    <a:pt x="1313871" y="1194676"/>
                    <a:pt x="1339153" y="1230795"/>
                  </a:cubicBezTo>
                  <a:cubicBezTo>
                    <a:pt x="1344313" y="1238018"/>
                    <a:pt x="1343797" y="1242662"/>
                    <a:pt x="1337605" y="1249370"/>
                  </a:cubicBezTo>
                  <a:cubicBezTo>
                    <a:pt x="1293747" y="1300968"/>
                    <a:pt x="1244214" y="1345342"/>
                    <a:pt x="1189004" y="1384040"/>
                  </a:cubicBezTo>
                  <a:cubicBezTo>
                    <a:pt x="1182296" y="1388684"/>
                    <a:pt x="1177652" y="1389716"/>
                    <a:pt x="1170945" y="1383524"/>
                  </a:cubicBezTo>
                  <a:cubicBezTo>
                    <a:pt x="1153918" y="1368045"/>
                    <a:pt x="1135858" y="1353597"/>
                    <a:pt x="1118831" y="1337602"/>
                  </a:cubicBezTo>
                  <a:cubicBezTo>
                    <a:pt x="1104384" y="1324187"/>
                    <a:pt x="1096644" y="1306128"/>
                    <a:pt x="1086840" y="1289616"/>
                  </a:cubicBezTo>
                  <a:cubicBezTo>
                    <a:pt x="1080133" y="1278265"/>
                    <a:pt x="1074973" y="1277749"/>
                    <a:pt x="1064137" y="1284456"/>
                  </a:cubicBezTo>
                  <a:cubicBezTo>
                    <a:pt x="1044530" y="1296324"/>
                    <a:pt x="1023375" y="1306643"/>
                    <a:pt x="1002220" y="1316447"/>
                  </a:cubicBezTo>
                  <a:cubicBezTo>
                    <a:pt x="993449" y="1320575"/>
                    <a:pt x="991385" y="1324703"/>
                    <a:pt x="996028" y="1332958"/>
                  </a:cubicBezTo>
                  <a:cubicBezTo>
                    <a:pt x="1015120" y="1368561"/>
                    <a:pt x="1021827" y="1407259"/>
                    <a:pt x="1022859" y="1446989"/>
                  </a:cubicBezTo>
                  <a:cubicBezTo>
                    <a:pt x="1022859" y="1451117"/>
                    <a:pt x="1023891" y="1455245"/>
                    <a:pt x="1024407" y="1459889"/>
                  </a:cubicBezTo>
                  <a:cubicBezTo>
                    <a:pt x="1025439" y="1466596"/>
                    <a:pt x="1022859" y="1470724"/>
                    <a:pt x="1015636" y="1473304"/>
                  </a:cubicBezTo>
                  <a:cubicBezTo>
                    <a:pt x="970745" y="1493943"/>
                    <a:pt x="870646" y="1516130"/>
                    <a:pt x="817500" y="1518710"/>
                  </a:cubicBezTo>
                  <a:close/>
                  <a:moveTo>
                    <a:pt x="758163" y="1148238"/>
                  </a:moveTo>
                  <a:cubicBezTo>
                    <a:pt x="974357" y="1144627"/>
                    <a:pt x="1145146" y="976418"/>
                    <a:pt x="1145146" y="758675"/>
                  </a:cubicBezTo>
                  <a:cubicBezTo>
                    <a:pt x="1145146" y="542481"/>
                    <a:pt x="974357" y="371176"/>
                    <a:pt x="757131" y="371176"/>
                  </a:cubicBezTo>
                  <a:cubicBezTo>
                    <a:pt x="539904" y="371176"/>
                    <a:pt x="368600" y="542481"/>
                    <a:pt x="368600" y="759707"/>
                  </a:cubicBezTo>
                  <a:cubicBezTo>
                    <a:pt x="369116" y="977966"/>
                    <a:pt x="541452" y="1145659"/>
                    <a:pt x="758163" y="1148238"/>
                  </a:cubicBezTo>
                  <a:close/>
                </a:path>
              </a:pathLst>
            </a:custGeom>
            <a:grpFill/>
            <a:ln w="51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D9AE250E-0814-4DFF-80F3-7D1B1F0463B4}"/>
                </a:ext>
              </a:extLst>
            </p:cNvPr>
            <p:cNvGrpSpPr/>
            <p:nvPr/>
          </p:nvGrpSpPr>
          <p:grpSpPr>
            <a:xfrm>
              <a:off x="3563163" y="3556278"/>
              <a:ext cx="1218879" cy="1218879"/>
              <a:chOff x="3264582" y="1870309"/>
              <a:chExt cx="1774962" cy="1774962"/>
            </a:xfrm>
            <a:grpFill/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FAA6CAE3-5ACB-4D9C-ADB8-97A59EC650F1}"/>
                  </a:ext>
                </a:extLst>
              </p:cNvPr>
              <p:cNvSpPr/>
              <p:nvPr/>
            </p:nvSpPr>
            <p:spPr>
              <a:xfrm>
                <a:off x="3264582" y="1870309"/>
                <a:ext cx="1774962" cy="1774962"/>
              </a:xfrm>
              <a:custGeom>
                <a:avLst/>
                <a:gdLst>
                  <a:gd name="connsiteX0" fmla="*/ 894776 w 1774962"/>
                  <a:gd name="connsiteY0" fmla="*/ 1775736 h 1774962"/>
                  <a:gd name="connsiteX1" fmla="*/ 852466 w 1774962"/>
                  <a:gd name="connsiteY1" fmla="*/ 1775736 h 1774962"/>
                  <a:gd name="connsiteX2" fmla="*/ 839567 w 1774962"/>
                  <a:gd name="connsiteY2" fmla="*/ 1764901 h 1774962"/>
                  <a:gd name="connsiteX3" fmla="*/ 819960 w 1774962"/>
                  <a:gd name="connsiteY3" fmla="*/ 1666349 h 1774962"/>
                  <a:gd name="connsiteX4" fmla="*/ 822024 w 1774962"/>
                  <a:gd name="connsiteY4" fmla="*/ 1636938 h 1774962"/>
                  <a:gd name="connsiteX5" fmla="*/ 811704 w 1774962"/>
                  <a:gd name="connsiteY5" fmla="*/ 1623523 h 1774962"/>
                  <a:gd name="connsiteX6" fmla="*/ 695093 w 1774962"/>
                  <a:gd name="connsiteY6" fmla="*/ 1601852 h 1774962"/>
                  <a:gd name="connsiteX7" fmla="*/ 680130 w 1774962"/>
                  <a:gd name="connsiteY7" fmla="*/ 1610623 h 1774962"/>
                  <a:gd name="connsiteX8" fmla="*/ 615116 w 1774962"/>
                  <a:gd name="connsiteY8" fmla="*/ 1727234 h 1774962"/>
                  <a:gd name="connsiteX9" fmla="*/ 603765 w 1774962"/>
                  <a:gd name="connsiteY9" fmla="*/ 1730330 h 1774962"/>
                  <a:gd name="connsiteX10" fmla="*/ 512953 w 1774962"/>
                  <a:gd name="connsiteY10" fmla="*/ 1694212 h 1774962"/>
                  <a:gd name="connsiteX11" fmla="*/ 507277 w 1774962"/>
                  <a:gd name="connsiteY11" fmla="*/ 1681828 h 1774962"/>
                  <a:gd name="connsiteX12" fmla="*/ 527400 w 1774962"/>
                  <a:gd name="connsiteY12" fmla="*/ 1583277 h 1774962"/>
                  <a:gd name="connsiteX13" fmla="*/ 541848 w 1774962"/>
                  <a:gd name="connsiteY13" fmla="*/ 1552834 h 1774962"/>
                  <a:gd name="connsiteX14" fmla="*/ 537720 w 1774962"/>
                  <a:gd name="connsiteY14" fmla="*/ 1539418 h 1774962"/>
                  <a:gd name="connsiteX15" fmla="*/ 435041 w 1774962"/>
                  <a:gd name="connsiteY15" fmla="*/ 1472857 h 1774962"/>
                  <a:gd name="connsiteX16" fmla="*/ 420593 w 1774962"/>
                  <a:gd name="connsiteY16" fmla="*/ 1474921 h 1774962"/>
                  <a:gd name="connsiteX17" fmla="*/ 315334 w 1774962"/>
                  <a:gd name="connsiteY17" fmla="*/ 1559026 h 1774962"/>
                  <a:gd name="connsiteX18" fmla="*/ 302950 w 1774962"/>
                  <a:gd name="connsiteY18" fmla="*/ 1557478 h 1774962"/>
                  <a:gd name="connsiteX19" fmla="*/ 233809 w 1774962"/>
                  <a:gd name="connsiteY19" fmla="*/ 1490401 h 1774962"/>
                  <a:gd name="connsiteX20" fmla="*/ 232777 w 1774962"/>
                  <a:gd name="connsiteY20" fmla="*/ 1476985 h 1774962"/>
                  <a:gd name="connsiteX21" fmla="*/ 289019 w 1774962"/>
                  <a:gd name="connsiteY21" fmla="*/ 1393397 h 1774962"/>
                  <a:gd name="connsiteX22" fmla="*/ 312754 w 1774962"/>
                  <a:gd name="connsiteY22" fmla="*/ 1371726 h 1774962"/>
                  <a:gd name="connsiteX23" fmla="*/ 314818 w 1774962"/>
                  <a:gd name="connsiteY23" fmla="*/ 1355731 h 1774962"/>
                  <a:gd name="connsiteX24" fmla="*/ 246193 w 1774962"/>
                  <a:gd name="connsiteY24" fmla="*/ 1255631 h 1774962"/>
                  <a:gd name="connsiteX25" fmla="*/ 230713 w 1774962"/>
                  <a:gd name="connsiteY25" fmla="*/ 1253051 h 1774962"/>
                  <a:gd name="connsiteX26" fmla="*/ 102751 w 1774962"/>
                  <a:gd name="connsiteY26" fmla="*/ 1289685 h 1774962"/>
                  <a:gd name="connsiteX27" fmla="*/ 91916 w 1774962"/>
                  <a:gd name="connsiteY27" fmla="*/ 1282978 h 1774962"/>
                  <a:gd name="connsiteX28" fmla="*/ 53733 w 1774962"/>
                  <a:gd name="connsiteY28" fmla="*/ 1194230 h 1774962"/>
                  <a:gd name="connsiteX29" fmla="*/ 58377 w 1774962"/>
                  <a:gd name="connsiteY29" fmla="*/ 1181330 h 1774962"/>
                  <a:gd name="connsiteX30" fmla="*/ 142481 w 1774962"/>
                  <a:gd name="connsiteY30" fmla="*/ 1125605 h 1774962"/>
                  <a:gd name="connsiteX31" fmla="*/ 173956 w 1774962"/>
                  <a:gd name="connsiteY31" fmla="*/ 1114253 h 1774962"/>
                  <a:gd name="connsiteX32" fmla="*/ 180664 w 1774962"/>
                  <a:gd name="connsiteY32" fmla="*/ 1101870 h 1774962"/>
                  <a:gd name="connsiteX33" fmla="*/ 154865 w 1774962"/>
                  <a:gd name="connsiteY33" fmla="*/ 981131 h 1774962"/>
                  <a:gd name="connsiteX34" fmla="*/ 144029 w 1774962"/>
                  <a:gd name="connsiteY34" fmla="*/ 973391 h 1774962"/>
                  <a:gd name="connsiteX35" fmla="*/ 10391 w 1774962"/>
                  <a:gd name="connsiteY35" fmla="*/ 958428 h 1774962"/>
                  <a:gd name="connsiteX36" fmla="*/ 2135 w 1774962"/>
                  <a:gd name="connsiteY36" fmla="*/ 948624 h 1774962"/>
                  <a:gd name="connsiteX37" fmla="*/ 588 w 1774962"/>
                  <a:gd name="connsiteY37" fmla="*/ 850589 h 1774962"/>
                  <a:gd name="connsiteX38" fmla="*/ 10391 w 1774962"/>
                  <a:gd name="connsiteY38" fmla="*/ 840785 h 1774962"/>
                  <a:gd name="connsiteX39" fmla="*/ 110491 w 1774962"/>
                  <a:gd name="connsiteY39" fmla="*/ 820662 h 1774962"/>
                  <a:gd name="connsiteX40" fmla="*/ 139901 w 1774962"/>
                  <a:gd name="connsiteY40" fmla="*/ 822726 h 1774962"/>
                  <a:gd name="connsiteX41" fmla="*/ 153317 w 1774962"/>
                  <a:gd name="connsiteY41" fmla="*/ 811890 h 1774962"/>
                  <a:gd name="connsiteX42" fmla="*/ 174472 w 1774962"/>
                  <a:gd name="connsiteY42" fmla="*/ 696827 h 1774962"/>
                  <a:gd name="connsiteX43" fmla="*/ 164152 w 1774962"/>
                  <a:gd name="connsiteY43" fmla="*/ 680316 h 1774962"/>
                  <a:gd name="connsiteX44" fmla="*/ 49090 w 1774962"/>
                  <a:gd name="connsiteY44" fmla="*/ 615819 h 1774962"/>
                  <a:gd name="connsiteX45" fmla="*/ 45993 w 1774962"/>
                  <a:gd name="connsiteY45" fmla="*/ 606015 h 1774962"/>
                  <a:gd name="connsiteX46" fmla="*/ 82628 w 1774962"/>
                  <a:gd name="connsiteY46" fmla="*/ 513655 h 1774962"/>
                  <a:gd name="connsiteX47" fmla="*/ 93979 w 1774962"/>
                  <a:gd name="connsiteY47" fmla="*/ 508496 h 1774962"/>
                  <a:gd name="connsiteX48" fmla="*/ 224006 w 1774962"/>
                  <a:gd name="connsiteY48" fmla="*/ 543066 h 1774962"/>
                  <a:gd name="connsiteX49" fmla="*/ 236905 w 1774962"/>
                  <a:gd name="connsiteY49" fmla="*/ 538938 h 1774962"/>
                  <a:gd name="connsiteX50" fmla="*/ 302434 w 1774962"/>
                  <a:gd name="connsiteY50" fmla="*/ 437291 h 1774962"/>
                  <a:gd name="connsiteX51" fmla="*/ 302950 w 1774962"/>
                  <a:gd name="connsiteY51" fmla="*/ 423359 h 1774962"/>
                  <a:gd name="connsiteX52" fmla="*/ 238453 w 1774962"/>
                  <a:gd name="connsiteY52" fmla="*/ 346995 h 1774962"/>
                  <a:gd name="connsiteX53" fmla="*/ 228650 w 1774962"/>
                  <a:gd name="connsiteY53" fmla="*/ 333063 h 1774962"/>
                  <a:gd name="connsiteX54" fmla="*/ 230713 w 1774962"/>
                  <a:gd name="connsiteY54" fmla="*/ 290237 h 1774962"/>
                  <a:gd name="connsiteX55" fmla="*/ 283859 w 1774962"/>
                  <a:gd name="connsiteY55" fmla="*/ 236060 h 1774962"/>
                  <a:gd name="connsiteX56" fmla="*/ 300370 w 1774962"/>
                  <a:gd name="connsiteY56" fmla="*/ 234512 h 1774962"/>
                  <a:gd name="connsiteX57" fmla="*/ 380863 w 1774962"/>
                  <a:gd name="connsiteY57" fmla="*/ 288173 h 1774962"/>
                  <a:gd name="connsiteX58" fmla="*/ 403050 w 1774962"/>
                  <a:gd name="connsiteY58" fmla="*/ 311392 h 1774962"/>
                  <a:gd name="connsiteX59" fmla="*/ 422141 w 1774962"/>
                  <a:gd name="connsiteY59" fmla="*/ 313972 h 1774962"/>
                  <a:gd name="connsiteX60" fmla="*/ 519661 w 1774962"/>
                  <a:gd name="connsiteY60" fmla="*/ 246895 h 1774962"/>
                  <a:gd name="connsiteX61" fmla="*/ 524820 w 1774962"/>
                  <a:gd name="connsiteY61" fmla="*/ 233996 h 1774962"/>
                  <a:gd name="connsiteX62" fmla="*/ 492314 w 1774962"/>
                  <a:gd name="connsiteY62" fmla="*/ 127704 h 1774962"/>
                  <a:gd name="connsiteX63" fmla="*/ 514501 w 1774962"/>
                  <a:gd name="connsiteY63" fmla="*/ 82298 h 1774962"/>
                  <a:gd name="connsiteX64" fmla="*/ 578482 w 1774962"/>
                  <a:gd name="connsiteY64" fmla="*/ 55468 h 1774962"/>
                  <a:gd name="connsiteX65" fmla="*/ 595509 w 1774962"/>
                  <a:gd name="connsiteY65" fmla="*/ 60111 h 1774962"/>
                  <a:gd name="connsiteX66" fmla="*/ 648655 w 1774962"/>
                  <a:gd name="connsiteY66" fmla="*/ 139572 h 1774962"/>
                  <a:gd name="connsiteX67" fmla="*/ 661039 w 1774962"/>
                  <a:gd name="connsiteY67" fmla="*/ 172078 h 1774962"/>
                  <a:gd name="connsiteX68" fmla="*/ 675486 w 1774962"/>
                  <a:gd name="connsiteY68" fmla="*/ 180334 h 1774962"/>
                  <a:gd name="connsiteX69" fmla="*/ 792613 w 1774962"/>
                  <a:gd name="connsiteY69" fmla="*/ 155567 h 1774962"/>
                  <a:gd name="connsiteX70" fmla="*/ 801900 w 1774962"/>
                  <a:gd name="connsiteY70" fmla="*/ 143700 h 1774962"/>
                  <a:gd name="connsiteX71" fmla="*/ 816864 w 1774962"/>
                  <a:gd name="connsiteY71" fmla="*/ 11094 h 1774962"/>
                  <a:gd name="connsiteX72" fmla="*/ 826151 w 1774962"/>
                  <a:gd name="connsiteY72" fmla="*/ 2322 h 1774962"/>
                  <a:gd name="connsiteX73" fmla="*/ 925219 w 1774962"/>
                  <a:gd name="connsiteY73" fmla="*/ 774 h 1774962"/>
                  <a:gd name="connsiteX74" fmla="*/ 934507 w 1774962"/>
                  <a:gd name="connsiteY74" fmla="*/ 10062 h 1774962"/>
                  <a:gd name="connsiteX75" fmla="*/ 954114 w 1774962"/>
                  <a:gd name="connsiteY75" fmla="*/ 111193 h 1774962"/>
                  <a:gd name="connsiteX76" fmla="*/ 952050 w 1774962"/>
                  <a:gd name="connsiteY76" fmla="*/ 140604 h 1774962"/>
                  <a:gd name="connsiteX77" fmla="*/ 962369 w 1774962"/>
                  <a:gd name="connsiteY77" fmla="*/ 152987 h 1774962"/>
                  <a:gd name="connsiteX78" fmla="*/ 1078980 w 1774962"/>
                  <a:gd name="connsiteY78" fmla="*/ 174658 h 1774962"/>
                  <a:gd name="connsiteX79" fmla="*/ 1093428 w 1774962"/>
                  <a:gd name="connsiteY79" fmla="*/ 168467 h 1774962"/>
                  <a:gd name="connsiteX80" fmla="*/ 1147089 w 1774962"/>
                  <a:gd name="connsiteY80" fmla="*/ 69399 h 1774962"/>
                  <a:gd name="connsiteX81" fmla="*/ 1192495 w 1774962"/>
                  <a:gd name="connsiteY81" fmla="*/ 54436 h 1774962"/>
                  <a:gd name="connsiteX82" fmla="*/ 1258024 w 1774962"/>
                  <a:gd name="connsiteY82" fmla="*/ 81266 h 1774962"/>
                  <a:gd name="connsiteX83" fmla="*/ 1267312 w 1774962"/>
                  <a:gd name="connsiteY83" fmla="*/ 96746 h 1774962"/>
                  <a:gd name="connsiteX84" fmla="*/ 1247705 w 1774962"/>
                  <a:gd name="connsiteY84" fmla="*/ 192718 h 1774962"/>
                  <a:gd name="connsiteX85" fmla="*/ 1233258 w 1774962"/>
                  <a:gd name="connsiteY85" fmla="*/ 224192 h 1774962"/>
                  <a:gd name="connsiteX86" fmla="*/ 1237385 w 1774962"/>
                  <a:gd name="connsiteY86" fmla="*/ 237608 h 1774962"/>
                  <a:gd name="connsiteX87" fmla="*/ 1340065 w 1774962"/>
                  <a:gd name="connsiteY87" fmla="*/ 304169 h 1774962"/>
                  <a:gd name="connsiteX88" fmla="*/ 1354512 w 1774962"/>
                  <a:gd name="connsiteY88" fmla="*/ 302621 h 1774962"/>
                  <a:gd name="connsiteX89" fmla="*/ 1459771 w 1774962"/>
                  <a:gd name="connsiteY89" fmla="*/ 218516 h 1774962"/>
                  <a:gd name="connsiteX90" fmla="*/ 1472155 w 1774962"/>
                  <a:gd name="connsiteY90" fmla="*/ 220064 h 1774962"/>
                  <a:gd name="connsiteX91" fmla="*/ 1541296 w 1774962"/>
                  <a:gd name="connsiteY91" fmla="*/ 287657 h 1774962"/>
                  <a:gd name="connsiteX92" fmla="*/ 1542328 w 1774962"/>
                  <a:gd name="connsiteY92" fmla="*/ 301073 h 1774962"/>
                  <a:gd name="connsiteX93" fmla="*/ 1485570 w 1774962"/>
                  <a:gd name="connsiteY93" fmla="*/ 385693 h 1774962"/>
                  <a:gd name="connsiteX94" fmla="*/ 1462868 w 1774962"/>
                  <a:gd name="connsiteY94" fmla="*/ 406332 h 1774962"/>
                  <a:gd name="connsiteX95" fmla="*/ 1460803 w 1774962"/>
                  <a:gd name="connsiteY95" fmla="*/ 422327 h 1774962"/>
                  <a:gd name="connsiteX96" fmla="*/ 1529428 w 1774962"/>
                  <a:gd name="connsiteY96" fmla="*/ 522427 h 1774962"/>
                  <a:gd name="connsiteX97" fmla="*/ 1544908 w 1774962"/>
                  <a:gd name="connsiteY97" fmla="*/ 525007 h 1774962"/>
                  <a:gd name="connsiteX98" fmla="*/ 1672870 w 1774962"/>
                  <a:gd name="connsiteY98" fmla="*/ 488373 h 1774962"/>
                  <a:gd name="connsiteX99" fmla="*/ 1683706 w 1774962"/>
                  <a:gd name="connsiteY99" fmla="*/ 495080 h 1774962"/>
                  <a:gd name="connsiteX100" fmla="*/ 1721888 w 1774962"/>
                  <a:gd name="connsiteY100" fmla="*/ 583828 h 1774962"/>
                  <a:gd name="connsiteX101" fmla="*/ 1717244 w 1774962"/>
                  <a:gd name="connsiteY101" fmla="*/ 596728 h 1774962"/>
                  <a:gd name="connsiteX102" fmla="*/ 1633140 w 1774962"/>
                  <a:gd name="connsiteY102" fmla="*/ 652453 h 1774962"/>
                  <a:gd name="connsiteX103" fmla="*/ 1601665 w 1774962"/>
                  <a:gd name="connsiteY103" fmla="*/ 663805 h 1774962"/>
                  <a:gd name="connsiteX104" fmla="*/ 1594958 w 1774962"/>
                  <a:gd name="connsiteY104" fmla="*/ 676188 h 1774962"/>
                  <a:gd name="connsiteX105" fmla="*/ 1620241 w 1774962"/>
                  <a:gd name="connsiteY105" fmla="*/ 795895 h 1774962"/>
                  <a:gd name="connsiteX106" fmla="*/ 1631076 w 1774962"/>
                  <a:gd name="connsiteY106" fmla="*/ 804667 h 1774962"/>
                  <a:gd name="connsiteX107" fmla="*/ 1763682 w 1774962"/>
                  <a:gd name="connsiteY107" fmla="*/ 819630 h 1774962"/>
                  <a:gd name="connsiteX108" fmla="*/ 1773486 w 1774962"/>
                  <a:gd name="connsiteY108" fmla="*/ 829950 h 1774962"/>
                  <a:gd name="connsiteX109" fmla="*/ 1775034 w 1774962"/>
                  <a:gd name="connsiteY109" fmla="*/ 927985 h 1774962"/>
                  <a:gd name="connsiteX110" fmla="*/ 1766262 w 1774962"/>
                  <a:gd name="connsiteY110" fmla="*/ 937273 h 1774962"/>
                  <a:gd name="connsiteX111" fmla="*/ 1663583 w 1774962"/>
                  <a:gd name="connsiteY111" fmla="*/ 957396 h 1774962"/>
                  <a:gd name="connsiteX112" fmla="*/ 1636752 w 1774962"/>
                  <a:gd name="connsiteY112" fmla="*/ 955332 h 1774962"/>
                  <a:gd name="connsiteX113" fmla="*/ 1622304 w 1774962"/>
                  <a:gd name="connsiteY113" fmla="*/ 966684 h 1774962"/>
                  <a:gd name="connsiteX114" fmla="*/ 1601149 w 1774962"/>
                  <a:gd name="connsiteY114" fmla="*/ 1081746 h 1774962"/>
                  <a:gd name="connsiteX115" fmla="*/ 1610437 w 1774962"/>
                  <a:gd name="connsiteY115" fmla="*/ 1097742 h 1774962"/>
                  <a:gd name="connsiteX116" fmla="*/ 1726016 w 1774962"/>
                  <a:gd name="connsiteY116" fmla="*/ 1161723 h 1774962"/>
                  <a:gd name="connsiteX117" fmla="*/ 1729112 w 1774962"/>
                  <a:gd name="connsiteY117" fmla="*/ 1174107 h 1774962"/>
                  <a:gd name="connsiteX118" fmla="*/ 1693509 w 1774962"/>
                  <a:gd name="connsiteY118" fmla="*/ 1263887 h 1774962"/>
                  <a:gd name="connsiteX119" fmla="*/ 1681126 w 1774962"/>
                  <a:gd name="connsiteY119" fmla="*/ 1270078 h 1774962"/>
                  <a:gd name="connsiteX120" fmla="*/ 1581542 w 1774962"/>
                  <a:gd name="connsiteY120" fmla="*/ 1249955 h 1774962"/>
                  <a:gd name="connsiteX121" fmla="*/ 1552647 w 1774962"/>
                  <a:gd name="connsiteY121" fmla="*/ 1236024 h 1774962"/>
                  <a:gd name="connsiteX122" fmla="*/ 1538200 w 1774962"/>
                  <a:gd name="connsiteY122" fmla="*/ 1240152 h 1774962"/>
                  <a:gd name="connsiteX123" fmla="*/ 1473187 w 1774962"/>
                  <a:gd name="connsiteY123" fmla="*/ 1340767 h 1774962"/>
                  <a:gd name="connsiteX124" fmla="*/ 1475251 w 1774962"/>
                  <a:gd name="connsiteY124" fmla="*/ 1358310 h 1774962"/>
                  <a:gd name="connsiteX125" fmla="*/ 1535104 w 1774962"/>
                  <a:gd name="connsiteY125" fmla="*/ 1430031 h 1774962"/>
                  <a:gd name="connsiteX126" fmla="*/ 1545424 w 1774962"/>
                  <a:gd name="connsiteY126" fmla="*/ 1444995 h 1774962"/>
                  <a:gd name="connsiteX127" fmla="*/ 1542844 w 1774962"/>
                  <a:gd name="connsiteY127" fmla="*/ 1489885 h 1774962"/>
                  <a:gd name="connsiteX128" fmla="*/ 1491246 w 1774962"/>
                  <a:gd name="connsiteY128" fmla="*/ 1542514 h 1774962"/>
                  <a:gd name="connsiteX129" fmla="*/ 1472155 w 1774962"/>
                  <a:gd name="connsiteY129" fmla="*/ 1544062 h 1774962"/>
                  <a:gd name="connsiteX130" fmla="*/ 1393726 w 1774962"/>
                  <a:gd name="connsiteY130" fmla="*/ 1491948 h 1774962"/>
                  <a:gd name="connsiteX131" fmla="*/ 1369992 w 1774962"/>
                  <a:gd name="connsiteY131" fmla="*/ 1466666 h 1774962"/>
                  <a:gd name="connsiteX132" fmla="*/ 1352964 w 1774962"/>
                  <a:gd name="connsiteY132" fmla="*/ 1464602 h 1774962"/>
                  <a:gd name="connsiteX133" fmla="*/ 1254413 w 1774962"/>
                  <a:gd name="connsiteY133" fmla="*/ 1532711 h 1774962"/>
                  <a:gd name="connsiteX134" fmla="*/ 1248737 w 1774962"/>
                  <a:gd name="connsiteY134" fmla="*/ 1544578 h 1774962"/>
                  <a:gd name="connsiteX135" fmla="*/ 1284339 w 1774962"/>
                  <a:gd name="connsiteY135" fmla="*/ 1662221 h 1774962"/>
                  <a:gd name="connsiteX136" fmla="*/ 1268860 w 1774962"/>
                  <a:gd name="connsiteY136" fmla="*/ 1693180 h 1774962"/>
                  <a:gd name="connsiteX137" fmla="*/ 1195591 w 1774962"/>
                  <a:gd name="connsiteY137" fmla="*/ 1724654 h 1774962"/>
                  <a:gd name="connsiteX138" fmla="*/ 1178564 w 1774962"/>
                  <a:gd name="connsiteY138" fmla="*/ 1719495 h 1774962"/>
                  <a:gd name="connsiteX139" fmla="*/ 1125418 w 1774962"/>
                  <a:gd name="connsiteY139" fmla="*/ 1640034 h 1774962"/>
                  <a:gd name="connsiteX140" fmla="*/ 1113035 w 1774962"/>
                  <a:gd name="connsiteY140" fmla="*/ 1606496 h 1774962"/>
                  <a:gd name="connsiteX141" fmla="*/ 1099619 w 1774962"/>
                  <a:gd name="connsiteY141" fmla="*/ 1599272 h 1774962"/>
                  <a:gd name="connsiteX142" fmla="*/ 979913 w 1774962"/>
                  <a:gd name="connsiteY142" fmla="*/ 1624555 h 1774962"/>
                  <a:gd name="connsiteX143" fmla="*/ 972173 w 1774962"/>
                  <a:gd name="connsiteY143" fmla="*/ 1634874 h 1774962"/>
                  <a:gd name="connsiteX144" fmla="*/ 957726 w 1774962"/>
                  <a:gd name="connsiteY144" fmla="*/ 1767481 h 1774962"/>
                  <a:gd name="connsiteX145" fmla="*/ 945858 w 1774962"/>
                  <a:gd name="connsiteY145" fmla="*/ 1777800 h 1774962"/>
                  <a:gd name="connsiteX146" fmla="*/ 895808 w 1774962"/>
                  <a:gd name="connsiteY146" fmla="*/ 1779864 h 1774962"/>
                  <a:gd name="connsiteX147" fmla="*/ 894776 w 1774962"/>
                  <a:gd name="connsiteY147" fmla="*/ 1775736 h 1774962"/>
                  <a:gd name="connsiteX148" fmla="*/ 890648 w 1774962"/>
                  <a:gd name="connsiteY148" fmla="*/ 1454798 h 1774962"/>
                  <a:gd name="connsiteX149" fmla="*/ 1452548 w 1774962"/>
                  <a:gd name="connsiteY149" fmla="*/ 884127 h 1774962"/>
                  <a:gd name="connsiteX150" fmla="*/ 881361 w 1774962"/>
                  <a:gd name="connsiteY150" fmla="*/ 322228 h 1774962"/>
                  <a:gd name="connsiteX151" fmla="*/ 320494 w 1774962"/>
                  <a:gd name="connsiteY151" fmla="*/ 893415 h 1774962"/>
                  <a:gd name="connsiteX152" fmla="*/ 890648 w 1774962"/>
                  <a:gd name="connsiteY152" fmla="*/ 1454798 h 1774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</a:cxnLst>
                <a:rect l="l" t="t" r="r" b="b"/>
                <a:pathLst>
                  <a:path w="1774962" h="1774962">
                    <a:moveTo>
                      <a:pt x="894776" y="1775736"/>
                    </a:moveTo>
                    <a:cubicBezTo>
                      <a:pt x="880845" y="1775736"/>
                      <a:pt x="866397" y="1775736"/>
                      <a:pt x="852466" y="1775736"/>
                    </a:cubicBezTo>
                    <a:cubicBezTo>
                      <a:pt x="844726" y="1775736"/>
                      <a:pt x="840599" y="1772640"/>
                      <a:pt x="839567" y="1764901"/>
                    </a:cubicBezTo>
                    <a:cubicBezTo>
                      <a:pt x="833375" y="1731878"/>
                      <a:pt x="826151" y="1699371"/>
                      <a:pt x="819960" y="1666349"/>
                    </a:cubicBezTo>
                    <a:cubicBezTo>
                      <a:pt x="817896" y="1656545"/>
                      <a:pt x="820992" y="1646742"/>
                      <a:pt x="822024" y="1636938"/>
                    </a:cubicBezTo>
                    <a:cubicBezTo>
                      <a:pt x="823056" y="1628682"/>
                      <a:pt x="820992" y="1624555"/>
                      <a:pt x="811704" y="1623523"/>
                    </a:cubicBezTo>
                    <a:cubicBezTo>
                      <a:pt x="772490" y="1619395"/>
                      <a:pt x="733275" y="1612171"/>
                      <a:pt x="695093" y="1601852"/>
                    </a:cubicBezTo>
                    <a:cubicBezTo>
                      <a:pt x="686837" y="1599788"/>
                      <a:pt x="682194" y="1602368"/>
                      <a:pt x="680130" y="1610623"/>
                    </a:cubicBezTo>
                    <a:cubicBezTo>
                      <a:pt x="669294" y="1655513"/>
                      <a:pt x="636788" y="1688020"/>
                      <a:pt x="615116" y="1727234"/>
                    </a:cubicBezTo>
                    <a:cubicBezTo>
                      <a:pt x="612537" y="1731878"/>
                      <a:pt x="608409" y="1731878"/>
                      <a:pt x="603765" y="1730330"/>
                    </a:cubicBezTo>
                    <a:cubicBezTo>
                      <a:pt x="572807" y="1720011"/>
                      <a:pt x="542364" y="1707627"/>
                      <a:pt x="512953" y="1694212"/>
                    </a:cubicBezTo>
                    <a:cubicBezTo>
                      <a:pt x="506761" y="1691632"/>
                      <a:pt x="506245" y="1686988"/>
                      <a:pt x="507277" y="1681828"/>
                    </a:cubicBezTo>
                    <a:cubicBezTo>
                      <a:pt x="513985" y="1648806"/>
                      <a:pt x="519661" y="1615783"/>
                      <a:pt x="527400" y="1583277"/>
                    </a:cubicBezTo>
                    <a:cubicBezTo>
                      <a:pt x="529980" y="1572441"/>
                      <a:pt x="536172" y="1562637"/>
                      <a:pt x="541848" y="1552834"/>
                    </a:cubicBezTo>
                    <a:cubicBezTo>
                      <a:pt x="545460" y="1546642"/>
                      <a:pt x="544428" y="1543030"/>
                      <a:pt x="537720" y="1539418"/>
                    </a:cubicBezTo>
                    <a:cubicBezTo>
                      <a:pt x="501601" y="1520327"/>
                      <a:pt x="467547" y="1497624"/>
                      <a:pt x="435041" y="1472857"/>
                    </a:cubicBezTo>
                    <a:cubicBezTo>
                      <a:pt x="429365" y="1468214"/>
                      <a:pt x="425237" y="1468214"/>
                      <a:pt x="420593" y="1474921"/>
                    </a:cubicBezTo>
                    <a:cubicBezTo>
                      <a:pt x="393762" y="1512588"/>
                      <a:pt x="350936" y="1531163"/>
                      <a:pt x="315334" y="1559026"/>
                    </a:cubicBezTo>
                    <a:cubicBezTo>
                      <a:pt x="310690" y="1562637"/>
                      <a:pt x="307078" y="1561090"/>
                      <a:pt x="302950" y="1557478"/>
                    </a:cubicBezTo>
                    <a:cubicBezTo>
                      <a:pt x="278699" y="1536323"/>
                      <a:pt x="255996" y="1513104"/>
                      <a:pt x="233809" y="1490401"/>
                    </a:cubicBezTo>
                    <a:cubicBezTo>
                      <a:pt x="229682" y="1485757"/>
                      <a:pt x="229165" y="1482145"/>
                      <a:pt x="232777" y="1476985"/>
                    </a:cubicBezTo>
                    <a:cubicBezTo>
                      <a:pt x="251352" y="1449122"/>
                      <a:pt x="269928" y="1421260"/>
                      <a:pt x="289019" y="1393397"/>
                    </a:cubicBezTo>
                    <a:cubicBezTo>
                      <a:pt x="295210" y="1384625"/>
                      <a:pt x="304498" y="1378949"/>
                      <a:pt x="312754" y="1371726"/>
                    </a:cubicBezTo>
                    <a:cubicBezTo>
                      <a:pt x="318946" y="1366566"/>
                      <a:pt x="319978" y="1361922"/>
                      <a:pt x="314818" y="1355731"/>
                    </a:cubicBezTo>
                    <a:cubicBezTo>
                      <a:pt x="289535" y="1324256"/>
                      <a:pt x="266316" y="1291233"/>
                      <a:pt x="246193" y="1255631"/>
                    </a:cubicBezTo>
                    <a:cubicBezTo>
                      <a:pt x="241549" y="1247375"/>
                      <a:pt x="236905" y="1248923"/>
                      <a:pt x="230713" y="1253051"/>
                    </a:cubicBezTo>
                    <a:cubicBezTo>
                      <a:pt x="191499" y="1277302"/>
                      <a:pt x="145577" y="1277818"/>
                      <a:pt x="102751" y="1289685"/>
                    </a:cubicBezTo>
                    <a:cubicBezTo>
                      <a:pt x="97075" y="1291233"/>
                      <a:pt x="93979" y="1288137"/>
                      <a:pt x="91916" y="1282978"/>
                    </a:cubicBezTo>
                    <a:cubicBezTo>
                      <a:pt x="77984" y="1254083"/>
                      <a:pt x="65085" y="1224156"/>
                      <a:pt x="53733" y="1194230"/>
                    </a:cubicBezTo>
                    <a:cubicBezTo>
                      <a:pt x="51669" y="1188038"/>
                      <a:pt x="53217" y="1184426"/>
                      <a:pt x="58377" y="1181330"/>
                    </a:cubicBezTo>
                    <a:cubicBezTo>
                      <a:pt x="86240" y="1162755"/>
                      <a:pt x="113587" y="1143664"/>
                      <a:pt x="142481" y="1125605"/>
                    </a:cubicBezTo>
                    <a:cubicBezTo>
                      <a:pt x="151769" y="1119929"/>
                      <a:pt x="163120" y="1117349"/>
                      <a:pt x="173956" y="1114253"/>
                    </a:cubicBezTo>
                    <a:cubicBezTo>
                      <a:pt x="180664" y="1112189"/>
                      <a:pt x="182727" y="1109093"/>
                      <a:pt x="180664" y="1101870"/>
                    </a:cubicBezTo>
                    <a:cubicBezTo>
                      <a:pt x="168796" y="1062139"/>
                      <a:pt x="160541" y="1021893"/>
                      <a:pt x="154865" y="981131"/>
                    </a:cubicBezTo>
                    <a:cubicBezTo>
                      <a:pt x="153833" y="974423"/>
                      <a:pt x="150737" y="972359"/>
                      <a:pt x="144029" y="973391"/>
                    </a:cubicBezTo>
                    <a:cubicBezTo>
                      <a:pt x="98107" y="981131"/>
                      <a:pt x="54765" y="963588"/>
                      <a:pt x="10391" y="958428"/>
                    </a:cubicBezTo>
                    <a:cubicBezTo>
                      <a:pt x="4715" y="957912"/>
                      <a:pt x="2652" y="954300"/>
                      <a:pt x="2135" y="948624"/>
                    </a:cubicBezTo>
                    <a:cubicBezTo>
                      <a:pt x="-960" y="916118"/>
                      <a:pt x="72" y="883611"/>
                      <a:pt x="588" y="850589"/>
                    </a:cubicBezTo>
                    <a:cubicBezTo>
                      <a:pt x="588" y="844397"/>
                      <a:pt x="4715" y="841817"/>
                      <a:pt x="10391" y="840785"/>
                    </a:cubicBezTo>
                    <a:cubicBezTo>
                      <a:pt x="43930" y="834077"/>
                      <a:pt x="76952" y="827370"/>
                      <a:pt x="110491" y="820662"/>
                    </a:cubicBezTo>
                    <a:cubicBezTo>
                      <a:pt x="120294" y="818598"/>
                      <a:pt x="130098" y="821694"/>
                      <a:pt x="139901" y="822726"/>
                    </a:cubicBezTo>
                    <a:cubicBezTo>
                      <a:pt x="148157" y="823758"/>
                      <a:pt x="152285" y="820662"/>
                      <a:pt x="153317" y="811890"/>
                    </a:cubicBezTo>
                    <a:cubicBezTo>
                      <a:pt x="157445" y="773192"/>
                      <a:pt x="164668" y="734494"/>
                      <a:pt x="174472" y="696827"/>
                    </a:cubicBezTo>
                    <a:cubicBezTo>
                      <a:pt x="177052" y="687024"/>
                      <a:pt x="173440" y="682380"/>
                      <a:pt x="164152" y="680316"/>
                    </a:cubicBezTo>
                    <a:cubicBezTo>
                      <a:pt x="120294" y="668965"/>
                      <a:pt x="87272" y="636974"/>
                      <a:pt x="49090" y="615819"/>
                    </a:cubicBezTo>
                    <a:cubicBezTo>
                      <a:pt x="44961" y="613755"/>
                      <a:pt x="44961" y="610143"/>
                      <a:pt x="45993" y="606015"/>
                    </a:cubicBezTo>
                    <a:cubicBezTo>
                      <a:pt x="56313" y="574541"/>
                      <a:pt x="69212" y="544098"/>
                      <a:pt x="82628" y="513655"/>
                    </a:cubicBezTo>
                    <a:cubicBezTo>
                      <a:pt x="85208" y="507980"/>
                      <a:pt x="89336" y="506948"/>
                      <a:pt x="93979" y="508496"/>
                    </a:cubicBezTo>
                    <a:cubicBezTo>
                      <a:pt x="137322" y="519847"/>
                      <a:pt x="183760" y="518815"/>
                      <a:pt x="224006" y="543066"/>
                    </a:cubicBezTo>
                    <a:cubicBezTo>
                      <a:pt x="230713" y="547194"/>
                      <a:pt x="233809" y="544614"/>
                      <a:pt x="236905" y="538938"/>
                    </a:cubicBezTo>
                    <a:cubicBezTo>
                      <a:pt x="255996" y="503336"/>
                      <a:pt x="278183" y="469281"/>
                      <a:pt x="302434" y="437291"/>
                    </a:cubicBezTo>
                    <a:cubicBezTo>
                      <a:pt x="305530" y="433163"/>
                      <a:pt x="310690" y="428519"/>
                      <a:pt x="302950" y="423359"/>
                    </a:cubicBezTo>
                    <a:cubicBezTo>
                      <a:pt x="273540" y="404268"/>
                      <a:pt x="258576" y="373826"/>
                      <a:pt x="238453" y="346995"/>
                    </a:cubicBezTo>
                    <a:cubicBezTo>
                      <a:pt x="234841" y="342351"/>
                      <a:pt x="232262" y="337707"/>
                      <a:pt x="228650" y="333063"/>
                    </a:cubicBezTo>
                    <a:cubicBezTo>
                      <a:pt x="212654" y="310360"/>
                      <a:pt x="212138" y="309844"/>
                      <a:pt x="230713" y="290237"/>
                    </a:cubicBezTo>
                    <a:cubicBezTo>
                      <a:pt x="248257" y="271662"/>
                      <a:pt x="266316" y="254119"/>
                      <a:pt x="283859" y="236060"/>
                    </a:cubicBezTo>
                    <a:cubicBezTo>
                      <a:pt x="289535" y="230384"/>
                      <a:pt x="294179" y="229868"/>
                      <a:pt x="300370" y="234512"/>
                    </a:cubicBezTo>
                    <a:cubicBezTo>
                      <a:pt x="327201" y="252571"/>
                      <a:pt x="354032" y="270114"/>
                      <a:pt x="380863" y="288173"/>
                    </a:cubicBezTo>
                    <a:cubicBezTo>
                      <a:pt x="390150" y="294365"/>
                      <a:pt x="396342" y="303137"/>
                      <a:pt x="403050" y="311392"/>
                    </a:cubicBezTo>
                    <a:cubicBezTo>
                      <a:pt x="408726" y="319132"/>
                      <a:pt x="413885" y="320680"/>
                      <a:pt x="422141" y="313972"/>
                    </a:cubicBezTo>
                    <a:cubicBezTo>
                      <a:pt x="452584" y="288689"/>
                      <a:pt x="485606" y="266502"/>
                      <a:pt x="519661" y="246895"/>
                    </a:cubicBezTo>
                    <a:cubicBezTo>
                      <a:pt x="524820" y="243799"/>
                      <a:pt x="529464" y="240703"/>
                      <a:pt x="524820" y="233996"/>
                    </a:cubicBezTo>
                    <a:cubicBezTo>
                      <a:pt x="502633" y="202005"/>
                      <a:pt x="501086" y="163823"/>
                      <a:pt x="492314" y="127704"/>
                    </a:cubicBezTo>
                    <a:cubicBezTo>
                      <a:pt x="484574" y="96230"/>
                      <a:pt x="485606" y="96746"/>
                      <a:pt x="514501" y="82298"/>
                    </a:cubicBezTo>
                    <a:cubicBezTo>
                      <a:pt x="535140" y="71979"/>
                      <a:pt x="557327" y="64239"/>
                      <a:pt x="578482" y="55468"/>
                    </a:cubicBezTo>
                    <a:cubicBezTo>
                      <a:pt x="586222" y="52372"/>
                      <a:pt x="590866" y="52888"/>
                      <a:pt x="595509" y="60111"/>
                    </a:cubicBezTo>
                    <a:cubicBezTo>
                      <a:pt x="613053" y="86942"/>
                      <a:pt x="630596" y="113257"/>
                      <a:pt x="648655" y="139572"/>
                    </a:cubicBezTo>
                    <a:cubicBezTo>
                      <a:pt x="655363" y="149375"/>
                      <a:pt x="657427" y="160727"/>
                      <a:pt x="661039" y="172078"/>
                    </a:cubicBezTo>
                    <a:cubicBezTo>
                      <a:pt x="663618" y="180334"/>
                      <a:pt x="667230" y="182914"/>
                      <a:pt x="675486" y="180334"/>
                    </a:cubicBezTo>
                    <a:cubicBezTo>
                      <a:pt x="713668" y="168983"/>
                      <a:pt x="752882" y="160727"/>
                      <a:pt x="792613" y="155567"/>
                    </a:cubicBezTo>
                    <a:cubicBezTo>
                      <a:pt x="800352" y="154535"/>
                      <a:pt x="802932" y="151439"/>
                      <a:pt x="801900" y="143700"/>
                    </a:cubicBezTo>
                    <a:cubicBezTo>
                      <a:pt x="795193" y="98294"/>
                      <a:pt x="811704" y="55468"/>
                      <a:pt x="816864" y="11094"/>
                    </a:cubicBezTo>
                    <a:cubicBezTo>
                      <a:pt x="817380" y="5934"/>
                      <a:pt x="820476" y="2838"/>
                      <a:pt x="826151" y="2322"/>
                    </a:cubicBezTo>
                    <a:cubicBezTo>
                      <a:pt x="859174" y="-1290"/>
                      <a:pt x="892196" y="258"/>
                      <a:pt x="925219" y="774"/>
                    </a:cubicBezTo>
                    <a:cubicBezTo>
                      <a:pt x="930895" y="774"/>
                      <a:pt x="933475" y="4902"/>
                      <a:pt x="934507" y="10062"/>
                    </a:cubicBezTo>
                    <a:cubicBezTo>
                      <a:pt x="941214" y="43600"/>
                      <a:pt x="948438" y="77139"/>
                      <a:pt x="954114" y="111193"/>
                    </a:cubicBezTo>
                    <a:cubicBezTo>
                      <a:pt x="955662" y="120481"/>
                      <a:pt x="953082" y="130800"/>
                      <a:pt x="952050" y="140604"/>
                    </a:cubicBezTo>
                    <a:cubicBezTo>
                      <a:pt x="951018" y="148343"/>
                      <a:pt x="954114" y="151955"/>
                      <a:pt x="962369" y="152987"/>
                    </a:cubicBezTo>
                    <a:cubicBezTo>
                      <a:pt x="1001584" y="157115"/>
                      <a:pt x="1040798" y="164339"/>
                      <a:pt x="1078980" y="174658"/>
                    </a:cubicBezTo>
                    <a:cubicBezTo>
                      <a:pt x="1085172" y="176206"/>
                      <a:pt x="1091364" y="176722"/>
                      <a:pt x="1093428" y="168467"/>
                    </a:cubicBezTo>
                    <a:cubicBezTo>
                      <a:pt x="1101683" y="130284"/>
                      <a:pt x="1127482" y="101390"/>
                      <a:pt x="1147089" y="69399"/>
                    </a:cubicBezTo>
                    <a:cubicBezTo>
                      <a:pt x="1162569" y="43084"/>
                      <a:pt x="1163601" y="43600"/>
                      <a:pt x="1192495" y="54436"/>
                    </a:cubicBezTo>
                    <a:cubicBezTo>
                      <a:pt x="1214682" y="62691"/>
                      <a:pt x="1236353" y="71979"/>
                      <a:pt x="1258024" y="81266"/>
                    </a:cubicBezTo>
                    <a:cubicBezTo>
                      <a:pt x="1265764" y="84362"/>
                      <a:pt x="1268860" y="88490"/>
                      <a:pt x="1267312" y="96746"/>
                    </a:cubicBezTo>
                    <a:cubicBezTo>
                      <a:pt x="1260604" y="128736"/>
                      <a:pt x="1254928" y="160727"/>
                      <a:pt x="1247705" y="192718"/>
                    </a:cubicBezTo>
                    <a:cubicBezTo>
                      <a:pt x="1245125" y="203553"/>
                      <a:pt x="1238417" y="213873"/>
                      <a:pt x="1233258" y="224192"/>
                    </a:cubicBezTo>
                    <a:cubicBezTo>
                      <a:pt x="1229646" y="230384"/>
                      <a:pt x="1230678" y="233996"/>
                      <a:pt x="1237385" y="237608"/>
                    </a:cubicBezTo>
                    <a:cubicBezTo>
                      <a:pt x="1273504" y="256699"/>
                      <a:pt x="1307558" y="279402"/>
                      <a:pt x="1340065" y="304169"/>
                    </a:cubicBezTo>
                    <a:cubicBezTo>
                      <a:pt x="1345741" y="308812"/>
                      <a:pt x="1349868" y="309328"/>
                      <a:pt x="1354512" y="302621"/>
                    </a:cubicBezTo>
                    <a:cubicBezTo>
                      <a:pt x="1381343" y="264954"/>
                      <a:pt x="1424169" y="246379"/>
                      <a:pt x="1459771" y="218516"/>
                    </a:cubicBezTo>
                    <a:cubicBezTo>
                      <a:pt x="1464415" y="214905"/>
                      <a:pt x="1468027" y="216452"/>
                      <a:pt x="1472155" y="220064"/>
                    </a:cubicBezTo>
                    <a:cubicBezTo>
                      <a:pt x="1496406" y="241219"/>
                      <a:pt x="1519109" y="264438"/>
                      <a:pt x="1541296" y="287657"/>
                    </a:cubicBezTo>
                    <a:cubicBezTo>
                      <a:pt x="1545424" y="292301"/>
                      <a:pt x="1545940" y="296429"/>
                      <a:pt x="1542328" y="301073"/>
                    </a:cubicBezTo>
                    <a:cubicBezTo>
                      <a:pt x="1523237" y="329452"/>
                      <a:pt x="1505177" y="357830"/>
                      <a:pt x="1485570" y="385693"/>
                    </a:cubicBezTo>
                    <a:cubicBezTo>
                      <a:pt x="1479895" y="393949"/>
                      <a:pt x="1470607" y="400140"/>
                      <a:pt x="1462868" y="406332"/>
                    </a:cubicBezTo>
                    <a:cubicBezTo>
                      <a:pt x="1456676" y="411492"/>
                      <a:pt x="1455644" y="416136"/>
                      <a:pt x="1460803" y="422327"/>
                    </a:cubicBezTo>
                    <a:cubicBezTo>
                      <a:pt x="1486086" y="453802"/>
                      <a:pt x="1509305" y="487341"/>
                      <a:pt x="1529428" y="522427"/>
                    </a:cubicBezTo>
                    <a:cubicBezTo>
                      <a:pt x="1534072" y="530167"/>
                      <a:pt x="1538716" y="529135"/>
                      <a:pt x="1544908" y="525007"/>
                    </a:cubicBezTo>
                    <a:cubicBezTo>
                      <a:pt x="1584122" y="500756"/>
                      <a:pt x="1630044" y="500240"/>
                      <a:pt x="1672870" y="488373"/>
                    </a:cubicBezTo>
                    <a:cubicBezTo>
                      <a:pt x="1678546" y="486825"/>
                      <a:pt x="1681642" y="489921"/>
                      <a:pt x="1683706" y="495080"/>
                    </a:cubicBezTo>
                    <a:cubicBezTo>
                      <a:pt x="1697637" y="523975"/>
                      <a:pt x="1710537" y="553902"/>
                      <a:pt x="1721888" y="583828"/>
                    </a:cubicBezTo>
                    <a:cubicBezTo>
                      <a:pt x="1723952" y="590020"/>
                      <a:pt x="1722404" y="593632"/>
                      <a:pt x="1717244" y="596728"/>
                    </a:cubicBezTo>
                    <a:cubicBezTo>
                      <a:pt x="1689381" y="615303"/>
                      <a:pt x="1662035" y="634394"/>
                      <a:pt x="1633140" y="652453"/>
                    </a:cubicBezTo>
                    <a:cubicBezTo>
                      <a:pt x="1623852" y="658129"/>
                      <a:pt x="1612501" y="660709"/>
                      <a:pt x="1601665" y="663805"/>
                    </a:cubicBezTo>
                    <a:cubicBezTo>
                      <a:pt x="1594958" y="665869"/>
                      <a:pt x="1592894" y="668965"/>
                      <a:pt x="1594958" y="676188"/>
                    </a:cubicBezTo>
                    <a:cubicBezTo>
                      <a:pt x="1606309" y="715403"/>
                      <a:pt x="1615081" y="755133"/>
                      <a:pt x="1620241" y="795895"/>
                    </a:cubicBezTo>
                    <a:cubicBezTo>
                      <a:pt x="1621272" y="803119"/>
                      <a:pt x="1624368" y="805699"/>
                      <a:pt x="1631076" y="804667"/>
                    </a:cubicBezTo>
                    <a:cubicBezTo>
                      <a:pt x="1676482" y="797959"/>
                      <a:pt x="1719308" y="814470"/>
                      <a:pt x="1763682" y="819630"/>
                    </a:cubicBezTo>
                    <a:cubicBezTo>
                      <a:pt x="1769874" y="820146"/>
                      <a:pt x="1772454" y="823758"/>
                      <a:pt x="1773486" y="829950"/>
                    </a:cubicBezTo>
                    <a:cubicBezTo>
                      <a:pt x="1776582" y="862456"/>
                      <a:pt x="1775034" y="895479"/>
                      <a:pt x="1775034" y="927985"/>
                    </a:cubicBezTo>
                    <a:cubicBezTo>
                      <a:pt x="1775034" y="933661"/>
                      <a:pt x="1771422" y="936241"/>
                      <a:pt x="1766262" y="937273"/>
                    </a:cubicBezTo>
                    <a:cubicBezTo>
                      <a:pt x="1732207" y="943981"/>
                      <a:pt x="1698153" y="951204"/>
                      <a:pt x="1663583" y="957396"/>
                    </a:cubicBezTo>
                    <a:cubicBezTo>
                      <a:pt x="1654811" y="958944"/>
                      <a:pt x="1645523" y="956364"/>
                      <a:pt x="1636752" y="955332"/>
                    </a:cubicBezTo>
                    <a:cubicBezTo>
                      <a:pt x="1627980" y="954300"/>
                      <a:pt x="1623336" y="956364"/>
                      <a:pt x="1622304" y="966684"/>
                    </a:cubicBezTo>
                    <a:cubicBezTo>
                      <a:pt x="1618177" y="1005382"/>
                      <a:pt x="1610953" y="1044080"/>
                      <a:pt x="1601149" y="1081746"/>
                    </a:cubicBezTo>
                    <a:cubicBezTo>
                      <a:pt x="1598569" y="1091034"/>
                      <a:pt x="1601665" y="1095678"/>
                      <a:pt x="1610437" y="1097742"/>
                    </a:cubicBezTo>
                    <a:cubicBezTo>
                      <a:pt x="1654811" y="1108577"/>
                      <a:pt x="1687318" y="1140568"/>
                      <a:pt x="1726016" y="1161723"/>
                    </a:cubicBezTo>
                    <a:cubicBezTo>
                      <a:pt x="1731176" y="1164819"/>
                      <a:pt x="1731176" y="1168947"/>
                      <a:pt x="1729112" y="1174107"/>
                    </a:cubicBezTo>
                    <a:cubicBezTo>
                      <a:pt x="1718792" y="1204549"/>
                      <a:pt x="1706409" y="1234476"/>
                      <a:pt x="1693509" y="1263887"/>
                    </a:cubicBezTo>
                    <a:cubicBezTo>
                      <a:pt x="1690929" y="1269562"/>
                      <a:pt x="1687318" y="1271626"/>
                      <a:pt x="1681126" y="1270078"/>
                    </a:cubicBezTo>
                    <a:cubicBezTo>
                      <a:pt x="1648103" y="1263371"/>
                      <a:pt x="1614565" y="1257179"/>
                      <a:pt x="1581542" y="1249955"/>
                    </a:cubicBezTo>
                    <a:cubicBezTo>
                      <a:pt x="1571223" y="1247375"/>
                      <a:pt x="1561935" y="1241184"/>
                      <a:pt x="1552647" y="1236024"/>
                    </a:cubicBezTo>
                    <a:cubicBezTo>
                      <a:pt x="1545940" y="1232412"/>
                      <a:pt x="1542328" y="1232928"/>
                      <a:pt x="1538200" y="1240152"/>
                    </a:cubicBezTo>
                    <a:cubicBezTo>
                      <a:pt x="1519109" y="1275238"/>
                      <a:pt x="1497954" y="1309293"/>
                      <a:pt x="1473187" y="1340767"/>
                    </a:cubicBezTo>
                    <a:cubicBezTo>
                      <a:pt x="1467511" y="1347991"/>
                      <a:pt x="1466479" y="1352635"/>
                      <a:pt x="1475251" y="1358310"/>
                    </a:cubicBezTo>
                    <a:cubicBezTo>
                      <a:pt x="1502598" y="1375854"/>
                      <a:pt x="1516013" y="1405264"/>
                      <a:pt x="1535104" y="1430031"/>
                    </a:cubicBezTo>
                    <a:cubicBezTo>
                      <a:pt x="1538716" y="1434675"/>
                      <a:pt x="1541812" y="1439835"/>
                      <a:pt x="1545424" y="1444995"/>
                    </a:cubicBezTo>
                    <a:cubicBezTo>
                      <a:pt x="1566063" y="1474921"/>
                      <a:pt x="1565031" y="1464602"/>
                      <a:pt x="1542844" y="1489885"/>
                    </a:cubicBezTo>
                    <a:cubicBezTo>
                      <a:pt x="1526849" y="1508460"/>
                      <a:pt x="1508273" y="1524971"/>
                      <a:pt x="1491246" y="1542514"/>
                    </a:cubicBezTo>
                    <a:cubicBezTo>
                      <a:pt x="1485054" y="1549222"/>
                      <a:pt x="1479895" y="1549222"/>
                      <a:pt x="1472155" y="1544062"/>
                    </a:cubicBezTo>
                    <a:cubicBezTo>
                      <a:pt x="1446356" y="1526519"/>
                      <a:pt x="1420041" y="1508976"/>
                      <a:pt x="1393726" y="1491948"/>
                    </a:cubicBezTo>
                    <a:cubicBezTo>
                      <a:pt x="1383923" y="1485241"/>
                      <a:pt x="1377215" y="1475437"/>
                      <a:pt x="1369992" y="1466666"/>
                    </a:cubicBezTo>
                    <a:cubicBezTo>
                      <a:pt x="1364316" y="1459958"/>
                      <a:pt x="1359672" y="1458926"/>
                      <a:pt x="1352964" y="1464602"/>
                    </a:cubicBezTo>
                    <a:cubicBezTo>
                      <a:pt x="1322005" y="1489885"/>
                      <a:pt x="1288983" y="1512588"/>
                      <a:pt x="1254413" y="1532711"/>
                    </a:cubicBezTo>
                    <a:cubicBezTo>
                      <a:pt x="1249769" y="1535291"/>
                      <a:pt x="1244609" y="1537871"/>
                      <a:pt x="1248737" y="1544578"/>
                    </a:cubicBezTo>
                    <a:cubicBezTo>
                      <a:pt x="1272472" y="1580181"/>
                      <a:pt x="1274020" y="1622491"/>
                      <a:pt x="1284339" y="1662221"/>
                    </a:cubicBezTo>
                    <a:cubicBezTo>
                      <a:pt x="1290531" y="1685440"/>
                      <a:pt x="1292079" y="1682344"/>
                      <a:pt x="1268860" y="1693180"/>
                    </a:cubicBezTo>
                    <a:cubicBezTo>
                      <a:pt x="1244609" y="1704531"/>
                      <a:pt x="1219842" y="1714335"/>
                      <a:pt x="1195591" y="1724654"/>
                    </a:cubicBezTo>
                    <a:cubicBezTo>
                      <a:pt x="1187851" y="1727750"/>
                      <a:pt x="1183208" y="1726718"/>
                      <a:pt x="1178564" y="1719495"/>
                    </a:cubicBezTo>
                    <a:cubicBezTo>
                      <a:pt x="1161021" y="1692664"/>
                      <a:pt x="1142962" y="1666865"/>
                      <a:pt x="1125418" y="1640034"/>
                    </a:cubicBezTo>
                    <a:cubicBezTo>
                      <a:pt x="1118711" y="1629715"/>
                      <a:pt x="1116131" y="1617847"/>
                      <a:pt x="1113035" y="1606496"/>
                    </a:cubicBezTo>
                    <a:cubicBezTo>
                      <a:pt x="1110971" y="1599272"/>
                      <a:pt x="1107359" y="1597208"/>
                      <a:pt x="1099619" y="1599272"/>
                    </a:cubicBezTo>
                    <a:cubicBezTo>
                      <a:pt x="1060405" y="1611139"/>
                      <a:pt x="1020675" y="1619395"/>
                      <a:pt x="979913" y="1624555"/>
                    </a:cubicBezTo>
                    <a:cubicBezTo>
                      <a:pt x="973205" y="1625587"/>
                      <a:pt x="971141" y="1628682"/>
                      <a:pt x="972173" y="1634874"/>
                    </a:cubicBezTo>
                    <a:cubicBezTo>
                      <a:pt x="979397" y="1680280"/>
                      <a:pt x="962885" y="1723106"/>
                      <a:pt x="957726" y="1767481"/>
                    </a:cubicBezTo>
                    <a:cubicBezTo>
                      <a:pt x="956694" y="1775220"/>
                      <a:pt x="952566" y="1777800"/>
                      <a:pt x="945858" y="1777800"/>
                    </a:cubicBezTo>
                    <a:cubicBezTo>
                      <a:pt x="929347" y="1778316"/>
                      <a:pt x="912320" y="1779348"/>
                      <a:pt x="895808" y="1779864"/>
                    </a:cubicBezTo>
                    <a:cubicBezTo>
                      <a:pt x="894776" y="1776252"/>
                      <a:pt x="894776" y="1776252"/>
                      <a:pt x="894776" y="1775736"/>
                    </a:cubicBezTo>
                    <a:close/>
                    <a:moveTo>
                      <a:pt x="890648" y="1454798"/>
                    </a:moveTo>
                    <a:cubicBezTo>
                      <a:pt x="1199203" y="1449638"/>
                      <a:pt x="1454096" y="1207645"/>
                      <a:pt x="1452548" y="884127"/>
                    </a:cubicBezTo>
                    <a:cubicBezTo>
                      <a:pt x="1451516" y="575057"/>
                      <a:pt x="1205395" y="320164"/>
                      <a:pt x="881361" y="322228"/>
                    </a:cubicBezTo>
                    <a:cubicBezTo>
                      <a:pt x="571775" y="324292"/>
                      <a:pt x="318429" y="570929"/>
                      <a:pt x="320494" y="893415"/>
                    </a:cubicBezTo>
                    <a:cubicBezTo>
                      <a:pt x="323073" y="1202485"/>
                      <a:pt x="569195" y="1452218"/>
                      <a:pt x="890648" y="1454798"/>
                    </a:cubicBezTo>
                    <a:close/>
                  </a:path>
                </a:pathLst>
              </a:custGeom>
              <a:grpFill/>
              <a:ln w="51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8F2F002E-A757-44E2-B762-EAA60285B2AF}"/>
                  </a:ext>
                </a:extLst>
              </p:cNvPr>
              <p:cNvSpPr/>
              <p:nvPr/>
            </p:nvSpPr>
            <p:spPr>
              <a:xfrm>
                <a:off x="3733675" y="2339591"/>
                <a:ext cx="835883" cy="835883"/>
              </a:xfrm>
              <a:custGeom>
                <a:avLst/>
                <a:gdLst>
                  <a:gd name="connsiteX0" fmla="*/ 836916 w 835883"/>
                  <a:gd name="connsiteY0" fmla="*/ 418458 h 835883"/>
                  <a:gd name="connsiteX1" fmla="*/ 418459 w 835883"/>
                  <a:gd name="connsiteY1" fmla="*/ 836399 h 835883"/>
                  <a:gd name="connsiteX2" fmla="*/ 1 w 835883"/>
                  <a:gd name="connsiteY2" fmla="*/ 417426 h 835883"/>
                  <a:gd name="connsiteX3" fmla="*/ 418975 w 835883"/>
                  <a:gd name="connsiteY3" fmla="*/ 0 h 835883"/>
                  <a:gd name="connsiteX4" fmla="*/ 836916 w 835883"/>
                  <a:gd name="connsiteY4" fmla="*/ 418458 h 835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5883" h="835883">
                    <a:moveTo>
                      <a:pt x="836916" y="418458"/>
                    </a:moveTo>
                    <a:cubicBezTo>
                      <a:pt x="833821" y="651679"/>
                      <a:pt x="651165" y="836915"/>
                      <a:pt x="418459" y="836399"/>
                    </a:cubicBezTo>
                    <a:cubicBezTo>
                      <a:pt x="182657" y="836399"/>
                      <a:pt x="-515" y="649615"/>
                      <a:pt x="1" y="417426"/>
                    </a:cubicBezTo>
                    <a:cubicBezTo>
                      <a:pt x="517" y="181624"/>
                      <a:pt x="187301" y="0"/>
                      <a:pt x="418975" y="0"/>
                    </a:cubicBezTo>
                    <a:cubicBezTo>
                      <a:pt x="651680" y="516"/>
                      <a:pt x="833821" y="186268"/>
                      <a:pt x="836916" y="418458"/>
                    </a:cubicBezTo>
                    <a:close/>
                  </a:path>
                </a:pathLst>
              </a:custGeom>
              <a:grpFill/>
              <a:ln w="51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ED14329A-1A87-4CC1-B3DE-BA0FD7750868}"/>
              </a:ext>
            </a:extLst>
          </p:cNvPr>
          <p:cNvSpPr/>
          <p:nvPr/>
        </p:nvSpPr>
        <p:spPr>
          <a:xfrm>
            <a:off x="8967752" y="3381941"/>
            <a:ext cx="936646" cy="931442"/>
          </a:xfrm>
          <a:custGeom>
            <a:avLst/>
            <a:gdLst>
              <a:gd name="connsiteX0" fmla="*/ 959201 w 1857518"/>
              <a:gd name="connsiteY0" fmla="*/ 1852264 h 1847198"/>
              <a:gd name="connsiteX1" fmla="*/ 910700 w 1857518"/>
              <a:gd name="connsiteY1" fmla="*/ 1852264 h 1847198"/>
              <a:gd name="connsiteX2" fmla="*/ 891608 w 1857518"/>
              <a:gd name="connsiteY2" fmla="*/ 1830593 h 1847198"/>
              <a:gd name="connsiteX3" fmla="*/ 838463 w 1857518"/>
              <a:gd name="connsiteY3" fmla="*/ 1669608 h 1847198"/>
              <a:gd name="connsiteX4" fmla="*/ 813180 w 1857518"/>
              <a:gd name="connsiteY4" fmla="*/ 1646905 h 1847198"/>
              <a:gd name="connsiteX5" fmla="*/ 730624 w 1857518"/>
              <a:gd name="connsiteY5" fmla="*/ 1628330 h 1847198"/>
              <a:gd name="connsiteX6" fmla="*/ 693990 w 1857518"/>
              <a:gd name="connsiteY6" fmla="*/ 1639165 h 1847198"/>
              <a:gd name="connsiteX7" fmla="*/ 573251 w 1857518"/>
              <a:gd name="connsiteY7" fmla="*/ 1761452 h 1847198"/>
              <a:gd name="connsiteX8" fmla="*/ 542292 w 1857518"/>
              <a:gd name="connsiteY8" fmla="*/ 1766612 h 1847198"/>
              <a:gd name="connsiteX9" fmla="*/ 412782 w 1857518"/>
              <a:gd name="connsiteY9" fmla="*/ 1693859 h 1847198"/>
              <a:gd name="connsiteX10" fmla="*/ 398334 w 1857518"/>
              <a:gd name="connsiteY10" fmla="*/ 1660836 h 1847198"/>
              <a:gd name="connsiteX11" fmla="*/ 440644 w 1857518"/>
              <a:gd name="connsiteY11" fmla="*/ 1494176 h 1847198"/>
              <a:gd name="connsiteX12" fmla="*/ 432904 w 1857518"/>
              <a:gd name="connsiteY12" fmla="*/ 1462185 h 1847198"/>
              <a:gd name="connsiteX13" fmla="*/ 370471 w 1857518"/>
              <a:gd name="connsiteY13" fmla="*/ 1397172 h 1847198"/>
              <a:gd name="connsiteX14" fmla="*/ 340545 w 1857518"/>
              <a:gd name="connsiteY14" fmla="*/ 1388400 h 1847198"/>
              <a:gd name="connsiteX15" fmla="*/ 310618 w 1857518"/>
              <a:gd name="connsiteY15" fmla="*/ 1395108 h 1847198"/>
              <a:gd name="connsiteX16" fmla="*/ 170273 w 1857518"/>
              <a:gd name="connsiteY16" fmla="*/ 1426583 h 1847198"/>
              <a:gd name="connsiteX17" fmla="*/ 141377 w 1857518"/>
              <a:gd name="connsiteY17" fmla="*/ 1413683 h 1847198"/>
              <a:gd name="connsiteX18" fmla="*/ 70689 w 1857518"/>
              <a:gd name="connsiteY18" fmla="*/ 1276949 h 1847198"/>
              <a:gd name="connsiteX19" fmla="*/ 75848 w 1857518"/>
              <a:gd name="connsiteY19" fmla="*/ 1247539 h 1847198"/>
              <a:gd name="connsiteX20" fmla="*/ 206391 w 1857518"/>
              <a:gd name="connsiteY20" fmla="*/ 1126284 h 1847198"/>
              <a:gd name="connsiteX21" fmla="*/ 216710 w 1857518"/>
              <a:gd name="connsiteY21" fmla="*/ 1096873 h 1847198"/>
              <a:gd name="connsiteX22" fmla="*/ 201231 w 1857518"/>
              <a:gd name="connsiteY22" fmla="*/ 1012769 h 1847198"/>
              <a:gd name="connsiteX23" fmla="*/ 181108 w 1857518"/>
              <a:gd name="connsiteY23" fmla="*/ 989034 h 1847198"/>
              <a:gd name="connsiteX24" fmla="*/ 67077 w 1857518"/>
              <a:gd name="connsiteY24" fmla="*/ 947240 h 1847198"/>
              <a:gd name="connsiteX25" fmla="*/ 0 w 1857518"/>
              <a:gd name="connsiteY25" fmla="*/ 921957 h 1847198"/>
              <a:gd name="connsiteX26" fmla="*/ 0 w 1857518"/>
              <a:gd name="connsiteY26" fmla="*/ 893062 h 1847198"/>
              <a:gd name="connsiteX27" fmla="*/ 4643 w 1857518"/>
              <a:gd name="connsiteY27" fmla="*/ 842496 h 1847198"/>
              <a:gd name="connsiteX28" fmla="*/ 17543 w 1857518"/>
              <a:gd name="connsiteY28" fmla="*/ 743945 h 1847198"/>
              <a:gd name="connsiteX29" fmla="*/ 38182 w 1857518"/>
              <a:gd name="connsiteY29" fmla="*/ 723305 h 1847198"/>
              <a:gd name="connsiteX30" fmla="*/ 214131 w 1857518"/>
              <a:gd name="connsiteY30" fmla="*/ 691315 h 1847198"/>
              <a:gd name="connsiteX31" fmla="*/ 239929 w 1857518"/>
              <a:gd name="connsiteY31" fmla="*/ 671192 h 1847198"/>
              <a:gd name="connsiteX32" fmla="*/ 266760 w 1857518"/>
              <a:gd name="connsiteY32" fmla="*/ 606695 h 1847198"/>
              <a:gd name="connsiteX33" fmla="*/ 262116 w 1857518"/>
              <a:gd name="connsiteY33" fmla="*/ 570060 h 1847198"/>
              <a:gd name="connsiteX34" fmla="*/ 159437 w 1857518"/>
              <a:gd name="connsiteY34" fmla="*/ 434874 h 1847198"/>
              <a:gd name="connsiteX35" fmla="*/ 159953 w 1857518"/>
              <a:gd name="connsiteY35" fmla="*/ 401336 h 1847198"/>
              <a:gd name="connsiteX36" fmla="*/ 259536 w 1857518"/>
              <a:gd name="connsiteY36" fmla="*/ 278017 h 1847198"/>
              <a:gd name="connsiteX37" fmla="*/ 294623 w 1857518"/>
              <a:gd name="connsiteY37" fmla="*/ 268729 h 1847198"/>
              <a:gd name="connsiteX38" fmla="*/ 457672 w 1857518"/>
              <a:gd name="connsiteY38" fmla="*/ 336322 h 1847198"/>
              <a:gd name="connsiteX39" fmla="*/ 489146 w 1857518"/>
              <a:gd name="connsiteY39" fmla="*/ 333743 h 1847198"/>
              <a:gd name="connsiteX40" fmla="*/ 540744 w 1857518"/>
              <a:gd name="connsiteY40" fmla="*/ 298140 h 1847198"/>
              <a:gd name="connsiteX41" fmla="*/ 553127 w 1857518"/>
              <a:gd name="connsiteY41" fmla="*/ 273889 h 1847198"/>
              <a:gd name="connsiteX42" fmla="*/ 552096 w 1857518"/>
              <a:gd name="connsiteY42" fmla="*/ 255830 h 1847198"/>
              <a:gd name="connsiteX43" fmla="*/ 545904 w 1857518"/>
              <a:gd name="connsiteY43" fmla="*/ 175854 h 1847198"/>
              <a:gd name="connsiteX44" fmla="*/ 539712 w 1857518"/>
              <a:gd name="connsiteY44" fmla="*/ 95877 h 1847198"/>
              <a:gd name="connsiteX45" fmla="*/ 556739 w 1857518"/>
              <a:gd name="connsiteY45" fmla="*/ 69562 h 1847198"/>
              <a:gd name="connsiteX46" fmla="*/ 716176 w 1857518"/>
              <a:gd name="connsiteY46" fmla="*/ 15901 h 1847198"/>
              <a:gd name="connsiteX47" fmla="*/ 726496 w 1857518"/>
              <a:gd name="connsiteY47" fmla="*/ 14353 h 1847198"/>
              <a:gd name="connsiteX48" fmla="*/ 748167 w 1857518"/>
              <a:gd name="connsiteY48" fmla="*/ 28800 h 1847198"/>
              <a:gd name="connsiteX49" fmla="*/ 847750 w 1857518"/>
              <a:gd name="connsiteY49" fmla="*/ 172758 h 1847198"/>
              <a:gd name="connsiteX50" fmla="*/ 878709 w 1857518"/>
              <a:gd name="connsiteY50" fmla="*/ 187721 h 1847198"/>
              <a:gd name="connsiteX51" fmla="*/ 931855 w 1857518"/>
              <a:gd name="connsiteY51" fmla="*/ 185657 h 1847198"/>
              <a:gd name="connsiteX52" fmla="*/ 948366 w 1857518"/>
              <a:gd name="connsiteY52" fmla="*/ 177401 h 1847198"/>
              <a:gd name="connsiteX53" fmla="*/ 954042 w 1857518"/>
              <a:gd name="connsiteY53" fmla="*/ 169146 h 1847198"/>
              <a:gd name="connsiteX54" fmla="*/ 979840 w 1857518"/>
              <a:gd name="connsiteY54" fmla="*/ 121676 h 1847198"/>
              <a:gd name="connsiteX55" fmla="*/ 1037630 w 1857518"/>
              <a:gd name="connsiteY55" fmla="*/ 13837 h 1847198"/>
              <a:gd name="connsiteX56" fmla="*/ 1066525 w 1857518"/>
              <a:gd name="connsiteY56" fmla="*/ 937 h 1847198"/>
              <a:gd name="connsiteX57" fmla="*/ 1233702 w 1857518"/>
              <a:gd name="connsiteY57" fmla="*/ 40667 h 1847198"/>
              <a:gd name="connsiteX58" fmla="*/ 1253309 w 1857518"/>
              <a:gd name="connsiteY58" fmla="*/ 64918 h 1847198"/>
              <a:gd name="connsiteX59" fmla="*/ 1254341 w 1857518"/>
              <a:gd name="connsiteY59" fmla="*/ 85042 h 1847198"/>
              <a:gd name="connsiteX60" fmla="*/ 1258468 w 1857518"/>
              <a:gd name="connsiteY60" fmla="*/ 209908 h 1847198"/>
              <a:gd name="connsiteX61" fmla="*/ 1260016 w 1857518"/>
              <a:gd name="connsiteY61" fmla="*/ 244478 h 1847198"/>
              <a:gd name="connsiteX62" fmla="*/ 1276012 w 1857518"/>
              <a:gd name="connsiteY62" fmla="*/ 270277 h 1847198"/>
              <a:gd name="connsiteX63" fmla="*/ 1313678 w 1857518"/>
              <a:gd name="connsiteY63" fmla="*/ 291948 h 1847198"/>
              <a:gd name="connsiteX64" fmla="*/ 1349797 w 1857518"/>
              <a:gd name="connsiteY64" fmla="*/ 291948 h 1847198"/>
              <a:gd name="connsiteX65" fmla="*/ 1502526 w 1857518"/>
              <a:gd name="connsiteY65" fmla="*/ 206812 h 1847198"/>
              <a:gd name="connsiteX66" fmla="*/ 1535033 w 1857518"/>
              <a:gd name="connsiteY66" fmla="*/ 211456 h 1847198"/>
              <a:gd name="connsiteX67" fmla="*/ 1653707 w 1857518"/>
              <a:gd name="connsiteY67" fmla="*/ 332711 h 1847198"/>
              <a:gd name="connsiteX68" fmla="*/ 1657835 w 1857518"/>
              <a:gd name="connsiteY68" fmla="*/ 366249 h 1847198"/>
              <a:gd name="connsiteX69" fmla="*/ 1569087 w 1857518"/>
              <a:gd name="connsiteY69" fmla="*/ 515883 h 1847198"/>
              <a:gd name="connsiteX70" fmla="*/ 1568571 w 1857518"/>
              <a:gd name="connsiteY70" fmla="*/ 550453 h 1847198"/>
              <a:gd name="connsiteX71" fmla="*/ 1591274 w 1857518"/>
              <a:gd name="connsiteY71" fmla="*/ 592247 h 1847198"/>
              <a:gd name="connsiteX72" fmla="*/ 1617589 w 1857518"/>
              <a:gd name="connsiteY72" fmla="*/ 608759 h 1847198"/>
              <a:gd name="connsiteX73" fmla="*/ 1676926 w 1857518"/>
              <a:gd name="connsiteY73" fmla="*/ 612886 h 1847198"/>
              <a:gd name="connsiteX74" fmla="*/ 1797665 w 1857518"/>
              <a:gd name="connsiteY74" fmla="*/ 620626 h 1847198"/>
              <a:gd name="connsiteX75" fmla="*/ 1820884 w 1857518"/>
              <a:gd name="connsiteY75" fmla="*/ 640233 h 1847198"/>
              <a:gd name="connsiteX76" fmla="*/ 1857518 w 1857518"/>
              <a:gd name="connsiteY76" fmla="*/ 808442 h 1847198"/>
              <a:gd name="connsiteX77" fmla="*/ 1851842 w 1857518"/>
              <a:gd name="connsiteY77" fmla="*/ 829081 h 1847198"/>
              <a:gd name="connsiteX78" fmla="*/ 1841523 w 1857518"/>
              <a:gd name="connsiteY78" fmla="*/ 836305 h 1847198"/>
              <a:gd name="connsiteX79" fmla="*/ 1686214 w 1857518"/>
              <a:gd name="connsiteY79" fmla="*/ 913701 h 1847198"/>
              <a:gd name="connsiteX80" fmla="*/ 1668670 w 1857518"/>
              <a:gd name="connsiteY80" fmla="*/ 940016 h 1847198"/>
              <a:gd name="connsiteX81" fmla="*/ 1665059 w 1857518"/>
              <a:gd name="connsiteY81" fmla="*/ 998322 h 1847198"/>
              <a:gd name="connsiteX82" fmla="*/ 1678474 w 1857518"/>
              <a:gd name="connsiteY82" fmla="*/ 1026184 h 1847198"/>
              <a:gd name="connsiteX83" fmla="*/ 1821916 w 1857518"/>
              <a:gd name="connsiteY83" fmla="*/ 1131960 h 1847198"/>
              <a:gd name="connsiteX84" fmla="*/ 1831720 w 1857518"/>
              <a:gd name="connsiteY84" fmla="*/ 1163950 h 1847198"/>
              <a:gd name="connsiteX85" fmla="*/ 1805404 w 1857518"/>
              <a:gd name="connsiteY85" fmla="*/ 1236703 h 1847198"/>
              <a:gd name="connsiteX86" fmla="*/ 1775478 w 1857518"/>
              <a:gd name="connsiteY86" fmla="*/ 1317711 h 1847198"/>
              <a:gd name="connsiteX87" fmla="*/ 1750195 w 1857518"/>
              <a:gd name="connsiteY87" fmla="*/ 1334223 h 1847198"/>
              <a:gd name="connsiteX88" fmla="*/ 1685698 w 1857518"/>
              <a:gd name="connsiteY88" fmla="*/ 1327515 h 1847198"/>
              <a:gd name="connsiteX89" fmla="*/ 1574247 w 1857518"/>
              <a:gd name="connsiteY89" fmla="*/ 1315648 h 1847198"/>
              <a:gd name="connsiteX90" fmla="*/ 1545868 w 1857518"/>
              <a:gd name="connsiteY90" fmla="*/ 1328547 h 1847198"/>
              <a:gd name="connsiteX91" fmla="*/ 1505622 w 1857518"/>
              <a:gd name="connsiteY91" fmla="*/ 1383241 h 1847198"/>
              <a:gd name="connsiteX92" fmla="*/ 1500978 w 1857518"/>
              <a:gd name="connsiteY92" fmla="*/ 1417811 h 1847198"/>
              <a:gd name="connsiteX93" fmla="*/ 1563411 w 1857518"/>
              <a:gd name="connsiteY93" fmla="*/ 1581892 h 1847198"/>
              <a:gd name="connsiteX94" fmla="*/ 1554124 w 1857518"/>
              <a:gd name="connsiteY94" fmla="*/ 1615430 h 1847198"/>
              <a:gd name="connsiteX95" fmla="*/ 1430805 w 1857518"/>
              <a:gd name="connsiteY95" fmla="*/ 1708822 h 1847198"/>
              <a:gd name="connsiteX96" fmla="*/ 1397266 w 1857518"/>
              <a:gd name="connsiteY96" fmla="*/ 1708306 h 1847198"/>
              <a:gd name="connsiteX97" fmla="*/ 1263628 w 1857518"/>
              <a:gd name="connsiteY97" fmla="*/ 1600467 h 1847198"/>
              <a:gd name="connsiteX98" fmla="*/ 1232154 w 1857518"/>
              <a:gd name="connsiteY98" fmla="*/ 1594275 h 1847198"/>
              <a:gd name="connsiteX99" fmla="*/ 1153725 w 1857518"/>
              <a:gd name="connsiteY99" fmla="*/ 1624202 h 1847198"/>
              <a:gd name="connsiteX100" fmla="*/ 1134634 w 1857518"/>
              <a:gd name="connsiteY100" fmla="*/ 1646905 h 1847198"/>
              <a:gd name="connsiteX101" fmla="*/ 1123798 w 1857518"/>
              <a:gd name="connsiteY101" fmla="*/ 1698503 h 1847198"/>
              <a:gd name="connsiteX102" fmla="*/ 1097999 w 1857518"/>
              <a:gd name="connsiteY102" fmla="*/ 1821821 h 1847198"/>
              <a:gd name="connsiteX103" fmla="*/ 1076329 w 1857518"/>
              <a:gd name="connsiteY103" fmla="*/ 1842460 h 1847198"/>
              <a:gd name="connsiteX104" fmla="*/ 994288 w 1857518"/>
              <a:gd name="connsiteY104" fmla="*/ 1851232 h 1847198"/>
              <a:gd name="connsiteX105" fmla="*/ 959201 w 1857518"/>
              <a:gd name="connsiteY105" fmla="*/ 1852264 h 1847198"/>
              <a:gd name="connsiteX106" fmla="*/ 928759 w 1857518"/>
              <a:gd name="connsiteY106" fmla="*/ 382245 h 1847198"/>
              <a:gd name="connsiteX107" fmla="*/ 386983 w 1857518"/>
              <a:gd name="connsiteY107" fmla="*/ 921957 h 1847198"/>
              <a:gd name="connsiteX108" fmla="*/ 926695 w 1857518"/>
              <a:gd name="connsiteY108" fmla="*/ 1465797 h 1847198"/>
              <a:gd name="connsiteX109" fmla="*/ 1470535 w 1857518"/>
              <a:gd name="connsiteY109" fmla="*/ 924537 h 1847198"/>
              <a:gd name="connsiteX110" fmla="*/ 928759 w 1857518"/>
              <a:gd name="connsiteY110" fmla="*/ 382245 h 18471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</a:cxnLst>
            <a:rect l="l" t="t" r="r" b="b"/>
            <a:pathLst>
              <a:path w="1857518" h="1847198">
                <a:moveTo>
                  <a:pt x="959201" y="1852264"/>
                </a:moveTo>
                <a:cubicBezTo>
                  <a:pt x="943206" y="1852264"/>
                  <a:pt x="927211" y="1852264"/>
                  <a:pt x="910700" y="1852264"/>
                </a:cubicBezTo>
                <a:cubicBezTo>
                  <a:pt x="900380" y="1848652"/>
                  <a:pt x="894704" y="1840913"/>
                  <a:pt x="891608" y="1830593"/>
                </a:cubicBezTo>
                <a:cubicBezTo>
                  <a:pt x="874065" y="1776931"/>
                  <a:pt x="856006" y="1723270"/>
                  <a:pt x="838463" y="1669608"/>
                </a:cubicBezTo>
                <a:cubicBezTo>
                  <a:pt x="834335" y="1657224"/>
                  <a:pt x="826080" y="1649485"/>
                  <a:pt x="813180" y="1646905"/>
                </a:cubicBezTo>
                <a:cubicBezTo>
                  <a:pt x="785833" y="1640713"/>
                  <a:pt x="757970" y="1635037"/>
                  <a:pt x="730624" y="1628330"/>
                </a:cubicBezTo>
                <a:cubicBezTo>
                  <a:pt x="716176" y="1624718"/>
                  <a:pt x="704309" y="1628330"/>
                  <a:pt x="693990" y="1639165"/>
                </a:cubicBezTo>
                <a:cubicBezTo>
                  <a:pt x="654259" y="1680443"/>
                  <a:pt x="613497" y="1720690"/>
                  <a:pt x="573251" y="1761452"/>
                </a:cubicBezTo>
                <a:cubicBezTo>
                  <a:pt x="563963" y="1770739"/>
                  <a:pt x="553127" y="1772804"/>
                  <a:pt x="542292" y="1766612"/>
                </a:cubicBezTo>
                <a:cubicBezTo>
                  <a:pt x="498950" y="1742361"/>
                  <a:pt x="456123" y="1718110"/>
                  <a:pt x="412782" y="1693859"/>
                </a:cubicBezTo>
                <a:cubicBezTo>
                  <a:pt x="397818" y="1685603"/>
                  <a:pt x="394206" y="1676832"/>
                  <a:pt x="398334" y="1660836"/>
                </a:cubicBezTo>
                <a:cubicBezTo>
                  <a:pt x="412265" y="1605111"/>
                  <a:pt x="426713" y="1549901"/>
                  <a:pt x="440644" y="1494176"/>
                </a:cubicBezTo>
                <a:cubicBezTo>
                  <a:pt x="443741" y="1482308"/>
                  <a:pt x="441676" y="1471473"/>
                  <a:pt x="432904" y="1462185"/>
                </a:cubicBezTo>
                <a:cubicBezTo>
                  <a:pt x="412265" y="1440514"/>
                  <a:pt x="391110" y="1418843"/>
                  <a:pt x="370471" y="1397172"/>
                </a:cubicBezTo>
                <a:cubicBezTo>
                  <a:pt x="362216" y="1388400"/>
                  <a:pt x="351896" y="1385820"/>
                  <a:pt x="340545" y="1388400"/>
                </a:cubicBezTo>
                <a:cubicBezTo>
                  <a:pt x="330226" y="1390464"/>
                  <a:pt x="320422" y="1393044"/>
                  <a:pt x="310618" y="1395108"/>
                </a:cubicBezTo>
                <a:cubicBezTo>
                  <a:pt x="263664" y="1405428"/>
                  <a:pt x="217226" y="1416263"/>
                  <a:pt x="170273" y="1426583"/>
                </a:cubicBezTo>
                <a:cubicBezTo>
                  <a:pt x="157373" y="1429679"/>
                  <a:pt x="147054" y="1425035"/>
                  <a:pt x="141377" y="1413683"/>
                </a:cubicBezTo>
                <a:cubicBezTo>
                  <a:pt x="117642" y="1368277"/>
                  <a:pt x="94423" y="1322355"/>
                  <a:pt x="70689" y="1276949"/>
                </a:cubicBezTo>
                <a:cubicBezTo>
                  <a:pt x="65529" y="1266630"/>
                  <a:pt x="67593" y="1255278"/>
                  <a:pt x="75848" y="1247539"/>
                </a:cubicBezTo>
                <a:cubicBezTo>
                  <a:pt x="119191" y="1207292"/>
                  <a:pt x="163049" y="1166530"/>
                  <a:pt x="206391" y="1126284"/>
                </a:cubicBezTo>
                <a:cubicBezTo>
                  <a:pt x="215162" y="1118544"/>
                  <a:pt x="218258" y="1108225"/>
                  <a:pt x="216710" y="1096873"/>
                </a:cubicBezTo>
                <a:cubicBezTo>
                  <a:pt x="211551" y="1069010"/>
                  <a:pt x="206391" y="1040631"/>
                  <a:pt x="201231" y="1012769"/>
                </a:cubicBezTo>
                <a:cubicBezTo>
                  <a:pt x="199167" y="1000901"/>
                  <a:pt x="192459" y="993162"/>
                  <a:pt x="181108" y="989034"/>
                </a:cubicBezTo>
                <a:cubicBezTo>
                  <a:pt x="142925" y="975103"/>
                  <a:pt x="104743" y="961171"/>
                  <a:pt x="67077" y="947240"/>
                </a:cubicBezTo>
                <a:cubicBezTo>
                  <a:pt x="44890" y="938984"/>
                  <a:pt x="22187" y="931760"/>
                  <a:pt x="0" y="921957"/>
                </a:cubicBezTo>
                <a:cubicBezTo>
                  <a:pt x="0" y="912153"/>
                  <a:pt x="0" y="902866"/>
                  <a:pt x="0" y="893062"/>
                </a:cubicBezTo>
                <a:cubicBezTo>
                  <a:pt x="1548" y="876035"/>
                  <a:pt x="3096" y="859524"/>
                  <a:pt x="4643" y="842496"/>
                </a:cubicBezTo>
                <a:cubicBezTo>
                  <a:pt x="7740" y="809474"/>
                  <a:pt x="12383" y="776451"/>
                  <a:pt x="17543" y="743945"/>
                </a:cubicBezTo>
                <a:cubicBezTo>
                  <a:pt x="19091" y="733109"/>
                  <a:pt x="26831" y="725369"/>
                  <a:pt x="38182" y="723305"/>
                </a:cubicBezTo>
                <a:cubicBezTo>
                  <a:pt x="97003" y="712470"/>
                  <a:pt x="155309" y="702150"/>
                  <a:pt x="214131" y="691315"/>
                </a:cubicBezTo>
                <a:cubicBezTo>
                  <a:pt x="226514" y="689251"/>
                  <a:pt x="234770" y="682543"/>
                  <a:pt x="239929" y="671192"/>
                </a:cubicBezTo>
                <a:cubicBezTo>
                  <a:pt x="248701" y="649521"/>
                  <a:pt x="257989" y="627850"/>
                  <a:pt x="266760" y="606695"/>
                </a:cubicBezTo>
                <a:cubicBezTo>
                  <a:pt x="272436" y="593279"/>
                  <a:pt x="270888" y="581928"/>
                  <a:pt x="262116" y="570060"/>
                </a:cubicBezTo>
                <a:cubicBezTo>
                  <a:pt x="227546" y="525170"/>
                  <a:pt x="193492" y="479764"/>
                  <a:pt x="159437" y="434874"/>
                </a:cubicBezTo>
                <a:cubicBezTo>
                  <a:pt x="150665" y="423007"/>
                  <a:pt x="150665" y="412687"/>
                  <a:pt x="159953" y="401336"/>
                </a:cubicBezTo>
                <a:cubicBezTo>
                  <a:pt x="192975" y="360058"/>
                  <a:pt x="225998" y="319295"/>
                  <a:pt x="259536" y="278017"/>
                </a:cubicBezTo>
                <a:cubicBezTo>
                  <a:pt x="270372" y="265118"/>
                  <a:pt x="279144" y="262538"/>
                  <a:pt x="294623" y="268729"/>
                </a:cubicBezTo>
                <a:cubicBezTo>
                  <a:pt x="348801" y="291433"/>
                  <a:pt x="402978" y="313620"/>
                  <a:pt x="457672" y="336322"/>
                </a:cubicBezTo>
                <a:cubicBezTo>
                  <a:pt x="468507" y="340966"/>
                  <a:pt x="479342" y="340450"/>
                  <a:pt x="489146" y="333743"/>
                </a:cubicBezTo>
                <a:cubicBezTo>
                  <a:pt x="506690" y="321875"/>
                  <a:pt x="523717" y="310008"/>
                  <a:pt x="540744" y="298140"/>
                </a:cubicBezTo>
                <a:cubicBezTo>
                  <a:pt x="548999" y="292464"/>
                  <a:pt x="553127" y="284209"/>
                  <a:pt x="553127" y="273889"/>
                </a:cubicBezTo>
                <a:cubicBezTo>
                  <a:pt x="553127" y="267697"/>
                  <a:pt x="552612" y="261506"/>
                  <a:pt x="552096" y="255830"/>
                </a:cubicBezTo>
                <a:cubicBezTo>
                  <a:pt x="550032" y="228999"/>
                  <a:pt x="547968" y="202684"/>
                  <a:pt x="545904" y="175854"/>
                </a:cubicBezTo>
                <a:cubicBezTo>
                  <a:pt x="543840" y="149023"/>
                  <a:pt x="541776" y="122708"/>
                  <a:pt x="539712" y="95877"/>
                </a:cubicBezTo>
                <a:cubicBezTo>
                  <a:pt x="538680" y="83493"/>
                  <a:pt x="544872" y="73690"/>
                  <a:pt x="556739" y="69562"/>
                </a:cubicBezTo>
                <a:cubicBezTo>
                  <a:pt x="609885" y="51503"/>
                  <a:pt x="663031" y="33444"/>
                  <a:pt x="716176" y="15901"/>
                </a:cubicBezTo>
                <a:cubicBezTo>
                  <a:pt x="719788" y="14869"/>
                  <a:pt x="722884" y="14353"/>
                  <a:pt x="726496" y="14353"/>
                </a:cubicBezTo>
                <a:cubicBezTo>
                  <a:pt x="736299" y="14869"/>
                  <a:pt x="742491" y="21060"/>
                  <a:pt x="748167" y="28800"/>
                </a:cubicBezTo>
                <a:cubicBezTo>
                  <a:pt x="781189" y="76786"/>
                  <a:pt x="814728" y="124772"/>
                  <a:pt x="847750" y="172758"/>
                </a:cubicBezTo>
                <a:cubicBezTo>
                  <a:pt x="855490" y="183593"/>
                  <a:pt x="865810" y="188753"/>
                  <a:pt x="878709" y="187721"/>
                </a:cubicBezTo>
                <a:cubicBezTo>
                  <a:pt x="896252" y="186173"/>
                  <a:pt x="914312" y="185657"/>
                  <a:pt x="931855" y="185657"/>
                </a:cubicBezTo>
                <a:cubicBezTo>
                  <a:pt x="939079" y="185657"/>
                  <a:pt x="944239" y="183077"/>
                  <a:pt x="948366" y="177401"/>
                </a:cubicBezTo>
                <a:cubicBezTo>
                  <a:pt x="950430" y="174822"/>
                  <a:pt x="952494" y="171726"/>
                  <a:pt x="954042" y="169146"/>
                </a:cubicBezTo>
                <a:cubicBezTo>
                  <a:pt x="962814" y="153150"/>
                  <a:pt x="971069" y="137155"/>
                  <a:pt x="979840" y="121676"/>
                </a:cubicBezTo>
                <a:cubicBezTo>
                  <a:pt x="998932" y="85558"/>
                  <a:pt x="1018539" y="49955"/>
                  <a:pt x="1037630" y="13837"/>
                </a:cubicBezTo>
                <a:cubicBezTo>
                  <a:pt x="1043822" y="2485"/>
                  <a:pt x="1053626" y="-2159"/>
                  <a:pt x="1066525" y="937"/>
                </a:cubicBezTo>
                <a:cubicBezTo>
                  <a:pt x="1122251" y="14353"/>
                  <a:pt x="1177976" y="27252"/>
                  <a:pt x="1233702" y="40667"/>
                </a:cubicBezTo>
                <a:cubicBezTo>
                  <a:pt x="1245569" y="43763"/>
                  <a:pt x="1252793" y="52535"/>
                  <a:pt x="1253309" y="64918"/>
                </a:cubicBezTo>
                <a:cubicBezTo>
                  <a:pt x="1253825" y="71626"/>
                  <a:pt x="1253825" y="78334"/>
                  <a:pt x="1254341" y="85042"/>
                </a:cubicBezTo>
                <a:cubicBezTo>
                  <a:pt x="1255888" y="126836"/>
                  <a:pt x="1256921" y="168630"/>
                  <a:pt x="1258468" y="209908"/>
                </a:cubicBezTo>
                <a:cubicBezTo>
                  <a:pt x="1258985" y="221260"/>
                  <a:pt x="1259501" y="233127"/>
                  <a:pt x="1260016" y="244478"/>
                </a:cubicBezTo>
                <a:cubicBezTo>
                  <a:pt x="1260532" y="255830"/>
                  <a:pt x="1266208" y="264602"/>
                  <a:pt x="1276012" y="270277"/>
                </a:cubicBezTo>
                <a:cubicBezTo>
                  <a:pt x="1288395" y="277501"/>
                  <a:pt x="1301295" y="284209"/>
                  <a:pt x="1313678" y="291948"/>
                </a:cubicBezTo>
                <a:cubicBezTo>
                  <a:pt x="1326062" y="299172"/>
                  <a:pt x="1337413" y="298656"/>
                  <a:pt x="1349797" y="291948"/>
                </a:cubicBezTo>
                <a:cubicBezTo>
                  <a:pt x="1400879" y="263570"/>
                  <a:pt x="1451444" y="235191"/>
                  <a:pt x="1502526" y="206812"/>
                </a:cubicBezTo>
                <a:cubicBezTo>
                  <a:pt x="1514394" y="200105"/>
                  <a:pt x="1525745" y="202168"/>
                  <a:pt x="1535033" y="211456"/>
                </a:cubicBezTo>
                <a:cubicBezTo>
                  <a:pt x="1574763" y="251702"/>
                  <a:pt x="1613977" y="292464"/>
                  <a:pt x="1653707" y="332711"/>
                </a:cubicBezTo>
                <a:cubicBezTo>
                  <a:pt x="1664027" y="343546"/>
                  <a:pt x="1665575" y="353350"/>
                  <a:pt x="1657835" y="366249"/>
                </a:cubicBezTo>
                <a:cubicBezTo>
                  <a:pt x="1628424" y="416299"/>
                  <a:pt x="1598497" y="465833"/>
                  <a:pt x="1569087" y="515883"/>
                </a:cubicBezTo>
                <a:cubicBezTo>
                  <a:pt x="1562379" y="527234"/>
                  <a:pt x="1561863" y="539102"/>
                  <a:pt x="1568571" y="550453"/>
                </a:cubicBezTo>
                <a:cubicBezTo>
                  <a:pt x="1576311" y="564384"/>
                  <a:pt x="1583534" y="578316"/>
                  <a:pt x="1591274" y="592247"/>
                </a:cubicBezTo>
                <a:cubicBezTo>
                  <a:pt x="1596950" y="602567"/>
                  <a:pt x="1605721" y="608243"/>
                  <a:pt x="1617589" y="608759"/>
                </a:cubicBezTo>
                <a:cubicBezTo>
                  <a:pt x="1637196" y="610307"/>
                  <a:pt x="1657319" y="611339"/>
                  <a:pt x="1676926" y="612886"/>
                </a:cubicBezTo>
                <a:cubicBezTo>
                  <a:pt x="1717172" y="615466"/>
                  <a:pt x="1757419" y="618046"/>
                  <a:pt x="1797665" y="620626"/>
                </a:cubicBezTo>
                <a:cubicBezTo>
                  <a:pt x="1809016" y="621142"/>
                  <a:pt x="1818304" y="628882"/>
                  <a:pt x="1820884" y="640233"/>
                </a:cubicBezTo>
                <a:cubicBezTo>
                  <a:pt x="1833267" y="695959"/>
                  <a:pt x="1845135" y="752200"/>
                  <a:pt x="1857518" y="808442"/>
                </a:cubicBezTo>
                <a:cubicBezTo>
                  <a:pt x="1859066" y="816181"/>
                  <a:pt x="1857002" y="822889"/>
                  <a:pt x="1851842" y="829081"/>
                </a:cubicBezTo>
                <a:cubicBezTo>
                  <a:pt x="1849262" y="832177"/>
                  <a:pt x="1845135" y="834241"/>
                  <a:pt x="1841523" y="836305"/>
                </a:cubicBezTo>
                <a:cubicBezTo>
                  <a:pt x="1789925" y="862103"/>
                  <a:pt x="1738327" y="887902"/>
                  <a:pt x="1686214" y="913701"/>
                </a:cubicBezTo>
                <a:cubicBezTo>
                  <a:pt x="1675378" y="919377"/>
                  <a:pt x="1669187" y="927633"/>
                  <a:pt x="1668670" y="940016"/>
                </a:cubicBezTo>
                <a:cubicBezTo>
                  <a:pt x="1667639" y="959623"/>
                  <a:pt x="1666090" y="978714"/>
                  <a:pt x="1665059" y="998322"/>
                </a:cubicBezTo>
                <a:cubicBezTo>
                  <a:pt x="1664543" y="1009673"/>
                  <a:pt x="1668670" y="1019477"/>
                  <a:pt x="1678474" y="1026184"/>
                </a:cubicBezTo>
                <a:cubicBezTo>
                  <a:pt x="1726460" y="1061271"/>
                  <a:pt x="1773930" y="1096873"/>
                  <a:pt x="1821916" y="1131960"/>
                </a:cubicBezTo>
                <a:cubicBezTo>
                  <a:pt x="1833267" y="1140215"/>
                  <a:pt x="1836879" y="1150535"/>
                  <a:pt x="1831720" y="1163950"/>
                </a:cubicBezTo>
                <a:cubicBezTo>
                  <a:pt x="1822948" y="1188201"/>
                  <a:pt x="1814176" y="1212452"/>
                  <a:pt x="1805404" y="1236703"/>
                </a:cubicBezTo>
                <a:cubicBezTo>
                  <a:pt x="1795601" y="1263534"/>
                  <a:pt x="1785798" y="1290881"/>
                  <a:pt x="1775478" y="1317711"/>
                </a:cubicBezTo>
                <a:cubicBezTo>
                  <a:pt x="1771350" y="1329063"/>
                  <a:pt x="1761546" y="1335255"/>
                  <a:pt x="1750195" y="1334223"/>
                </a:cubicBezTo>
                <a:cubicBezTo>
                  <a:pt x="1728524" y="1332159"/>
                  <a:pt x="1707369" y="1329579"/>
                  <a:pt x="1685698" y="1327515"/>
                </a:cubicBezTo>
                <a:cubicBezTo>
                  <a:pt x="1648548" y="1323387"/>
                  <a:pt x="1611397" y="1319259"/>
                  <a:pt x="1574247" y="1315648"/>
                </a:cubicBezTo>
                <a:cubicBezTo>
                  <a:pt x="1562379" y="1314616"/>
                  <a:pt x="1553092" y="1318743"/>
                  <a:pt x="1545868" y="1328547"/>
                </a:cubicBezTo>
                <a:cubicBezTo>
                  <a:pt x="1532453" y="1346606"/>
                  <a:pt x="1519553" y="1365181"/>
                  <a:pt x="1505622" y="1383241"/>
                </a:cubicBezTo>
                <a:cubicBezTo>
                  <a:pt x="1497366" y="1394076"/>
                  <a:pt x="1496334" y="1405428"/>
                  <a:pt x="1500978" y="1417811"/>
                </a:cubicBezTo>
                <a:cubicBezTo>
                  <a:pt x="1521617" y="1472505"/>
                  <a:pt x="1542772" y="1527198"/>
                  <a:pt x="1563411" y="1581892"/>
                </a:cubicBezTo>
                <a:cubicBezTo>
                  <a:pt x="1569087" y="1596339"/>
                  <a:pt x="1565991" y="1606143"/>
                  <a:pt x="1554124" y="1615430"/>
                </a:cubicBezTo>
                <a:cubicBezTo>
                  <a:pt x="1512845" y="1646389"/>
                  <a:pt x="1472083" y="1677864"/>
                  <a:pt x="1430805" y="1708822"/>
                </a:cubicBezTo>
                <a:cubicBezTo>
                  <a:pt x="1418938" y="1717594"/>
                  <a:pt x="1408618" y="1717594"/>
                  <a:pt x="1397266" y="1708306"/>
                </a:cubicBezTo>
                <a:cubicBezTo>
                  <a:pt x="1352892" y="1672704"/>
                  <a:pt x="1308003" y="1636585"/>
                  <a:pt x="1263628" y="1600467"/>
                </a:cubicBezTo>
                <a:cubicBezTo>
                  <a:pt x="1253825" y="1592727"/>
                  <a:pt x="1243505" y="1590147"/>
                  <a:pt x="1232154" y="1594275"/>
                </a:cubicBezTo>
                <a:cubicBezTo>
                  <a:pt x="1205839" y="1604079"/>
                  <a:pt x="1179524" y="1613883"/>
                  <a:pt x="1153725" y="1624202"/>
                </a:cubicBezTo>
                <a:cubicBezTo>
                  <a:pt x="1143406" y="1628330"/>
                  <a:pt x="1137214" y="1636070"/>
                  <a:pt x="1134634" y="1646905"/>
                </a:cubicBezTo>
                <a:cubicBezTo>
                  <a:pt x="1131022" y="1663932"/>
                  <a:pt x="1127411" y="1681475"/>
                  <a:pt x="1123798" y="1698503"/>
                </a:cubicBezTo>
                <a:cubicBezTo>
                  <a:pt x="1115027" y="1739781"/>
                  <a:pt x="1106771" y="1780543"/>
                  <a:pt x="1097999" y="1821821"/>
                </a:cubicBezTo>
                <a:cubicBezTo>
                  <a:pt x="1095420" y="1833689"/>
                  <a:pt x="1088196" y="1840913"/>
                  <a:pt x="1076329" y="1842460"/>
                </a:cubicBezTo>
                <a:cubicBezTo>
                  <a:pt x="1048982" y="1846072"/>
                  <a:pt x="1021635" y="1848652"/>
                  <a:pt x="994288" y="1851232"/>
                </a:cubicBezTo>
                <a:cubicBezTo>
                  <a:pt x="980873" y="1850200"/>
                  <a:pt x="970037" y="1851232"/>
                  <a:pt x="959201" y="1852264"/>
                </a:cubicBezTo>
                <a:close/>
                <a:moveTo>
                  <a:pt x="928759" y="382245"/>
                </a:moveTo>
                <a:cubicBezTo>
                  <a:pt x="633620" y="381729"/>
                  <a:pt x="388015" y="619594"/>
                  <a:pt x="386983" y="921957"/>
                </a:cubicBezTo>
                <a:cubicBezTo>
                  <a:pt x="385951" y="1222772"/>
                  <a:pt x="627428" y="1464765"/>
                  <a:pt x="926695" y="1465797"/>
                </a:cubicBezTo>
                <a:cubicBezTo>
                  <a:pt x="1229058" y="1466829"/>
                  <a:pt x="1470019" y="1222772"/>
                  <a:pt x="1470535" y="924537"/>
                </a:cubicBezTo>
                <a:cubicBezTo>
                  <a:pt x="1470535" y="625270"/>
                  <a:pt x="1228026" y="381729"/>
                  <a:pt x="928759" y="382245"/>
                </a:cubicBezTo>
                <a:close/>
              </a:path>
            </a:pathLst>
          </a:custGeom>
          <a:solidFill>
            <a:schemeClr val="bg1">
              <a:alpha val="5000"/>
            </a:schemeClr>
          </a:solidFill>
          <a:ln w="51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D9A123FC-02CE-41F5-8044-BF4EEF221F28}"/>
              </a:ext>
            </a:extLst>
          </p:cNvPr>
          <p:cNvSpPr/>
          <p:nvPr/>
        </p:nvSpPr>
        <p:spPr>
          <a:xfrm>
            <a:off x="3024122" y="1688320"/>
            <a:ext cx="1051669" cy="1070562"/>
          </a:xfrm>
          <a:custGeom>
            <a:avLst/>
            <a:gdLst>
              <a:gd name="connsiteX0" fmla="*/ 879664 w 1723364"/>
              <a:gd name="connsiteY0" fmla="*/ 267 h 1754322"/>
              <a:gd name="connsiteX1" fmla="*/ 964801 w 1723364"/>
              <a:gd name="connsiteY1" fmla="*/ 5943 h 1754322"/>
              <a:gd name="connsiteX2" fmla="*/ 979248 w 1723364"/>
              <a:gd name="connsiteY2" fmla="*/ 18843 h 1754322"/>
              <a:gd name="connsiteX3" fmla="*/ 977700 w 1723364"/>
              <a:gd name="connsiteY3" fmla="*/ 158673 h 1754322"/>
              <a:gd name="connsiteX4" fmla="*/ 968928 w 1723364"/>
              <a:gd name="connsiteY4" fmla="*/ 213366 h 1754322"/>
              <a:gd name="connsiteX5" fmla="*/ 979764 w 1723364"/>
              <a:gd name="connsiteY5" fmla="*/ 229877 h 1754322"/>
              <a:gd name="connsiteX6" fmla="*/ 1149520 w 1723364"/>
              <a:gd name="connsiteY6" fmla="*/ 285087 h 1754322"/>
              <a:gd name="connsiteX7" fmla="*/ 1166548 w 1723364"/>
              <a:gd name="connsiteY7" fmla="*/ 278379 h 1754322"/>
              <a:gd name="connsiteX8" fmla="*/ 1210406 w 1723364"/>
              <a:gd name="connsiteY8" fmla="*/ 190663 h 1754322"/>
              <a:gd name="connsiteX9" fmla="*/ 1263035 w 1723364"/>
              <a:gd name="connsiteY9" fmla="*/ 123070 h 1754322"/>
              <a:gd name="connsiteX10" fmla="*/ 1304314 w 1723364"/>
              <a:gd name="connsiteY10" fmla="*/ 119458 h 1754322"/>
              <a:gd name="connsiteX11" fmla="*/ 1458075 w 1723364"/>
              <a:gd name="connsiteY11" fmla="*/ 231941 h 1754322"/>
              <a:gd name="connsiteX12" fmla="*/ 1462203 w 1723364"/>
              <a:gd name="connsiteY12" fmla="*/ 251549 h 1754322"/>
              <a:gd name="connsiteX13" fmla="*/ 1461171 w 1723364"/>
              <a:gd name="connsiteY13" fmla="*/ 254128 h 1754322"/>
              <a:gd name="connsiteX14" fmla="*/ 1396158 w 1723364"/>
              <a:gd name="connsiteY14" fmla="*/ 347004 h 1754322"/>
              <a:gd name="connsiteX15" fmla="*/ 1337336 w 1723364"/>
              <a:gd name="connsiteY15" fmla="*/ 404794 h 1754322"/>
              <a:gd name="connsiteX16" fmla="*/ 1336304 w 1723364"/>
              <a:gd name="connsiteY16" fmla="*/ 419757 h 1754322"/>
              <a:gd name="connsiteX17" fmla="*/ 1369327 w 1723364"/>
              <a:gd name="connsiteY17" fmla="*/ 457939 h 1754322"/>
              <a:gd name="connsiteX18" fmla="*/ 1442596 w 1723364"/>
              <a:gd name="connsiteY18" fmla="*/ 565263 h 1754322"/>
              <a:gd name="connsiteX19" fmla="*/ 1462719 w 1723364"/>
              <a:gd name="connsiteY19" fmla="*/ 570938 h 1754322"/>
              <a:gd name="connsiteX20" fmla="*/ 1573138 w 1723364"/>
              <a:gd name="connsiteY20" fmla="*/ 514697 h 1754322"/>
              <a:gd name="connsiteX21" fmla="*/ 1650018 w 1723364"/>
              <a:gd name="connsiteY21" fmla="*/ 501281 h 1754322"/>
              <a:gd name="connsiteX22" fmla="*/ 1659822 w 1723364"/>
              <a:gd name="connsiteY22" fmla="*/ 509537 h 1754322"/>
              <a:gd name="connsiteX23" fmla="*/ 1724835 w 1723364"/>
              <a:gd name="connsiteY23" fmla="*/ 709220 h 1754322"/>
              <a:gd name="connsiteX24" fmla="*/ 1717611 w 1723364"/>
              <a:gd name="connsiteY24" fmla="*/ 723668 h 1754322"/>
              <a:gd name="connsiteX25" fmla="*/ 1671173 w 1723364"/>
              <a:gd name="connsiteY25" fmla="*/ 748950 h 1754322"/>
              <a:gd name="connsiteX26" fmla="*/ 1618544 w 1723364"/>
              <a:gd name="connsiteY26" fmla="*/ 760302 h 1754322"/>
              <a:gd name="connsiteX27" fmla="*/ 1529280 w 1723364"/>
              <a:gd name="connsiteY27" fmla="*/ 774234 h 1754322"/>
              <a:gd name="connsiteX28" fmla="*/ 1515349 w 1723364"/>
              <a:gd name="connsiteY28" fmla="*/ 791777 h 1754322"/>
              <a:gd name="connsiteX29" fmla="*/ 1521024 w 1723364"/>
              <a:gd name="connsiteY29" fmla="*/ 857306 h 1754322"/>
              <a:gd name="connsiteX30" fmla="*/ 1516380 w 1723364"/>
              <a:gd name="connsiteY30" fmla="*/ 953794 h 1754322"/>
              <a:gd name="connsiteX31" fmla="*/ 1538567 w 1723364"/>
              <a:gd name="connsiteY31" fmla="*/ 983720 h 1754322"/>
              <a:gd name="connsiteX32" fmla="*/ 1653114 w 1723364"/>
              <a:gd name="connsiteY32" fmla="*/ 1001779 h 1754322"/>
              <a:gd name="connsiteX33" fmla="*/ 1700584 w 1723364"/>
              <a:gd name="connsiteY33" fmla="*/ 1024483 h 1754322"/>
              <a:gd name="connsiteX34" fmla="*/ 1719675 w 1723364"/>
              <a:gd name="connsiteY34" fmla="*/ 1067825 h 1754322"/>
              <a:gd name="connsiteX35" fmla="*/ 1661370 w 1723364"/>
              <a:gd name="connsiteY35" fmla="*/ 1243773 h 1754322"/>
              <a:gd name="connsiteX36" fmla="*/ 1641763 w 1723364"/>
              <a:gd name="connsiteY36" fmla="*/ 1255124 h 1754322"/>
              <a:gd name="connsiteX37" fmla="*/ 1541663 w 1723364"/>
              <a:gd name="connsiteY37" fmla="*/ 1226230 h 1754322"/>
              <a:gd name="connsiteX38" fmla="*/ 1461687 w 1723364"/>
              <a:gd name="connsiteY38" fmla="*/ 1184436 h 1754322"/>
              <a:gd name="connsiteX39" fmla="*/ 1444143 w 1723364"/>
              <a:gd name="connsiteY39" fmla="*/ 1189079 h 1754322"/>
              <a:gd name="connsiteX40" fmla="*/ 1339400 w 1723364"/>
              <a:gd name="connsiteY40" fmla="*/ 1333553 h 1754322"/>
              <a:gd name="connsiteX41" fmla="*/ 1339916 w 1723364"/>
              <a:gd name="connsiteY41" fmla="*/ 1353160 h 1754322"/>
              <a:gd name="connsiteX42" fmla="*/ 1430212 w 1723364"/>
              <a:gd name="connsiteY42" fmla="*/ 1443456 h 1754322"/>
              <a:gd name="connsiteX43" fmla="*/ 1465814 w 1723364"/>
              <a:gd name="connsiteY43" fmla="*/ 1511565 h 1754322"/>
              <a:gd name="connsiteX44" fmla="*/ 1461171 w 1723364"/>
              <a:gd name="connsiteY44" fmla="*/ 1521369 h 1754322"/>
              <a:gd name="connsiteX45" fmla="*/ 1290382 w 1723364"/>
              <a:gd name="connsiteY45" fmla="*/ 1645203 h 1754322"/>
              <a:gd name="connsiteX46" fmla="*/ 1275419 w 1723364"/>
              <a:gd name="connsiteY46" fmla="*/ 1643655 h 1754322"/>
              <a:gd name="connsiteX47" fmla="*/ 1207310 w 1723364"/>
              <a:gd name="connsiteY47" fmla="*/ 1558003 h 1754322"/>
              <a:gd name="connsiteX48" fmla="*/ 1167064 w 1723364"/>
              <a:gd name="connsiteY48" fmla="*/ 1477511 h 1754322"/>
              <a:gd name="connsiteX49" fmla="*/ 1150036 w 1723364"/>
              <a:gd name="connsiteY49" fmla="*/ 1470803 h 1754322"/>
              <a:gd name="connsiteX50" fmla="*/ 981312 w 1723364"/>
              <a:gd name="connsiteY50" fmla="*/ 1526013 h 1754322"/>
              <a:gd name="connsiteX51" fmla="*/ 969960 w 1723364"/>
              <a:gd name="connsiteY51" fmla="*/ 1544072 h 1754322"/>
              <a:gd name="connsiteX52" fmla="*/ 989052 w 1723364"/>
              <a:gd name="connsiteY52" fmla="*/ 1663779 h 1754322"/>
              <a:gd name="connsiteX53" fmla="*/ 978216 w 1723364"/>
              <a:gd name="connsiteY53" fmla="*/ 1743755 h 1754322"/>
              <a:gd name="connsiteX54" fmla="*/ 966864 w 1723364"/>
              <a:gd name="connsiteY54" fmla="*/ 1749947 h 1754322"/>
              <a:gd name="connsiteX55" fmla="*/ 758410 w 1723364"/>
              <a:gd name="connsiteY55" fmla="*/ 1749947 h 1754322"/>
              <a:gd name="connsiteX56" fmla="*/ 745510 w 1723364"/>
              <a:gd name="connsiteY56" fmla="*/ 1737047 h 1754322"/>
              <a:gd name="connsiteX57" fmla="*/ 747058 w 1723364"/>
              <a:gd name="connsiteY57" fmla="*/ 1598249 h 1754322"/>
              <a:gd name="connsiteX58" fmla="*/ 756346 w 1723364"/>
              <a:gd name="connsiteY58" fmla="*/ 1543556 h 1754322"/>
              <a:gd name="connsiteX59" fmla="*/ 744478 w 1723364"/>
              <a:gd name="connsiteY59" fmla="*/ 1525496 h 1754322"/>
              <a:gd name="connsiteX60" fmla="*/ 575754 w 1723364"/>
              <a:gd name="connsiteY60" fmla="*/ 1470287 h 1754322"/>
              <a:gd name="connsiteX61" fmla="*/ 559758 w 1723364"/>
              <a:gd name="connsiteY61" fmla="*/ 1475963 h 1754322"/>
              <a:gd name="connsiteX62" fmla="*/ 504549 w 1723364"/>
              <a:gd name="connsiteY62" fmla="*/ 1585350 h 1754322"/>
              <a:gd name="connsiteX63" fmla="*/ 447275 w 1723364"/>
              <a:gd name="connsiteY63" fmla="*/ 1645719 h 1754322"/>
              <a:gd name="connsiteX64" fmla="*/ 434376 w 1723364"/>
              <a:gd name="connsiteY64" fmla="*/ 1643655 h 1754322"/>
              <a:gd name="connsiteX65" fmla="*/ 290418 w 1723364"/>
              <a:gd name="connsiteY65" fmla="*/ 1542008 h 1754322"/>
              <a:gd name="connsiteX66" fmla="*/ 265651 w 1723364"/>
              <a:gd name="connsiteY66" fmla="*/ 1521369 h 1754322"/>
              <a:gd name="connsiteX67" fmla="*/ 262039 w 1723364"/>
              <a:gd name="connsiteY67" fmla="*/ 1505889 h 1754322"/>
              <a:gd name="connsiteX68" fmla="*/ 321893 w 1723364"/>
              <a:gd name="connsiteY68" fmla="*/ 1415593 h 1754322"/>
              <a:gd name="connsiteX69" fmla="*/ 386906 w 1723364"/>
              <a:gd name="connsiteY69" fmla="*/ 1351096 h 1754322"/>
              <a:gd name="connsiteX70" fmla="*/ 387938 w 1723364"/>
              <a:gd name="connsiteY70" fmla="*/ 1334069 h 1754322"/>
              <a:gd name="connsiteX71" fmla="*/ 354915 w 1723364"/>
              <a:gd name="connsiteY71" fmla="*/ 1295887 h 1754322"/>
              <a:gd name="connsiteX72" fmla="*/ 282678 w 1723364"/>
              <a:gd name="connsiteY72" fmla="*/ 1189595 h 1754322"/>
              <a:gd name="connsiteX73" fmla="*/ 262555 w 1723364"/>
              <a:gd name="connsiteY73" fmla="*/ 1183920 h 1754322"/>
              <a:gd name="connsiteX74" fmla="*/ 152136 w 1723364"/>
              <a:gd name="connsiteY74" fmla="*/ 1240161 h 1754322"/>
              <a:gd name="connsiteX75" fmla="*/ 75256 w 1723364"/>
              <a:gd name="connsiteY75" fmla="*/ 1253577 h 1754322"/>
              <a:gd name="connsiteX76" fmla="*/ 65452 w 1723364"/>
              <a:gd name="connsiteY76" fmla="*/ 1245321 h 1754322"/>
              <a:gd name="connsiteX77" fmla="*/ 439 w 1723364"/>
              <a:gd name="connsiteY77" fmla="*/ 1045637 h 1754322"/>
              <a:gd name="connsiteX78" fmla="*/ 7663 w 1723364"/>
              <a:gd name="connsiteY78" fmla="*/ 1031190 h 1754322"/>
              <a:gd name="connsiteX79" fmla="*/ 54101 w 1723364"/>
              <a:gd name="connsiteY79" fmla="*/ 1005907 h 1754322"/>
              <a:gd name="connsiteX80" fmla="*/ 106730 w 1723364"/>
              <a:gd name="connsiteY80" fmla="*/ 994556 h 1754322"/>
              <a:gd name="connsiteX81" fmla="*/ 197026 w 1723364"/>
              <a:gd name="connsiteY81" fmla="*/ 980109 h 1754322"/>
              <a:gd name="connsiteX82" fmla="*/ 209410 w 1723364"/>
              <a:gd name="connsiteY82" fmla="*/ 964113 h 1754322"/>
              <a:gd name="connsiteX83" fmla="*/ 203734 w 1723364"/>
              <a:gd name="connsiteY83" fmla="*/ 897552 h 1754322"/>
              <a:gd name="connsiteX84" fmla="*/ 208378 w 1723364"/>
              <a:gd name="connsiteY84" fmla="*/ 801064 h 1754322"/>
              <a:gd name="connsiteX85" fmla="*/ 185159 w 1723364"/>
              <a:gd name="connsiteY85" fmla="*/ 770622 h 1754322"/>
              <a:gd name="connsiteX86" fmla="*/ 73192 w 1723364"/>
              <a:gd name="connsiteY86" fmla="*/ 753079 h 1754322"/>
              <a:gd name="connsiteX87" fmla="*/ 24690 w 1723364"/>
              <a:gd name="connsiteY87" fmla="*/ 730375 h 1754322"/>
              <a:gd name="connsiteX88" fmla="*/ 5599 w 1723364"/>
              <a:gd name="connsiteY88" fmla="*/ 687033 h 1754322"/>
              <a:gd name="connsiteX89" fmla="*/ 63904 w 1723364"/>
              <a:gd name="connsiteY89" fmla="*/ 511085 h 1754322"/>
              <a:gd name="connsiteX90" fmla="*/ 83511 w 1723364"/>
              <a:gd name="connsiteY90" fmla="*/ 499733 h 1754322"/>
              <a:gd name="connsiteX91" fmla="*/ 183611 w 1723364"/>
              <a:gd name="connsiteY91" fmla="*/ 528628 h 1754322"/>
              <a:gd name="connsiteX92" fmla="*/ 262555 w 1723364"/>
              <a:gd name="connsiteY92" fmla="*/ 569390 h 1754322"/>
              <a:gd name="connsiteX93" fmla="*/ 282163 w 1723364"/>
              <a:gd name="connsiteY93" fmla="*/ 564231 h 1754322"/>
              <a:gd name="connsiteX94" fmla="*/ 386906 w 1723364"/>
              <a:gd name="connsiteY94" fmla="*/ 419757 h 1754322"/>
              <a:gd name="connsiteX95" fmla="*/ 386390 w 1723364"/>
              <a:gd name="connsiteY95" fmla="*/ 402214 h 1754322"/>
              <a:gd name="connsiteX96" fmla="*/ 296094 w 1723364"/>
              <a:gd name="connsiteY96" fmla="*/ 311918 h 1754322"/>
              <a:gd name="connsiteX97" fmla="*/ 259975 w 1723364"/>
              <a:gd name="connsiteY97" fmla="*/ 242777 h 1754322"/>
              <a:gd name="connsiteX98" fmla="*/ 264619 w 1723364"/>
              <a:gd name="connsiteY98" fmla="*/ 232973 h 1754322"/>
              <a:gd name="connsiteX99" fmla="*/ 435408 w 1723364"/>
              <a:gd name="connsiteY99" fmla="*/ 109139 h 1754322"/>
              <a:gd name="connsiteX100" fmla="*/ 450371 w 1723364"/>
              <a:gd name="connsiteY100" fmla="*/ 110687 h 1754322"/>
              <a:gd name="connsiteX101" fmla="*/ 518480 w 1723364"/>
              <a:gd name="connsiteY101" fmla="*/ 196339 h 1754322"/>
              <a:gd name="connsiteX102" fmla="*/ 559758 w 1723364"/>
              <a:gd name="connsiteY102" fmla="*/ 277863 h 1754322"/>
              <a:gd name="connsiteX103" fmla="*/ 574722 w 1723364"/>
              <a:gd name="connsiteY103" fmla="*/ 283539 h 1754322"/>
              <a:gd name="connsiteX104" fmla="*/ 746026 w 1723364"/>
              <a:gd name="connsiteY104" fmla="*/ 227813 h 1754322"/>
              <a:gd name="connsiteX105" fmla="*/ 756346 w 1723364"/>
              <a:gd name="connsiteY105" fmla="*/ 211302 h 1754322"/>
              <a:gd name="connsiteX106" fmla="*/ 737254 w 1723364"/>
              <a:gd name="connsiteY106" fmla="*/ 91596 h 1754322"/>
              <a:gd name="connsiteX107" fmla="*/ 748090 w 1723364"/>
              <a:gd name="connsiteY107" fmla="*/ 10587 h 1754322"/>
              <a:gd name="connsiteX108" fmla="*/ 758410 w 1723364"/>
              <a:gd name="connsiteY108" fmla="*/ 4395 h 1754322"/>
              <a:gd name="connsiteX109" fmla="*/ 879664 w 1723364"/>
              <a:gd name="connsiteY109" fmla="*/ 267 h 1754322"/>
              <a:gd name="connsiteX110" fmla="*/ 861605 w 1723364"/>
              <a:gd name="connsiteY110" fmla="*/ 1409918 h 1754322"/>
              <a:gd name="connsiteX111" fmla="*/ 1392546 w 1723364"/>
              <a:gd name="connsiteY111" fmla="*/ 879493 h 1754322"/>
              <a:gd name="connsiteX112" fmla="*/ 862637 w 1723364"/>
              <a:gd name="connsiteY112" fmla="*/ 348552 h 1754322"/>
              <a:gd name="connsiteX113" fmla="*/ 331180 w 1723364"/>
              <a:gd name="connsiteY113" fmla="*/ 879493 h 1754322"/>
              <a:gd name="connsiteX114" fmla="*/ 861605 w 1723364"/>
              <a:gd name="connsiteY114" fmla="*/ 1409918 h 1754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1723364" h="1754322">
                <a:moveTo>
                  <a:pt x="879664" y="267"/>
                </a:moveTo>
                <a:cubicBezTo>
                  <a:pt x="907527" y="2332"/>
                  <a:pt x="935906" y="4395"/>
                  <a:pt x="964801" y="5943"/>
                </a:cubicBezTo>
                <a:cubicBezTo>
                  <a:pt x="974088" y="6459"/>
                  <a:pt x="976668" y="11103"/>
                  <a:pt x="979248" y="18843"/>
                </a:cubicBezTo>
                <a:cubicBezTo>
                  <a:pt x="994727" y="65797"/>
                  <a:pt x="985956" y="112235"/>
                  <a:pt x="977700" y="158673"/>
                </a:cubicBezTo>
                <a:cubicBezTo>
                  <a:pt x="974604" y="176732"/>
                  <a:pt x="972024" y="195307"/>
                  <a:pt x="968928" y="213366"/>
                </a:cubicBezTo>
                <a:cubicBezTo>
                  <a:pt x="967380" y="222654"/>
                  <a:pt x="969960" y="227813"/>
                  <a:pt x="979764" y="229877"/>
                </a:cubicBezTo>
                <a:cubicBezTo>
                  <a:pt x="1038585" y="240713"/>
                  <a:pt x="1095343" y="259804"/>
                  <a:pt x="1149520" y="285087"/>
                </a:cubicBezTo>
                <a:cubicBezTo>
                  <a:pt x="1158808" y="289215"/>
                  <a:pt x="1162420" y="286119"/>
                  <a:pt x="1166548" y="278379"/>
                </a:cubicBezTo>
                <a:cubicBezTo>
                  <a:pt x="1180995" y="248969"/>
                  <a:pt x="1197506" y="220590"/>
                  <a:pt x="1210406" y="190663"/>
                </a:cubicBezTo>
                <a:cubicBezTo>
                  <a:pt x="1222273" y="163316"/>
                  <a:pt x="1240848" y="142161"/>
                  <a:pt x="1263035" y="123070"/>
                </a:cubicBezTo>
                <a:cubicBezTo>
                  <a:pt x="1282643" y="106043"/>
                  <a:pt x="1282127" y="106559"/>
                  <a:pt x="1304314" y="119458"/>
                </a:cubicBezTo>
                <a:cubicBezTo>
                  <a:pt x="1359523" y="151449"/>
                  <a:pt x="1409573" y="190663"/>
                  <a:pt x="1458075" y="231941"/>
                </a:cubicBezTo>
                <a:cubicBezTo>
                  <a:pt x="1465299" y="238133"/>
                  <a:pt x="1467362" y="243809"/>
                  <a:pt x="1462203" y="251549"/>
                </a:cubicBezTo>
                <a:cubicBezTo>
                  <a:pt x="1461687" y="252064"/>
                  <a:pt x="1461171" y="253096"/>
                  <a:pt x="1461171" y="254128"/>
                </a:cubicBezTo>
                <a:cubicBezTo>
                  <a:pt x="1448271" y="291279"/>
                  <a:pt x="1425052" y="320689"/>
                  <a:pt x="1396158" y="347004"/>
                </a:cubicBezTo>
                <a:cubicBezTo>
                  <a:pt x="1375518" y="365064"/>
                  <a:pt x="1356943" y="385703"/>
                  <a:pt x="1337336" y="404794"/>
                </a:cubicBezTo>
                <a:cubicBezTo>
                  <a:pt x="1332177" y="409954"/>
                  <a:pt x="1330628" y="413565"/>
                  <a:pt x="1336304" y="419757"/>
                </a:cubicBezTo>
                <a:cubicBezTo>
                  <a:pt x="1347656" y="432141"/>
                  <a:pt x="1357459" y="445556"/>
                  <a:pt x="1369327" y="457939"/>
                </a:cubicBezTo>
                <a:cubicBezTo>
                  <a:pt x="1399769" y="489930"/>
                  <a:pt x="1419893" y="528628"/>
                  <a:pt x="1442596" y="565263"/>
                </a:cubicBezTo>
                <a:cubicBezTo>
                  <a:pt x="1448271" y="574550"/>
                  <a:pt x="1452915" y="576098"/>
                  <a:pt x="1462719" y="570938"/>
                </a:cubicBezTo>
                <a:cubicBezTo>
                  <a:pt x="1499353" y="551847"/>
                  <a:pt x="1535988" y="533272"/>
                  <a:pt x="1573138" y="514697"/>
                </a:cubicBezTo>
                <a:cubicBezTo>
                  <a:pt x="1597389" y="502830"/>
                  <a:pt x="1624220" y="504893"/>
                  <a:pt x="1650018" y="501281"/>
                </a:cubicBezTo>
                <a:cubicBezTo>
                  <a:pt x="1655694" y="500250"/>
                  <a:pt x="1658274" y="505409"/>
                  <a:pt x="1659822" y="509537"/>
                </a:cubicBezTo>
                <a:cubicBezTo>
                  <a:pt x="1687685" y="574034"/>
                  <a:pt x="1709872" y="640595"/>
                  <a:pt x="1724835" y="709220"/>
                </a:cubicBezTo>
                <a:cubicBezTo>
                  <a:pt x="1726383" y="716444"/>
                  <a:pt x="1723803" y="720572"/>
                  <a:pt x="1717611" y="723668"/>
                </a:cubicBezTo>
                <a:cubicBezTo>
                  <a:pt x="1702132" y="731923"/>
                  <a:pt x="1686653" y="740695"/>
                  <a:pt x="1671173" y="748950"/>
                </a:cubicBezTo>
                <a:cubicBezTo>
                  <a:pt x="1654662" y="757722"/>
                  <a:pt x="1636087" y="757206"/>
                  <a:pt x="1618544" y="760302"/>
                </a:cubicBezTo>
                <a:cubicBezTo>
                  <a:pt x="1589133" y="765462"/>
                  <a:pt x="1559207" y="770106"/>
                  <a:pt x="1529280" y="774234"/>
                </a:cubicBezTo>
                <a:cubicBezTo>
                  <a:pt x="1517412" y="775781"/>
                  <a:pt x="1514316" y="780941"/>
                  <a:pt x="1515349" y="791777"/>
                </a:cubicBezTo>
                <a:cubicBezTo>
                  <a:pt x="1517412" y="813448"/>
                  <a:pt x="1518444" y="835635"/>
                  <a:pt x="1521024" y="857306"/>
                </a:cubicBezTo>
                <a:cubicBezTo>
                  <a:pt x="1524636" y="889813"/>
                  <a:pt x="1518960" y="921803"/>
                  <a:pt x="1516380" y="953794"/>
                </a:cubicBezTo>
                <a:cubicBezTo>
                  <a:pt x="1514316" y="980109"/>
                  <a:pt x="1513284" y="980109"/>
                  <a:pt x="1538567" y="983720"/>
                </a:cubicBezTo>
                <a:cubicBezTo>
                  <a:pt x="1576750" y="989912"/>
                  <a:pt x="1614932" y="995588"/>
                  <a:pt x="1653114" y="1001779"/>
                </a:cubicBezTo>
                <a:cubicBezTo>
                  <a:pt x="1671173" y="1004875"/>
                  <a:pt x="1685105" y="1016227"/>
                  <a:pt x="1700584" y="1024483"/>
                </a:cubicBezTo>
                <a:cubicBezTo>
                  <a:pt x="1726899" y="1038414"/>
                  <a:pt x="1725867" y="1038930"/>
                  <a:pt x="1719675" y="1067825"/>
                </a:cubicBezTo>
                <a:cubicBezTo>
                  <a:pt x="1706260" y="1128710"/>
                  <a:pt x="1685105" y="1186500"/>
                  <a:pt x="1661370" y="1243773"/>
                </a:cubicBezTo>
                <a:cubicBezTo>
                  <a:pt x="1657242" y="1253577"/>
                  <a:pt x="1651566" y="1256157"/>
                  <a:pt x="1641763" y="1255124"/>
                </a:cubicBezTo>
                <a:cubicBezTo>
                  <a:pt x="1606160" y="1252028"/>
                  <a:pt x="1572622" y="1244805"/>
                  <a:pt x="1541663" y="1226230"/>
                </a:cubicBezTo>
                <a:cubicBezTo>
                  <a:pt x="1515864" y="1210750"/>
                  <a:pt x="1488001" y="1198883"/>
                  <a:pt x="1461687" y="1184436"/>
                </a:cubicBezTo>
                <a:cubicBezTo>
                  <a:pt x="1453947" y="1180308"/>
                  <a:pt x="1448787" y="1180308"/>
                  <a:pt x="1444143" y="1189079"/>
                </a:cubicBezTo>
                <a:cubicBezTo>
                  <a:pt x="1415249" y="1241709"/>
                  <a:pt x="1380162" y="1290211"/>
                  <a:pt x="1339400" y="1333553"/>
                </a:cubicBezTo>
                <a:cubicBezTo>
                  <a:pt x="1332177" y="1341293"/>
                  <a:pt x="1332177" y="1345936"/>
                  <a:pt x="1339916" y="1353160"/>
                </a:cubicBezTo>
                <a:cubicBezTo>
                  <a:pt x="1370359" y="1382571"/>
                  <a:pt x="1400801" y="1412498"/>
                  <a:pt x="1430212" y="1443456"/>
                </a:cubicBezTo>
                <a:cubicBezTo>
                  <a:pt x="1448271" y="1462547"/>
                  <a:pt x="1453947" y="1488862"/>
                  <a:pt x="1465814" y="1511565"/>
                </a:cubicBezTo>
                <a:cubicBezTo>
                  <a:pt x="1467879" y="1515693"/>
                  <a:pt x="1464267" y="1518789"/>
                  <a:pt x="1461171" y="1521369"/>
                </a:cubicBezTo>
                <a:cubicBezTo>
                  <a:pt x="1408025" y="1568323"/>
                  <a:pt x="1351784" y="1610117"/>
                  <a:pt x="1290382" y="1645203"/>
                </a:cubicBezTo>
                <a:cubicBezTo>
                  <a:pt x="1284707" y="1648815"/>
                  <a:pt x="1280579" y="1648299"/>
                  <a:pt x="1275419" y="1643655"/>
                </a:cubicBezTo>
                <a:cubicBezTo>
                  <a:pt x="1247040" y="1619404"/>
                  <a:pt x="1221757" y="1593606"/>
                  <a:pt x="1207310" y="1558003"/>
                </a:cubicBezTo>
                <a:cubicBezTo>
                  <a:pt x="1195958" y="1530140"/>
                  <a:pt x="1179963" y="1504341"/>
                  <a:pt x="1167064" y="1477511"/>
                </a:cubicBezTo>
                <a:cubicBezTo>
                  <a:pt x="1162936" y="1469255"/>
                  <a:pt x="1158808" y="1467191"/>
                  <a:pt x="1150036" y="1470803"/>
                </a:cubicBezTo>
                <a:cubicBezTo>
                  <a:pt x="1096375" y="1496086"/>
                  <a:pt x="1040133" y="1514661"/>
                  <a:pt x="981312" y="1526013"/>
                </a:cubicBezTo>
                <a:cubicBezTo>
                  <a:pt x="969960" y="1528076"/>
                  <a:pt x="967896" y="1534268"/>
                  <a:pt x="969960" y="1544072"/>
                </a:cubicBezTo>
                <a:cubicBezTo>
                  <a:pt x="976668" y="1583802"/>
                  <a:pt x="982860" y="1623532"/>
                  <a:pt x="989052" y="1663779"/>
                </a:cubicBezTo>
                <a:cubicBezTo>
                  <a:pt x="993179" y="1691641"/>
                  <a:pt x="982344" y="1716924"/>
                  <a:pt x="978216" y="1743755"/>
                </a:cubicBezTo>
                <a:cubicBezTo>
                  <a:pt x="977184" y="1749431"/>
                  <a:pt x="971508" y="1749431"/>
                  <a:pt x="966864" y="1749947"/>
                </a:cubicBezTo>
                <a:cubicBezTo>
                  <a:pt x="897207" y="1757170"/>
                  <a:pt x="828067" y="1756655"/>
                  <a:pt x="758410" y="1749947"/>
                </a:cubicBezTo>
                <a:cubicBezTo>
                  <a:pt x="749638" y="1748915"/>
                  <a:pt x="748090" y="1744271"/>
                  <a:pt x="745510" y="1737047"/>
                </a:cubicBezTo>
                <a:cubicBezTo>
                  <a:pt x="730031" y="1690609"/>
                  <a:pt x="738286" y="1644687"/>
                  <a:pt x="747058" y="1598249"/>
                </a:cubicBezTo>
                <a:cubicBezTo>
                  <a:pt x="750154" y="1580190"/>
                  <a:pt x="752734" y="1561615"/>
                  <a:pt x="756346" y="1543556"/>
                </a:cubicBezTo>
                <a:cubicBezTo>
                  <a:pt x="758410" y="1533236"/>
                  <a:pt x="755314" y="1527560"/>
                  <a:pt x="744478" y="1525496"/>
                </a:cubicBezTo>
                <a:cubicBezTo>
                  <a:pt x="685657" y="1514661"/>
                  <a:pt x="629931" y="1496086"/>
                  <a:pt x="575754" y="1470287"/>
                </a:cubicBezTo>
                <a:cubicBezTo>
                  <a:pt x="568014" y="1466675"/>
                  <a:pt x="563886" y="1467707"/>
                  <a:pt x="559758" y="1475963"/>
                </a:cubicBezTo>
                <a:cubicBezTo>
                  <a:pt x="541699" y="1512597"/>
                  <a:pt x="522608" y="1548715"/>
                  <a:pt x="504549" y="1585350"/>
                </a:cubicBezTo>
                <a:cubicBezTo>
                  <a:pt x="491649" y="1611149"/>
                  <a:pt x="466882" y="1626112"/>
                  <a:pt x="447275" y="1645719"/>
                </a:cubicBezTo>
                <a:cubicBezTo>
                  <a:pt x="442631" y="1650363"/>
                  <a:pt x="438504" y="1646235"/>
                  <a:pt x="434376" y="1643655"/>
                </a:cubicBezTo>
                <a:cubicBezTo>
                  <a:pt x="384326" y="1612697"/>
                  <a:pt x="334276" y="1581738"/>
                  <a:pt x="290418" y="1542008"/>
                </a:cubicBezTo>
                <a:cubicBezTo>
                  <a:pt x="282678" y="1534784"/>
                  <a:pt x="273907" y="1528076"/>
                  <a:pt x="265651" y="1521369"/>
                </a:cubicBezTo>
                <a:cubicBezTo>
                  <a:pt x="259975" y="1516725"/>
                  <a:pt x="259459" y="1512597"/>
                  <a:pt x="262039" y="1505889"/>
                </a:cubicBezTo>
                <a:cubicBezTo>
                  <a:pt x="276487" y="1472351"/>
                  <a:pt x="292998" y="1440360"/>
                  <a:pt x="321893" y="1415593"/>
                </a:cubicBezTo>
                <a:cubicBezTo>
                  <a:pt x="345112" y="1395986"/>
                  <a:pt x="365235" y="1372767"/>
                  <a:pt x="386906" y="1351096"/>
                </a:cubicBezTo>
                <a:cubicBezTo>
                  <a:pt x="393098" y="1345421"/>
                  <a:pt x="394129" y="1341293"/>
                  <a:pt x="387938" y="1334069"/>
                </a:cubicBezTo>
                <a:cubicBezTo>
                  <a:pt x="376586" y="1321685"/>
                  <a:pt x="366783" y="1308270"/>
                  <a:pt x="354915" y="1295887"/>
                </a:cubicBezTo>
                <a:cubicBezTo>
                  <a:pt x="324989" y="1264412"/>
                  <a:pt x="305382" y="1225714"/>
                  <a:pt x="282678" y="1189595"/>
                </a:cubicBezTo>
                <a:cubicBezTo>
                  <a:pt x="277003" y="1180308"/>
                  <a:pt x="272359" y="1178760"/>
                  <a:pt x="262555" y="1183920"/>
                </a:cubicBezTo>
                <a:cubicBezTo>
                  <a:pt x="225921" y="1203011"/>
                  <a:pt x="189287" y="1221586"/>
                  <a:pt x="152136" y="1240161"/>
                </a:cubicBezTo>
                <a:cubicBezTo>
                  <a:pt x="127885" y="1252545"/>
                  <a:pt x="101054" y="1249965"/>
                  <a:pt x="75256" y="1253577"/>
                </a:cubicBezTo>
                <a:cubicBezTo>
                  <a:pt x="69580" y="1254608"/>
                  <a:pt x="67000" y="1249965"/>
                  <a:pt x="65452" y="1245321"/>
                </a:cubicBezTo>
                <a:cubicBezTo>
                  <a:pt x="37589" y="1180824"/>
                  <a:pt x="15402" y="1114263"/>
                  <a:pt x="439" y="1045637"/>
                </a:cubicBezTo>
                <a:cubicBezTo>
                  <a:pt x="-1109" y="1038414"/>
                  <a:pt x="1471" y="1034286"/>
                  <a:pt x="7663" y="1031190"/>
                </a:cubicBezTo>
                <a:cubicBezTo>
                  <a:pt x="23142" y="1022935"/>
                  <a:pt x="38621" y="1014163"/>
                  <a:pt x="54101" y="1005907"/>
                </a:cubicBezTo>
                <a:cubicBezTo>
                  <a:pt x="70612" y="997136"/>
                  <a:pt x="89187" y="997652"/>
                  <a:pt x="106730" y="994556"/>
                </a:cubicBezTo>
                <a:cubicBezTo>
                  <a:pt x="136657" y="989396"/>
                  <a:pt x="167099" y="984236"/>
                  <a:pt x="197026" y="980109"/>
                </a:cubicBezTo>
                <a:cubicBezTo>
                  <a:pt x="207346" y="978560"/>
                  <a:pt x="210442" y="973917"/>
                  <a:pt x="209410" y="964113"/>
                </a:cubicBezTo>
                <a:cubicBezTo>
                  <a:pt x="207346" y="941926"/>
                  <a:pt x="206314" y="919739"/>
                  <a:pt x="203734" y="897552"/>
                </a:cubicBezTo>
                <a:cubicBezTo>
                  <a:pt x="200122" y="865045"/>
                  <a:pt x="205798" y="833055"/>
                  <a:pt x="208378" y="801064"/>
                </a:cubicBezTo>
                <a:cubicBezTo>
                  <a:pt x="210442" y="774749"/>
                  <a:pt x="211474" y="774749"/>
                  <a:pt x="185159" y="770622"/>
                </a:cubicBezTo>
                <a:cubicBezTo>
                  <a:pt x="148009" y="764430"/>
                  <a:pt x="110342" y="758754"/>
                  <a:pt x="73192" y="753079"/>
                </a:cubicBezTo>
                <a:cubicBezTo>
                  <a:pt x="54616" y="750499"/>
                  <a:pt x="40169" y="738631"/>
                  <a:pt x="24690" y="730375"/>
                </a:cubicBezTo>
                <a:cubicBezTo>
                  <a:pt x="-1625" y="715928"/>
                  <a:pt x="-593" y="715928"/>
                  <a:pt x="5599" y="687033"/>
                </a:cubicBezTo>
                <a:cubicBezTo>
                  <a:pt x="19014" y="626148"/>
                  <a:pt x="40169" y="568358"/>
                  <a:pt x="63904" y="511085"/>
                </a:cubicBezTo>
                <a:cubicBezTo>
                  <a:pt x="68032" y="501281"/>
                  <a:pt x="73192" y="498701"/>
                  <a:pt x="83511" y="499733"/>
                </a:cubicBezTo>
                <a:cubicBezTo>
                  <a:pt x="119114" y="502830"/>
                  <a:pt x="152652" y="510053"/>
                  <a:pt x="183611" y="528628"/>
                </a:cubicBezTo>
                <a:cubicBezTo>
                  <a:pt x="208894" y="543592"/>
                  <a:pt x="236241" y="555459"/>
                  <a:pt x="262555" y="569390"/>
                </a:cubicBezTo>
                <a:cubicBezTo>
                  <a:pt x="271327" y="574034"/>
                  <a:pt x="277003" y="574034"/>
                  <a:pt x="282163" y="564231"/>
                </a:cubicBezTo>
                <a:cubicBezTo>
                  <a:pt x="311057" y="511601"/>
                  <a:pt x="346144" y="463615"/>
                  <a:pt x="386906" y="419757"/>
                </a:cubicBezTo>
                <a:cubicBezTo>
                  <a:pt x="393614" y="412534"/>
                  <a:pt x="393098" y="408922"/>
                  <a:pt x="386390" y="402214"/>
                </a:cubicBezTo>
                <a:cubicBezTo>
                  <a:pt x="355947" y="372287"/>
                  <a:pt x="325505" y="342360"/>
                  <a:pt x="296094" y="311918"/>
                </a:cubicBezTo>
                <a:cubicBezTo>
                  <a:pt x="277519" y="292827"/>
                  <a:pt x="271843" y="265996"/>
                  <a:pt x="259975" y="242777"/>
                </a:cubicBezTo>
                <a:cubicBezTo>
                  <a:pt x="257912" y="238649"/>
                  <a:pt x="261524" y="235553"/>
                  <a:pt x="264619" y="232973"/>
                </a:cubicBezTo>
                <a:cubicBezTo>
                  <a:pt x="317765" y="186019"/>
                  <a:pt x="374007" y="144225"/>
                  <a:pt x="435408" y="109139"/>
                </a:cubicBezTo>
                <a:cubicBezTo>
                  <a:pt x="441084" y="105527"/>
                  <a:pt x="445211" y="106043"/>
                  <a:pt x="450371" y="110687"/>
                </a:cubicBezTo>
                <a:cubicBezTo>
                  <a:pt x="478750" y="134937"/>
                  <a:pt x="504033" y="160736"/>
                  <a:pt x="518480" y="196339"/>
                </a:cubicBezTo>
                <a:cubicBezTo>
                  <a:pt x="530348" y="224202"/>
                  <a:pt x="545827" y="250516"/>
                  <a:pt x="559758" y="277863"/>
                </a:cubicBezTo>
                <a:cubicBezTo>
                  <a:pt x="563370" y="285087"/>
                  <a:pt x="566982" y="287151"/>
                  <a:pt x="574722" y="283539"/>
                </a:cubicBezTo>
                <a:cubicBezTo>
                  <a:pt x="629415" y="257740"/>
                  <a:pt x="686173" y="238649"/>
                  <a:pt x="746026" y="227813"/>
                </a:cubicBezTo>
                <a:cubicBezTo>
                  <a:pt x="756346" y="225750"/>
                  <a:pt x="757893" y="220074"/>
                  <a:pt x="756346" y="211302"/>
                </a:cubicBezTo>
                <a:cubicBezTo>
                  <a:pt x="749638" y="171572"/>
                  <a:pt x="743446" y="131326"/>
                  <a:pt x="737254" y="91596"/>
                </a:cubicBezTo>
                <a:cubicBezTo>
                  <a:pt x="732611" y="63217"/>
                  <a:pt x="743446" y="37418"/>
                  <a:pt x="748090" y="10587"/>
                </a:cubicBezTo>
                <a:cubicBezTo>
                  <a:pt x="749122" y="5427"/>
                  <a:pt x="753766" y="4395"/>
                  <a:pt x="758410" y="4395"/>
                </a:cubicBezTo>
                <a:cubicBezTo>
                  <a:pt x="797624" y="4395"/>
                  <a:pt x="837870" y="-1280"/>
                  <a:pt x="879664" y="267"/>
                </a:cubicBezTo>
                <a:close/>
                <a:moveTo>
                  <a:pt x="861605" y="1409918"/>
                </a:moveTo>
                <a:cubicBezTo>
                  <a:pt x="1155712" y="1407338"/>
                  <a:pt x="1392030" y="1176180"/>
                  <a:pt x="1392546" y="879493"/>
                </a:cubicBezTo>
                <a:cubicBezTo>
                  <a:pt x="1393062" y="585902"/>
                  <a:pt x="1160356" y="349068"/>
                  <a:pt x="862637" y="348552"/>
                </a:cubicBezTo>
                <a:cubicBezTo>
                  <a:pt x="568014" y="348036"/>
                  <a:pt x="331180" y="581774"/>
                  <a:pt x="331180" y="879493"/>
                </a:cubicBezTo>
                <a:cubicBezTo>
                  <a:pt x="331180" y="1173600"/>
                  <a:pt x="565950" y="1406822"/>
                  <a:pt x="861605" y="1409918"/>
                </a:cubicBezTo>
                <a:close/>
              </a:path>
            </a:pathLst>
          </a:custGeom>
          <a:solidFill>
            <a:schemeClr val="bg1">
              <a:alpha val="5000"/>
            </a:schemeClr>
          </a:solidFill>
          <a:ln w="51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64288D6C-FFD6-4513-B7FB-6E8702672008}"/>
              </a:ext>
            </a:extLst>
          </p:cNvPr>
          <p:cNvSpPr/>
          <p:nvPr/>
        </p:nvSpPr>
        <p:spPr>
          <a:xfrm>
            <a:off x="11118869" y="220249"/>
            <a:ext cx="853923" cy="853924"/>
          </a:xfrm>
          <a:custGeom>
            <a:avLst/>
            <a:gdLst>
              <a:gd name="connsiteX0" fmla="*/ 686157 w 1243505"/>
              <a:gd name="connsiteY0" fmla="*/ 1016068 h 1243505"/>
              <a:gd name="connsiteX1" fmla="*/ 560258 w 1243505"/>
              <a:gd name="connsiteY1" fmla="*/ 1016068 h 1243505"/>
              <a:gd name="connsiteX2" fmla="*/ 545811 w 1243505"/>
              <a:gd name="connsiteY2" fmla="*/ 1026903 h 1243505"/>
              <a:gd name="connsiteX3" fmla="*/ 533944 w 1243505"/>
              <a:gd name="connsiteY3" fmla="*/ 1088821 h 1243505"/>
              <a:gd name="connsiteX4" fmla="*/ 505565 w 1243505"/>
              <a:gd name="connsiteY4" fmla="*/ 1169829 h 1243505"/>
              <a:gd name="connsiteX5" fmla="*/ 469447 w 1243505"/>
              <a:gd name="connsiteY5" fmla="*/ 1240002 h 1243505"/>
              <a:gd name="connsiteX6" fmla="*/ 452935 w 1243505"/>
              <a:gd name="connsiteY6" fmla="*/ 1246710 h 1243505"/>
              <a:gd name="connsiteX7" fmla="*/ 305366 w 1243505"/>
              <a:gd name="connsiteY7" fmla="*/ 1185824 h 1243505"/>
              <a:gd name="connsiteX8" fmla="*/ 298142 w 1243505"/>
              <a:gd name="connsiteY8" fmla="*/ 1168281 h 1243505"/>
              <a:gd name="connsiteX9" fmla="*/ 333744 w 1243505"/>
              <a:gd name="connsiteY9" fmla="*/ 1059410 h 1243505"/>
              <a:gd name="connsiteX10" fmla="*/ 342000 w 1243505"/>
              <a:gd name="connsiteY10" fmla="*/ 1043415 h 1243505"/>
              <a:gd name="connsiteX11" fmla="*/ 395662 w 1243505"/>
              <a:gd name="connsiteY11" fmla="*/ 962922 h 1243505"/>
              <a:gd name="connsiteX12" fmla="*/ 393598 w 1243505"/>
              <a:gd name="connsiteY12" fmla="*/ 947959 h 1243505"/>
              <a:gd name="connsiteX13" fmla="*/ 299174 w 1243505"/>
              <a:gd name="connsiteY13" fmla="*/ 853535 h 1243505"/>
              <a:gd name="connsiteX14" fmla="*/ 285243 w 1243505"/>
              <a:gd name="connsiteY14" fmla="*/ 851471 h 1243505"/>
              <a:gd name="connsiteX15" fmla="*/ 230549 w 1243505"/>
              <a:gd name="connsiteY15" fmla="*/ 888106 h 1243505"/>
              <a:gd name="connsiteX16" fmla="*/ 148509 w 1243505"/>
              <a:gd name="connsiteY16" fmla="*/ 926804 h 1243505"/>
              <a:gd name="connsiteX17" fmla="*/ 78852 w 1243505"/>
              <a:gd name="connsiteY17" fmla="*/ 949507 h 1243505"/>
              <a:gd name="connsiteX18" fmla="*/ 62340 w 1243505"/>
              <a:gd name="connsiteY18" fmla="*/ 942799 h 1243505"/>
              <a:gd name="connsiteX19" fmla="*/ 939 w 1243505"/>
              <a:gd name="connsiteY19" fmla="*/ 794198 h 1243505"/>
              <a:gd name="connsiteX20" fmla="*/ 7131 w 1243505"/>
              <a:gd name="connsiteY20" fmla="*/ 778718 h 1243505"/>
              <a:gd name="connsiteX21" fmla="*/ 114454 w 1243505"/>
              <a:gd name="connsiteY21" fmla="*/ 725056 h 1243505"/>
              <a:gd name="connsiteX22" fmla="*/ 189787 w 1243505"/>
              <a:gd name="connsiteY22" fmla="*/ 708545 h 1243505"/>
              <a:gd name="connsiteX23" fmla="*/ 221261 w 1243505"/>
              <a:gd name="connsiteY23" fmla="*/ 702354 h 1243505"/>
              <a:gd name="connsiteX24" fmla="*/ 231581 w 1243505"/>
              <a:gd name="connsiteY24" fmla="*/ 688938 h 1243505"/>
              <a:gd name="connsiteX25" fmla="*/ 225905 w 1243505"/>
              <a:gd name="connsiteY25" fmla="*/ 631149 h 1243505"/>
              <a:gd name="connsiteX26" fmla="*/ 231581 w 1243505"/>
              <a:gd name="connsiteY26" fmla="*/ 559428 h 1243505"/>
              <a:gd name="connsiteX27" fmla="*/ 220745 w 1243505"/>
              <a:gd name="connsiteY27" fmla="*/ 544980 h 1243505"/>
              <a:gd name="connsiteX28" fmla="*/ 172760 w 1243505"/>
              <a:gd name="connsiteY28" fmla="*/ 535693 h 1243505"/>
              <a:gd name="connsiteX29" fmla="*/ 27770 w 1243505"/>
              <a:gd name="connsiteY29" fmla="*/ 478419 h 1243505"/>
              <a:gd name="connsiteX30" fmla="*/ 8163 w 1243505"/>
              <a:gd name="connsiteY30" fmla="*/ 431465 h 1243505"/>
              <a:gd name="connsiteX31" fmla="*/ 62340 w 1243505"/>
              <a:gd name="connsiteY31" fmla="*/ 305051 h 1243505"/>
              <a:gd name="connsiteX32" fmla="*/ 79884 w 1243505"/>
              <a:gd name="connsiteY32" fmla="*/ 297827 h 1243505"/>
              <a:gd name="connsiteX33" fmla="*/ 188755 w 1243505"/>
              <a:gd name="connsiteY33" fmla="*/ 333430 h 1243505"/>
              <a:gd name="connsiteX34" fmla="*/ 204750 w 1243505"/>
              <a:gd name="connsiteY34" fmla="*/ 341685 h 1243505"/>
              <a:gd name="connsiteX35" fmla="*/ 285243 w 1243505"/>
              <a:gd name="connsiteY35" fmla="*/ 395347 h 1243505"/>
              <a:gd name="connsiteX36" fmla="*/ 300206 w 1243505"/>
              <a:gd name="connsiteY36" fmla="*/ 393283 h 1243505"/>
              <a:gd name="connsiteX37" fmla="*/ 393598 w 1243505"/>
              <a:gd name="connsiteY37" fmla="*/ 299891 h 1243505"/>
              <a:gd name="connsiteX38" fmla="*/ 395662 w 1243505"/>
              <a:gd name="connsiteY38" fmla="*/ 283896 h 1243505"/>
              <a:gd name="connsiteX39" fmla="*/ 353352 w 1243505"/>
              <a:gd name="connsiteY39" fmla="*/ 220947 h 1243505"/>
              <a:gd name="connsiteX40" fmla="*/ 325489 w 1243505"/>
              <a:gd name="connsiteY40" fmla="*/ 162125 h 1243505"/>
              <a:gd name="connsiteX41" fmla="*/ 299690 w 1243505"/>
              <a:gd name="connsiteY41" fmla="*/ 82665 h 1243505"/>
              <a:gd name="connsiteX42" fmla="*/ 307946 w 1243505"/>
              <a:gd name="connsiteY42" fmla="*/ 61510 h 1243505"/>
              <a:gd name="connsiteX43" fmla="*/ 451903 w 1243505"/>
              <a:gd name="connsiteY43" fmla="*/ 2172 h 1243505"/>
              <a:gd name="connsiteX44" fmla="*/ 470478 w 1243505"/>
              <a:gd name="connsiteY44" fmla="*/ 9396 h 1243505"/>
              <a:gd name="connsiteX45" fmla="*/ 522076 w 1243505"/>
              <a:gd name="connsiteY45" fmla="*/ 111559 h 1243505"/>
              <a:gd name="connsiteX46" fmla="*/ 537555 w 1243505"/>
              <a:gd name="connsiteY46" fmla="*/ 177605 h 1243505"/>
              <a:gd name="connsiteX47" fmla="*/ 546843 w 1243505"/>
              <a:gd name="connsiteY47" fmla="*/ 223011 h 1243505"/>
              <a:gd name="connsiteX48" fmla="*/ 559227 w 1243505"/>
              <a:gd name="connsiteY48" fmla="*/ 231782 h 1243505"/>
              <a:gd name="connsiteX49" fmla="*/ 688737 w 1243505"/>
              <a:gd name="connsiteY49" fmla="*/ 231782 h 1243505"/>
              <a:gd name="connsiteX50" fmla="*/ 704216 w 1243505"/>
              <a:gd name="connsiteY50" fmla="*/ 220431 h 1243505"/>
              <a:gd name="connsiteX51" fmla="*/ 716600 w 1243505"/>
              <a:gd name="connsiteY51" fmla="*/ 156966 h 1243505"/>
              <a:gd name="connsiteX52" fmla="*/ 743430 w 1243505"/>
              <a:gd name="connsiteY52" fmla="*/ 79569 h 1243505"/>
              <a:gd name="connsiteX53" fmla="*/ 780065 w 1243505"/>
              <a:gd name="connsiteY53" fmla="*/ 8364 h 1243505"/>
              <a:gd name="connsiteX54" fmla="*/ 797092 w 1243505"/>
              <a:gd name="connsiteY54" fmla="*/ 1140 h 1243505"/>
              <a:gd name="connsiteX55" fmla="*/ 944146 w 1243505"/>
              <a:gd name="connsiteY55" fmla="*/ 62542 h 1243505"/>
              <a:gd name="connsiteX56" fmla="*/ 950853 w 1243505"/>
              <a:gd name="connsiteY56" fmla="*/ 79053 h 1243505"/>
              <a:gd name="connsiteX57" fmla="*/ 914735 w 1243505"/>
              <a:gd name="connsiteY57" fmla="*/ 189472 h 1243505"/>
              <a:gd name="connsiteX58" fmla="*/ 906479 w 1243505"/>
              <a:gd name="connsiteY58" fmla="*/ 205467 h 1243505"/>
              <a:gd name="connsiteX59" fmla="*/ 853334 w 1243505"/>
              <a:gd name="connsiteY59" fmla="*/ 284928 h 1243505"/>
              <a:gd name="connsiteX60" fmla="*/ 855398 w 1243505"/>
              <a:gd name="connsiteY60" fmla="*/ 300923 h 1243505"/>
              <a:gd name="connsiteX61" fmla="*/ 948789 w 1243505"/>
              <a:gd name="connsiteY61" fmla="*/ 394315 h 1243505"/>
              <a:gd name="connsiteX62" fmla="*/ 963753 w 1243505"/>
              <a:gd name="connsiteY62" fmla="*/ 396379 h 1243505"/>
              <a:gd name="connsiteX63" fmla="*/ 1015866 w 1243505"/>
              <a:gd name="connsiteY63" fmla="*/ 360777 h 1243505"/>
              <a:gd name="connsiteX64" fmla="*/ 1099971 w 1243505"/>
              <a:gd name="connsiteY64" fmla="*/ 320530 h 1243505"/>
              <a:gd name="connsiteX65" fmla="*/ 1168596 w 1243505"/>
              <a:gd name="connsiteY65" fmla="*/ 298343 h 1243505"/>
              <a:gd name="connsiteX66" fmla="*/ 1186139 w 1243505"/>
              <a:gd name="connsiteY66" fmla="*/ 305567 h 1243505"/>
              <a:gd name="connsiteX67" fmla="*/ 1247024 w 1243505"/>
              <a:gd name="connsiteY67" fmla="*/ 453136 h 1243505"/>
              <a:gd name="connsiteX68" fmla="*/ 1240317 w 1243505"/>
              <a:gd name="connsiteY68" fmla="*/ 469648 h 1243505"/>
              <a:gd name="connsiteX69" fmla="*/ 1135573 w 1243505"/>
              <a:gd name="connsiteY69" fmla="*/ 522277 h 1243505"/>
              <a:gd name="connsiteX70" fmla="*/ 1059209 w 1243505"/>
              <a:gd name="connsiteY70" fmla="*/ 539821 h 1243505"/>
              <a:gd name="connsiteX71" fmla="*/ 1040117 w 1243505"/>
              <a:gd name="connsiteY71" fmla="*/ 543433 h 1243505"/>
              <a:gd name="connsiteX72" fmla="*/ 1017930 w 1243505"/>
              <a:gd name="connsiteY72" fmla="*/ 572843 h 1243505"/>
              <a:gd name="connsiteX73" fmla="*/ 1016383 w 1243505"/>
              <a:gd name="connsiteY73" fmla="*/ 688422 h 1243505"/>
              <a:gd name="connsiteX74" fmla="*/ 1028250 w 1243505"/>
              <a:gd name="connsiteY74" fmla="*/ 703386 h 1243505"/>
              <a:gd name="connsiteX75" fmla="*/ 1118030 w 1243505"/>
              <a:gd name="connsiteY75" fmla="*/ 720929 h 1243505"/>
              <a:gd name="connsiteX76" fmla="*/ 1142281 w 1243505"/>
              <a:gd name="connsiteY76" fmla="*/ 729184 h 1243505"/>
              <a:gd name="connsiteX77" fmla="*/ 1237737 w 1243505"/>
              <a:gd name="connsiteY77" fmla="*/ 777686 h 1243505"/>
              <a:gd name="connsiteX78" fmla="*/ 1246508 w 1243505"/>
              <a:gd name="connsiteY78" fmla="*/ 797809 h 1243505"/>
              <a:gd name="connsiteX79" fmla="*/ 1186655 w 1243505"/>
              <a:gd name="connsiteY79" fmla="*/ 941767 h 1243505"/>
              <a:gd name="connsiteX80" fmla="*/ 1167564 w 1243505"/>
              <a:gd name="connsiteY80" fmla="*/ 950023 h 1243505"/>
              <a:gd name="connsiteX81" fmla="*/ 1062304 w 1243505"/>
              <a:gd name="connsiteY81" fmla="*/ 915452 h 1243505"/>
              <a:gd name="connsiteX82" fmla="*/ 1042697 w 1243505"/>
              <a:gd name="connsiteY82" fmla="*/ 905649 h 1243505"/>
              <a:gd name="connsiteX83" fmla="*/ 963237 w 1243505"/>
              <a:gd name="connsiteY83" fmla="*/ 852503 h 1243505"/>
              <a:gd name="connsiteX84" fmla="*/ 947241 w 1243505"/>
              <a:gd name="connsiteY84" fmla="*/ 855083 h 1243505"/>
              <a:gd name="connsiteX85" fmla="*/ 855914 w 1243505"/>
              <a:gd name="connsiteY85" fmla="*/ 946927 h 1243505"/>
              <a:gd name="connsiteX86" fmla="*/ 853850 w 1243505"/>
              <a:gd name="connsiteY86" fmla="*/ 966018 h 1243505"/>
              <a:gd name="connsiteX87" fmla="*/ 890484 w 1243505"/>
              <a:gd name="connsiteY87" fmla="*/ 1020711 h 1243505"/>
              <a:gd name="connsiteX88" fmla="*/ 925054 w 1243505"/>
              <a:gd name="connsiteY88" fmla="*/ 1093464 h 1243505"/>
              <a:gd name="connsiteX89" fmla="*/ 949821 w 1243505"/>
              <a:gd name="connsiteY89" fmla="*/ 1169313 h 1243505"/>
              <a:gd name="connsiteX90" fmla="*/ 943114 w 1243505"/>
              <a:gd name="connsiteY90" fmla="*/ 1185824 h 1243505"/>
              <a:gd name="connsiteX91" fmla="*/ 794512 w 1243505"/>
              <a:gd name="connsiteY91" fmla="*/ 1247226 h 1243505"/>
              <a:gd name="connsiteX92" fmla="*/ 779033 w 1243505"/>
              <a:gd name="connsiteY92" fmla="*/ 1241034 h 1243505"/>
              <a:gd name="connsiteX93" fmla="*/ 724855 w 1243505"/>
              <a:gd name="connsiteY93" fmla="*/ 1134226 h 1243505"/>
              <a:gd name="connsiteX94" fmla="*/ 718148 w 1243505"/>
              <a:gd name="connsiteY94" fmla="*/ 1105332 h 1243505"/>
              <a:gd name="connsiteX95" fmla="*/ 703184 w 1243505"/>
              <a:gd name="connsiteY95" fmla="*/ 1031031 h 1243505"/>
              <a:gd name="connsiteX96" fmla="*/ 686157 w 1243505"/>
              <a:gd name="connsiteY96" fmla="*/ 1016068 h 1243505"/>
              <a:gd name="connsiteX97" fmla="*/ 624240 w 1243505"/>
              <a:gd name="connsiteY97" fmla="*/ 791102 h 1243505"/>
              <a:gd name="connsiteX98" fmla="*/ 790900 w 1243505"/>
              <a:gd name="connsiteY98" fmla="*/ 623925 h 1243505"/>
              <a:gd name="connsiteX99" fmla="*/ 624240 w 1243505"/>
              <a:gd name="connsiteY99" fmla="*/ 458296 h 1243505"/>
              <a:gd name="connsiteX100" fmla="*/ 458095 w 1243505"/>
              <a:gd name="connsiteY100" fmla="*/ 624441 h 1243505"/>
              <a:gd name="connsiteX101" fmla="*/ 624240 w 1243505"/>
              <a:gd name="connsiteY101" fmla="*/ 791102 h 1243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</a:cxnLst>
            <a:rect l="l" t="t" r="r" b="b"/>
            <a:pathLst>
              <a:path w="1243505" h="1243505">
                <a:moveTo>
                  <a:pt x="686157" y="1016068"/>
                </a:moveTo>
                <a:cubicBezTo>
                  <a:pt x="644363" y="1024840"/>
                  <a:pt x="602053" y="1021743"/>
                  <a:pt x="560258" y="1016068"/>
                </a:cubicBezTo>
                <a:cubicBezTo>
                  <a:pt x="550455" y="1015036"/>
                  <a:pt x="547359" y="1018132"/>
                  <a:pt x="545811" y="1026903"/>
                </a:cubicBezTo>
                <a:cubicBezTo>
                  <a:pt x="542199" y="1047542"/>
                  <a:pt x="537039" y="1068181"/>
                  <a:pt x="533944" y="1088821"/>
                </a:cubicBezTo>
                <a:cubicBezTo>
                  <a:pt x="529816" y="1117715"/>
                  <a:pt x="519496" y="1144030"/>
                  <a:pt x="505565" y="1169829"/>
                </a:cubicBezTo>
                <a:cubicBezTo>
                  <a:pt x="492666" y="1192532"/>
                  <a:pt x="481314" y="1216267"/>
                  <a:pt x="469447" y="1240002"/>
                </a:cubicBezTo>
                <a:cubicBezTo>
                  <a:pt x="465835" y="1247741"/>
                  <a:pt x="461191" y="1249290"/>
                  <a:pt x="452935" y="1246710"/>
                </a:cubicBezTo>
                <a:cubicBezTo>
                  <a:pt x="401853" y="1231230"/>
                  <a:pt x="352836" y="1211107"/>
                  <a:pt x="305366" y="1185824"/>
                </a:cubicBezTo>
                <a:cubicBezTo>
                  <a:pt x="297110" y="1181696"/>
                  <a:pt x="295562" y="1177053"/>
                  <a:pt x="298142" y="1168281"/>
                </a:cubicBezTo>
                <a:cubicBezTo>
                  <a:pt x="310525" y="1132163"/>
                  <a:pt x="321877" y="1095528"/>
                  <a:pt x="333744" y="1059410"/>
                </a:cubicBezTo>
                <a:cubicBezTo>
                  <a:pt x="335808" y="1053734"/>
                  <a:pt x="338904" y="1048574"/>
                  <a:pt x="342000" y="1043415"/>
                </a:cubicBezTo>
                <a:cubicBezTo>
                  <a:pt x="360059" y="1016584"/>
                  <a:pt x="377602" y="989753"/>
                  <a:pt x="395662" y="962922"/>
                </a:cubicBezTo>
                <a:cubicBezTo>
                  <a:pt x="399790" y="956730"/>
                  <a:pt x="399790" y="952603"/>
                  <a:pt x="393598" y="947959"/>
                </a:cubicBezTo>
                <a:cubicBezTo>
                  <a:pt x="356963" y="921644"/>
                  <a:pt x="326005" y="889653"/>
                  <a:pt x="299174" y="853535"/>
                </a:cubicBezTo>
                <a:cubicBezTo>
                  <a:pt x="295046" y="847859"/>
                  <a:pt x="290918" y="847859"/>
                  <a:pt x="285243" y="851471"/>
                </a:cubicBezTo>
                <a:cubicBezTo>
                  <a:pt x="267183" y="863855"/>
                  <a:pt x="248092" y="875206"/>
                  <a:pt x="230549" y="888106"/>
                </a:cubicBezTo>
                <a:cubicBezTo>
                  <a:pt x="205782" y="906681"/>
                  <a:pt x="178435" y="918548"/>
                  <a:pt x="148509" y="926804"/>
                </a:cubicBezTo>
                <a:cubicBezTo>
                  <a:pt x="124774" y="933511"/>
                  <a:pt x="101555" y="941767"/>
                  <a:pt x="78852" y="949507"/>
                </a:cubicBezTo>
                <a:cubicBezTo>
                  <a:pt x="71112" y="952087"/>
                  <a:pt x="66468" y="950539"/>
                  <a:pt x="62340" y="942799"/>
                </a:cubicBezTo>
                <a:cubicBezTo>
                  <a:pt x="36541" y="895329"/>
                  <a:pt x="15902" y="845795"/>
                  <a:pt x="939" y="794198"/>
                </a:cubicBezTo>
                <a:cubicBezTo>
                  <a:pt x="-1125" y="786458"/>
                  <a:pt x="-93" y="782330"/>
                  <a:pt x="7131" y="778718"/>
                </a:cubicBezTo>
                <a:cubicBezTo>
                  <a:pt x="42733" y="760659"/>
                  <a:pt x="77820" y="741052"/>
                  <a:pt x="114454" y="725056"/>
                </a:cubicBezTo>
                <a:cubicBezTo>
                  <a:pt x="137673" y="714737"/>
                  <a:pt x="164504" y="714221"/>
                  <a:pt x="189787" y="708545"/>
                </a:cubicBezTo>
                <a:cubicBezTo>
                  <a:pt x="200106" y="705965"/>
                  <a:pt x="210942" y="704417"/>
                  <a:pt x="221261" y="702354"/>
                </a:cubicBezTo>
                <a:cubicBezTo>
                  <a:pt x="229001" y="700806"/>
                  <a:pt x="233129" y="698226"/>
                  <a:pt x="231581" y="688938"/>
                </a:cubicBezTo>
                <a:cubicBezTo>
                  <a:pt x="229001" y="669847"/>
                  <a:pt x="226937" y="650756"/>
                  <a:pt x="225905" y="631149"/>
                </a:cubicBezTo>
                <a:cubicBezTo>
                  <a:pt x="224873" y="606898"/>
                  <a:pt x="229517" y="583163"/>
                  <a:pt x="231581" y="559428"/>
                </a:cubicBezTo>
                <a:cubicBezTo>
                  <a:pt x="232613" y="549624"/>
                  <a:pt x="229001" y="546528"/>
                  <a:pt x="220745" y="544980"/>
                </a:cubicBezTo>
                <a:cubicBezTo>
                  <a:pt x="204750" y="542401"/>
                  <a:pt x="188755" y="537757"/>
                  <a:pt x="172760" y="535693"/>
                </a:cubicBezTo>
                <a:cubicBezTo>
                  <a:pt x="118582" y="530533"/>
                  <a:pt x="74208" y="502154"/>
                  <a:pt x="27770" y="478419"/>
                </a:cubicBezTo>
                <a:cubicBezTo>
                  <a:pt x="-2157" y="463456"/>
                  <a:pt x="-1125" y="463456"/>
                  <a:pt x="8163" y="431465"/>
                </a:cubicBezTo>
                <a:cubicBezTo>
                  <a:pt x="21062" y="387091"/>
                  <a:pt x="41701" y="345813"/>
                  <a:pt x="62340" y="305051"/>
                </a:cubicBezTo>
                <a:cubicBezTo>
                  <a:pt x="66468" y="296795"/>
                  <a:pt x="71112" y="295247"/>
                  <a:pt x="79884" y="297827"/>
                </a:cubicBezTo>
                <a:cubicBezTo>
                  <a:pt x="116002" y="310211"/>
                  <a:pt x="152636" y="321562"/>
                  <a:pt x="188755" y="333430"/>
                </a:cubicBezTo>
                <a:cubicBezTo>
                  <a:pt x="194430" y="335494"/>
                  <a:pt x="199590" y="338589"/>
                  <a:pt x="204750" y="341685"/>
                </a:cubicBezTo>
                <a:cubicBezTo>
                  <a:pt x="231581" y="359745"/>
                  <a:pt x="258412" y="377288"/>
                  <a:pt x="285243" y="395347"/>
                </a:cubicBezTo>
                <a:cubicBezTo>
                  <a:pt x="291434" y="399475"/>
                  <a:pt x="295562" y="399475"/>
                  <a:pt x="300206" y="393283"/>
                </a:cubicBezTo>
                <a:cubicBezTo>
                  <a:pt x="326521" y="357165"/>
                  <a:pt x="357479" y="326206"/>
                  <a:pt x="393598" y="299891"/>
                </a:cubicBezTo>
                <a:cubicBezTo>
                  <a:pt x="400305" y="294731"/>
                  <a:pt x="399790" y="290604"/>
                  <a:pt x="395662" y="283896"/>
                </a:cubicBezTo>
                <a:cubicBezTo>
                  <a:pt x="381214" y="263257"/>
                  <a:pt x="367799" y="241586"/>
                  <a:pt x="353352" y="220947"/>
                </a:cubicBezTo>
                <a:cubicBezTo>
                  <a:pt x="340452" y="202887"/>
                  <a:pt x="331681" y="183280"/>
                  <a:pt x="325489" y="162125"/>
                </a:cubicBezTo>
                <a:cubicBezTo>
                  <a:pt x="317749" y="135294"/>
                  <a:pt x="308978" y="108980"/>
                  <a:pt x="299690" y="82665"/>
                </a:cubicBezTo>
                <a:cubicBezTo>
                  <a:pt x="296078" y="72345"/>
                  <a:pt x="297626" y="66669"/>
                  <a:pt x="307946" y="61510"/>
                </a:cubicBezTo>
                <a:cubicBezTo>
                  <a:pt x="353867" y="37259"/>
                  <a:pt x="401853" y="17136"/>
                  <a:pt x="451903" y="2172"/>
                </a:cubicBezTo>
                <a:cubicBezTo>
                  <a:pt x="461191" y="-408"/>
                  <a:pt x="465835" y="624"/>
                  <a:pt x="470478" y="9396"/>
                </a:cubicBezTo>
                <a:cubicBezTo>
                  <a:pt x="487506" y="43451"/>
                  <a:pt x="505565" y="77505"/>
                  <a:pt x="522076" y="111559"/>
                </a:cubicBezTo>
                <a:cubicBezTo>
                  <a:pt x="531880" y="132199"/>
                  <a:pt x="532396" y="155934"/>
                  <a:pt x="537555" y="177605"/>
                </a:cubicBezTo>
                <a:cubicBezTo>
                  <a:pt x="541167" y="192568"/>
                  <a:pt x="543747" y="208047"/>
                  <a:pt x="546843" y="223011"/>
                </a:cubicBezTo>
                <a:cubicBezTo>
                  <a:pt x="548391" y="230234"/>
                  <a:pt x="550971" y="232814"/>
                  <a:pt x="559227" y="231782"/>
                </a:cubicBezTo>
                <a:cubicBezTo>
                  <a:pt x="602569" y="225590"/>
                  <a:pt x="645395" y="225074"/>
                  <a:pt x="688737" y="231782"/>
                </a:cubicBezTo>
                <a:cubicBezTo>
                  <a:pt x="699056" y="233330"/>
                  <a:pt x="702152" y="229718"/>
                  <a:pt x="704216" y="220431"/>
                </a:cubicBezTo>
                <a:cubicBezTo>
                  <a:pt x="707828" y="199276"/>
                  <a:pt x="713504" y="178636"/>
                  <a:pt x="716600" y="156966"/>
                </a:cubicBezTo>
                <a:cubicBezTo>
                  <a:pt x="720727" y="129103"/>
                  <a:pt x="730531" y="103820"/>
                  <a:pt x="743430" y="79569"/>
                </a:cubicBezTo>
                <a:cubicBezTo>
                  <a:pt x="756330" y="56350"/>
                  <a:pt x="768197" y="32099"/>
                  <a:pt x="780065" y="8364"/>
                </a:cubicBezTo>
                <a:cubicBezTo>
                  <a:pt x="784193" y="108"/>
                  <a:pt x="788320" y="-1440"/>
                  <a:pt x="797092" y="1140"/>
                </a:cubicBezTo>
                <a:cubicBezTo>
                  <a:pt x="848174" y="16620"/>
                  <a:pt x="897192" y="36743"/>
                  <a:pt x="944146" y="62542"/>
                </a:cubicBezTo>
                <a:cubicBezTo>
                  <a:pt x="951885" y="66669"/>
                  <a:pt x="953949" y="70797"/>
                  <a:pt x="950853" y="79053"/>
                </a:cubicBezTo>
                <a:cubicBezTo>
                  <a:pt x="938470" y="115687"/>
                  <a:pt x="927118" y="152838"/>
                  <a:pt x="914735" y="189472"/>
                </a:cubicBezTo>
                <a:cubicBezTo>
                  <a:pt x="912671" y="195148"/>
                  <a:pt x="909575" y="200308"/>
                  <a:pt x="906479" y="205467"/>
                </a:cubicBezTo>
                <a:cubicBezTo>
                  <a:pt x="888936" y="231782"/>
                  <a:pt x="871393" y="258613"/>
                  <a:pt x="853334" y="284928"/>
                </a:cubicBezTo>
                <a:cubicBezTo>
                  <a:pt x="848690" y="291635"/>
                  <a:pt x="849206" y="296279"/>
                  <a:pt x="855398" y="300923"/>
                </a:cubicBezTo>
                <a:cubicBezTo>
                  <a:pt x="891516" y="327238"/>
                  <a:pt x="922475" y="358713"/>
                  <a:pt x="948789" y="394315"/>
                </a:cubicBezTo>
                <a:cubicBezTo>
                  <a:pt x="953433" y="401023"/>
                  <a:pt x="957561" y="400507"/>
                  <a:pt x="963753" y="396379"/>
                </a:cubicBezTo>
                <a:cubicBezTo>
                  <a:pt x="981296" y="384511"/>
                  <a:pt x="999355" y="373676"/>
                  <a:pt x="1015866" y="360777"/>
                </a:cubicBezTo>
                <a:cubicBezTo>
                  <a:pt x="1041149" y="341685"/>
                  <a:pt x="1069528" y="329302"/>
                  <a:pt x="1099971" y="320530"/>
                </a:cubicBezTo>
                <a:cubicBezTo>
                  <a:pt x="1123190" y="314339"/>
                  <a:pt x="1145893" y="306083"/>
                  <a:pt x="1168596" y="298343"/>
                </a:cubicBezTo>
                <a:cubicBezTo>
                  <a:pt x="1177368" y="295247"/>
                  <a:pt x="1181495" y="297311"/>
                  <a:pt x="1186139" y="305567"/>
                </a:cubicBezTo>
                <a:cubicBezTo>
                  <a:pt x="1211422" y="352521"/>
                  <a:pt x="1232061" y="401539"/>
                  <a:pt x="1247024" y="453136"/>
                </a:cubicBezTo>
                <a:cubicBezTo>
                  <a:pt x="1249604" y="461392"/>
                  <a:pt x="1247540" y="465520"/>
                  <a:pt x="1240317" y="469648"/>
                </a:cubicBezTo>
                <a:cubicBezTo>
                  <a:pt x="1205230" y="487191"/>
                  <a:pt x="1171176" y="506282"/>
                  <a:pt x="1135573" y="522277"/>
                </a:cubicBezTo>
                <a:cubicBezTo>
                  <a:pt x="1111838" y="533113"/>
                  <a:pt x="1084492" y="533629"/>
                  <a:pt x="1059209" y="539821"/>
                </a:cubicBezTo>
                <a:cubicBezTo>
                  <a:pt x="1053017" y="541369"/>
                  <a:pt x="1046309" y="542401"/>
                  <a:pt x="1040117" y="543433"/>
                </a:cubicBezTo>
                <a:cubicBezTo>
                  <a:pt x="1015866" y="548592"/>
                  <a:pt x="1014318" y="548592"/>
                  <a:pt x="1017930" y="572843"/>
                </a:cubicBezTo>
                <a:cubicBezTo>
                  <a:pt x="1024122" y="611541"/>
                  <a:pt x="1021542" y="649724"/>
                  <a:pt x="1016383" y="688422"/>
                </a:cubicBezTo>
                <a:cubicBezTo>
                  <a:pt x="1014835" y="699258"/>
                  <a:pt x="1019478" y="701837"/>
                  <a:pt x="1028250" y="703386"/>
                </a:cubicBezTo>
                <a:cubicBezTo>
                  <a:pt x="1058177" y="709061"/>
                  <a:pt x="1088103" y="715253"/>
                  <a:pt x="1118030" y="720929"/>
                </a:cubicBezTo>
                <a:cubicBezTo>
                  <a:pt x="1126802" y="722477"/>
                  <a:pt x="1134541" y="725572"/>
                  <a:pt x="1142281" y="729184"/>
                </a:cubicBezTo>
                <a:cubicBezTo>
                  <a:pt x="1173756" y="745696"/>
                  <a:pt x="1205746" y="762207"/>
                  <a:pt x="1237737" y="777686"/>
                </a:cubicBezTo>
                <a:cubicBezTo>
                  <a:pt x="1247024" y="782330"/>
                  <a:pt x="1249604" y="786974"/>
                  <a:pt x="1246508" y="797809"/>
                </a:cubicBezTo>
                <a:cubicBezTo>
                  <a:pt x="1231545" y="847859"/>
                  <a:pt x="1211422" y="895329"/>
                  <a:pt x="1186655" y="941767"/>
                </a:cubicBezTo>
                <a:cubicBezTo>
                  <a:pt x="1182011" y="950539"/>
                  <a:pt x="1177368" y="953634"/>
                  <a:pt x="1167564" y="950023"/>
                </a:cubicBezTo>
                <a:cubicBezTo>
                  <a:pt x="1132477" y="938155"/>
                  <a:pt x="1097391" y="926804"/>
                  <a:pt x="1062304" y="915452"/>
                </a:cubicBezTo>
                <a:cubicBezTo>
                  <a:pt x="1055081" y="913388"/>
                  <a:pt x="1048889" y="909776"/>
                  <a:pt x="1042697" y="905649"/>
                </a:cubicBezTo>
                <a:cubicBezTo>
                  <a:pt x="1016383" y="888106"/>
                  <a:pt x="989552" y="870562"/>
                  <a:pt x="963237" y="852503"/>
                </a:cubicBezTo>
                <a:cubicBezTo>
                  <a:pt x="956529" y="847859"/>
                  <a:pt x="952401" y="848375"/>
                  <a:pt x="947241" y="855083"/>
                </a:cubicBezTo>
                <a:cubicBezTo>
                  <a:pt x="921443" y="890169"/>
                  <a:pt x="891000" y="921128"/>
                  <a:pt x="855914" y="946927"/>
                </a:cubicBezTo>
                <a:cubicBezTo>
                  <a:pt x="847658" y="953119"/>
                  <a:pt x="848174" y="958278"/>
                  <a:pt x="853850" y="966018"/>
                </a:cubicBezTo>
                <a:cubicBezTo>
                  <a:pt x="866749" y="984077"/>
                  <a:pt x="877584" y="1002652"/>
                  <a:pt x="890484" y="1020711"/>
                </a:cubicBezTo>
                <a:cubicBezTo>
                  <a:pt x="906479" y="1042899"/>
                  <a:pt x="917831" y="1067149"/>
                  <a:pt x="925054" y="1093464"/>
                </a:cubicBezTo>
                <a:cubicBezTo>
                  <a:pt x="932278" y="1119263"/>
                  <a:pt x="941050" y="1144030"/>
                  <a:pt x="949821" y="1169313"/>
                </a:cubicBezTo>
                <a:cubicBezTo>
                  <a:pt x="952401" y="1177053"/>
                  <a:pt x="950853" y="1181696"/>
                  <a:pt x="943114" y="1185824"/>
                </a:cubicBezTo>
                <a:cubicBezTo>
                  <a:pt x="895644" y="1211623"/>
                  <a:pt x="846110" y="1232262"/>
                  <a:pt x="794512" y="1247226"/>
                </a:cubicBezTo>
                <a:cubicBezTo>
                  <a:pt x="786773" y="1249290"/>
                  <a:pt x="782645" y="1248258"/>
                  <a:pt x="779033" y="1241034"/>
                </a:cubicBezTo>
                <a:cubicBezTo>
                  <a:pt x="760974" y="1205432"/>
                  <a:pt x="742399" y="1169829"/>
                  <a:pt x="724855" y="1134226"/>
                </a:cubicBezTo>
                <a:cubicBezTo>
                  <a:pt x="720211" y="1125455"/>
                  <a:pt x="720211" y="1115136"/>
                  <a:pt x="718148" y="1105332"/>
                </a:cubicBezTo>
                <a:cubicBezTo>
                  <a:pt x="712988" y="1080565"/>
                  <a:pt x="708344" y="1055798"/>
                  <a:pt x="703184" y="1031031"/>
                </a:cubicBezTo>
                <a:cubicBezTo>
                  <a:pt x="700604" y="1015552"/>
                  <a:pt x="701120" y="1015552"/>
                  <a:pt x="686157" y="1016068"/>
                </a:cubicBezTo>
                <a:close/>
                <a:moveTo>
                  <a:pt x="624240" y="791102"/>
                </a:moveTo>
                <a:cubicBezTo>
                  <a:pt x="720211" y="788522"/>
                  <a:pt x="791416" y="716801"/>
                  <a:pt x="790900" y="623925"/>
                </a:cubicBezTo>
                <a:cubicBezTo>
                  <a:pt x="790384" y="528985"/>
                  <a:pt x="717632" y="457780"/>
                  <a:pt x="624240" y="458296"/>
                </a:cubicBezTo>
                <a:cubicBezTo>
                  <a:pt x="530332" y="458296"/>
                  <a:pt x="458095" y="530533"/>
                  <a:pt x="458095" y="624441"/>
                </a:cubicBezTo>
                <a:cubicBezTo>
                  <a:pt x="458095" y="718349"/>
                  <a:pt x="530848" y="788522"/>
                  <a:pt x="624240" y="791102"/>
                </a:cubicBezTo>
                <a:close/>
              </a:path>
            </a:pathLst>
          </a:custGeom>
          <a:solidFill>
            <a:schemeClr val="bg1">
              <a:alpha val="5000"/>
            </a:schemeClr>
          </a:solidFill>
          <a:ln w="51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009AE0-84D1-46BD-A3D1-DE1CB19D32ED}"/>
              </a:ext>
            </a:extLst>
          </p:cNvPr>
          <p:cNvGrpSpPr/>
          <p:nvPr/>
        </p:nvGrpSpPr>
        <p:grpSpPr>
          <a:xfrm rot="1212279">
            <a:off x="4087175" y="247501"/>
            <a:ext cx="3054679" cy="1218879"/>
            <a:chOff x="1727363" y="3556278"/>
            <a:chExt cx="3054679" cy="1218879"/>
          </a:xfrm>
          <a:solidFill>
            <a:schemeClr val="bg1">
              <a:alpha val="5000"/>
            </a:schemeClr>
          </a:solidFill>
        </p:grpSpPr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F247D2D1-6005-4632-809B-6B5BDCD4F2E1}"/>
                </a:ext>
              </a:extLst>
            </p:cNvPr>
            <p:cNvSpPr/>
            <p:nvPr/>
          </p:nvSpPr>
          <p:spPr>
            <a:xfrm>
              <a:off x="2753518" y="3683131"/>
              <a:ext cx="796648" cy="799367"/>
            </a:xfrm>
            <a:custGeom>
              <a:avLst/>
              <a:gdLst>
                <a:gd name="connsiteX0" fmla="*/ 817500 w 1511813"/>
                <a:gd name="connsiteY0" fmla="*/ 1518710 h 1516973"/>
                <a:gd name="connsiteX1" fmla="*/ 802537 w 1511813"/>
                <a:gd name="connsiteY1" fmla="*/ 1507875 h 1516973"/>
                <a:gd name="connsiteX2" fmla="*/ 780866 w 1511813"/>
                <a:gd name="connsiteY2" fmla="*/ 1442862 h 1516973"/>
                <a:gd name="connsiteX3" fmla="*/ 776738 w 1511813"/>
                <a:gd name="connsiteY3" fmla="*/ 1385072 h 1516973"/>
                <a:gd name="connsiteX4" fmla="*/ 760227 w 1511813"/>
                <a:gd name="connsiteY4" fmla="*/ 1369593 h 1516973"/>
                <a:gd name="connsiteX5" fmla="*/ 694698 w 1511813"/>
                <a:gd name="connsiteY5" fmla="*/ 1366497 h 1516973"/>
                <a:gd name="connsiteX6" fmla="*/ 676638 w 1511813"/>
                <a:gd name="connsiteY6" fmla="*/ 1379912 h 1516973"/>
                <a:gd name="connsiteX7" fmla="*/ 637940 w 1511813"/>
                <a:gd name="connsiteY7" fmla="*/ 1501683 h 1516973"/>
                <a:gd name="connsiteX8" fmla="*/ 622977 w 1511813"/>
                <a:gd name="connsiteY8" fmla="*/ 1508907 h 1516973"/>
                <a:gd name="connsiteX9" fmla="*/ 430517 w 1511813"/>
                <a:gd name="connsiteY9" fmla="*/ 1447505 h 1516973"/>
                <a:gd name="connsiteX10" fmla="*/ 422262 w 1511813"/>
                <a:gd name="connsiteY10" fmla="*/ 1431510 h 1516973"/>
                <a:gd name="connsiteX11" fmla="*/ 435677 w 1511813"/>
                <a:gd name="connsiteY11" fmla="*/ 1364433 h 1516973"/>
                <a:gd name="connsiteX12" fmla="*/ 461992 w 1511813"/>
                <a:gd name="connsiteY12" fmla="*/ 1310255 h 1516973"/>
                <a:gd name="connsiteX13" fmla="*/ 456316 w 1511813"/>
                <a:gd name="connsiteY13" fmla="*/ 1290132 h 1516973"/>
                <a:gd name="connsiteX14" fmla="*/ 395431 w 1511813"/>
                <a:gd name="connsiteY14" fmla="*/ 1251434 h 1516973"/>
                <a:gd name="connsiteX15" fmla="*/ 378919 w 1511813"/>
                <a:gd name="connsiteY15" fmla="*/ 1254014 h 1516973"/>
                <a:gd name="connsiteX16" fmla="*/ 283464 w 1511813"/>
                <a:gd name="connsiteY16" fmla="*/ 1342246 h 1516973"/>
                <a:gd name="connsiteX17" fmla="*/ 265920 w 1511813"/>
                <a:gd name="connsiteY17" fmla="*/ 1341214 h 1516973"/>
                <a:gd name="connsiteX18" fmla="*/ 130218 w 1511813"/>
                <a:gd name="connsiteY18" fmla="*/ 1191580 h 1516973"/>
                <a:gd name="connsiteX19" fmla="*/ 130734 w 1511813"/>
                <a:gd name="connsiteY19" fmla="*/ 1174553 h 1516973"/>
                <a:gd name="connsiteX20" fmla="*/ 177688 w 1511813"/>
                <a:gd name="connsiteY20" fmla="*/ 1121408 h 1516973"/>
                <a:gd name="connsiteX21" fmla="*/ 225674 w 1511813"/>
                <a:gd name="connsiteY21" fmla="*/ 1089417 h 1516973"/>
                <a:gd name="connsiteX22" fmla="*/ 230834 w 1511813"/>
                <a:gd name="connsiteY22" fmla="*/ 1067230 h 1516973"/>
                <a:gd name="connsiteX23" fmla="*/ 198327 w 1511813"/>
                <a:gd name="connsiteY23" fmla="*/ 1004281 h 1516973"/>
                <a:gd name="connsiteX24" fmla="*/ 183880 w 1511813"/>
                <a:gd name="connsiteY24" fmla="*/ 998089 h 1516973"/>
                <a:gd name="connsiteX25" fmla="*/ 67269 w 1511813"/>
                <a:gd name="connsiteY25" fmla="*/ 1025952 h 1516973"/>
                <a:gd name="connsiteX26" fmla="*/ 55918 w 1511813"/>
                <a:gd name="connsiteY26" fmla="*/ 1027500 h 1516973"/>
                <a:gd name="connsiteX27" fmla="*/ 41470 w 1511813"/>
                <a:gd name="connsiteY27" fmla="*/ 1018212 h 1516973"/>
                <a:gd name="connsiteX28" fmla="*/ 1224 w 1511813"/>
                <a:gd name="connsiteY28" fmla="*/ 841748 h 1516973"/>
                <a:gd name="connsiteX29" fmla="*/ 30635 w 1511813"/>
                <a:gd name="connsiteY29" fmla="*/ 797374 h 1516973"/>
                <a:gd name="connsiteX30" fmla="*/ 134862 w 1511813"/>
                <a:gd name="connsiteY30" fmla="*/ 778799 h 1516973"/>
                <a:gd name="connsiteX31" fmla="*/ 147246 w 1511813"/>
                <a:gd name="connsiteY31" fmla="*/ 765899 h 1516973"/>
                <a:gd name="connsiteX32" fmla="*/ 150342 w 1511813"/>
                <a:gd name="connsiteY32" fmla="*/ 696242 h 1516973"/>
                <a:gd name="connsiteX33" fmla="*/ 137442 w 1511813"/>
                <a:gd name="connsiteY33" fmla="*/ 678699 h 1516973"/>
                <a:gd name="connsiteX34" fmla="*/ 14639 w 1511813"/>
                <a:gd name="connsiteY34" fmla="*/ 639485 h 1516973"/>
                <a:gd name="connsiteX35" fmla="*/ 7932 w 1511813"/>
                <a:gd name="connsiteY35" fmla="*/ 625037 h 1516973"/>
                <a:gd name="connsiteX36" fmla="*/ 69333 w 1511813"/>
                <a:gd name="connsiteY36" fmla="*/ 432578 h 1516973"/>
                <a:gd name="connsiteX37" fmla="*/ 86360 w 1511813"/>
                <a:gd name="connsiteY37" fmla="*/ 423806 h 1516973"/>
                <a:gd name="connsiteX38" fmla="*/ 150858 w 1511813"/>
                <a:gd name="connsiteY38" fmla="*/ 436706 h 1516973"/>
                <a:gd name="connsiteX39" fmla="*/ 206583 w 1511813"/>
                <a:gd name="connsiteY39" fmla="*/ 463536 h 1516973"/>
                <a:gd name="connsiteX40" fmla="*/ 227738 w 1511813"/>
                <a:gd name="connsiteY40" fmla="*/ 457345 h 1516973"/>
                <a:gd name="connsiteX41" fmla="*/ 266952 w 1511813"/>
                <a:gd name="connsiteY41" fmla="*/ 396459 h 1516973"/>
                <a:gd name="connsiteX42" fmla="*/ 264373 w 1511813"/>
                <a:gd name="connsiteY42" fmla="*/ 380980 h 1516973"/>
                <a:gd name="connsiteX43" fmla="*/ 175108 w 1511813"/>
                <a:gd name="connsiteY43" fmla="*/ 284492 h 1516973"/>
                <a:gd name="connsiteX44" fmla="*/ 176140 w 1511813"/>
                <a:gd name="connsiteY44" fmla="*/ 267981 h 1516973"/>
                <a:gd name="connsiteX45" fmla="*/ 325258 w 1511813"/>
                <a:gd name="connsiteY45" fmla="*/ 132279 h 1516973"/>
                <a:gd name="connsiteX46" fmla="*/ 343317 w 1511813"/>
                <a:gd name="connsiteY46" fmla="*/ 132795 h 1516973"/>
                <a:gd name="connsiteX47" fmla="*/ 395431 w 1511813"/>
                <a:gd name="connsiteY47" fmla="*/ 178717 h 1516973"/>
                <a:gd name="connsiteX48" fmla="*/ 426389 w 1511813"/>
                <a:gd name="connsiteY48" fmla="*/ 224639 h 1516973"/>
                <a:gd name="connsiteX49" fmla="*/ 451156 w 1511813"/>
                <a:gd name="connsiteY49" fmla="*/ 231347 h 1516973"/>
                <a:gd name="connsiteX50" fmla="*/ 512042 w 1511813"/>
                <a:gd name="connsiteY50" fmla="*/ 200388 h 1516973"/>
                <a:gd name="connsiteX51" fmla="*/ 518233 w 1511813"/>
                <a:gd name="connsiteY51" fmla="*/ 183877 h 1516973"/>
                <a:gd name="connsiteX52" fmla="*/ 491403 w 1511813"/>
                <a:gd name="connsiteY52" fmla="*/ 69846 h 1516973"/>
                <a:gd name="connsiteX53" fmla="*/ 489855 w 1511813"/>
                <a:gd name="connsiteY53" fmla="*/ 58494 h 1516973"/>
                <a:gd name="connsiteX54" fmla="*/ 499658 w 1511813"/>
                <a:gd name="connsiteY54" fmla="*/ 43015 h 1516973"/>
                <a:gd name="connsiteX55" fmla="*/ 695730 w 1511813"/>
                <a:gd name="connsiteY55" fmla="*/ 189 h 1516973"/>
                <a:gd name="connsiteX56" fmla="*/ 713273 w 1511813"/>
                <a:gd name="connsiteY56" fmla="*/ 12056 h 1516973"/>
                <a:gd name="connsiteX57" fmla="*/ 721012 w 1511813"/>
                <a:gd name="connsiteY57" fmla="*/ 35275 h 1516973"/>
                <a:gd name="connsiteX58" fmla="*/ 738556 w 1511813"/>
                <a:gd name="connsiteY58" fmla="*/ 134343 h 1516973"/>
                <a:gd name="connsiteX59" fmla="*/ 753519 w 1511813"/>
                <a:gd name="connsiteY59" fmla="*/ 148790 h 1516973"/>
                <a:gd name="connsiteX60" fmla="*/ 820596 w 1511813"/>
                <a:gd name="connsiteY60" fmla="*/ 151886 h 1516973"/>
                <a:gd name="connsiteX61" fmla="*/ 838655 w 1511813"/>
                <a:gd name="connsiteY61" fmla="*/ 138471 h 1516973"/>
                <a:gd name="connsiteX62" fmla="*/ 877354 w 1511813"/>
                <a:gd name="connsiteY62" fmla="*/ 16700 h 1516973"/>
                <a:gd name="connsiteX63" fmla="*/ 892317 w 1511813"/>
                <a:gd name="connsiteY63" fmla="*/ 9476 h 1516973"/>
                <a:gd name="connsiteX64" fmla="*/ 1084777 w 1511813"/>
                <a:gd name="connsiteY64" fmla="*/ 70878 h 1516973"/>
                <a:gd name="connsiteX65" fmla="*/ 1093032 w 1511813"/>
                <a:gd name="connsiteY65" fmla="*/ 86873 h 1516973"/>
                <a:gd name="connsiteX66" fmla="*/ 1079617 w 1511813"/>
                <a:gd name="connsiteY66" fmla="*/ 152402 h 1516973"/>
                <a:gd name="connsiteX67" fmla="*/ 1053302 w 1511813"/>
                <a:gd name="connsiteY67" fmla="*/ 206580 h 1516973"/>
                <a:gd name="connsiteX68" fmla="*/ 1060010 w 1511813"/>
                <a:gd name="connsiteY68" fmla="*/ 228251 h 1516973"/>
                <a:gd name="connsiteX69" fmla="*/ 1118315 w 1511813"/>
                <a:gd name="connsiteY69" fmla="*/ 265917 h 1516973"/>
                <a:gd name="connsiteX70" fmla="*/ 1136374 w 1511813"/>
                <a:gd name="connsiteY70" fmla="*/ 262821 h 1516973"/>
                <a:gd name="connsiteX71" fmla="*/ 1232346 w 1511813"/>
                <a:gd name="connsiteY71" fmla="*/ 174589 h 1516973"/>
                <a:gd name="connsiteX72" fmla="*/ 1247825 w 1511813"/>
                <a:gd name="connsiteY72" fmla="*/ 175621 h 1516973"/>
                <a:gd name="connsiteX73" fmla="*/ 1384559 w 1511813"/>
                <a:gd name="connsiteY73" fmla="*/ 325770 h 1516973"/>
                <a:gd name="connsiteX74" fmla="*/ 1384043 w 1511813"/>
                <a:gd name="connsiteY74" fmla="*/ 342798 h 1516973"/>
                <a:gd name="connsiteX75" fmla="*/ 1336057 w 1511813"/>
                <a:gd name="connsiteY75" fmla="*/ 396975 h 1516973"/>
                <a:gd name="connsiteX76" fmla="*/ 1291167 w 1511813"/>
                <a:gd name="connsiteY76" fmla="*/ 426902 h 1516973"/>
                <a:gd name="connsiteX77" fmla="*/ 1284976 w 1511813"/>
                <a:gd name="connsiteY77" fmla="*/ 451153 h 1516973"/>
                <a:gd name="connsiteX78" fmla="*/ 1316450 w 1511813"/>
                <a:gd name="connsiteY78" fmla="*/ 513070 h 1516973"/>
                <a:gd name="connsiteX79" fmla="*/ 1330898 w 1511813"/>
                <a:gd name="connsiteY79" fmla="*/ 519262 h 1516973"/>
                <a:gd name="connsiteX80" fmla="*/ 1447509 w 1511813"/>
                <a:gd name="connsiteY80" fmla="*/ 491399 h 1516973"/>
                <a:gd name="connsiteX81" fmla="*/ 1458860 w 1511813"/>
                <a:gd name="connsiteY81" fmla="*/ 489851 h 1516973"/>
                <a:gd name="connsiteX82" fmla="*/ 1473307 w 1511813"/>
                <a:gd name="connsiteY82" fmla="*/ 499139 h 1516973"/>
                <a:gd name="connsiteX83" fmla="*/ 1513554 w 1511813"/>
                <a:gd name="connsiteY83" fmla="*/ 675603 h 1516973"/>
                <a:gd name="connsiteX84" fmla="*/ 1514070 w 1511813"/>
                <a:gd name="connsiteY84" fmla="*/ 679215 h 1516973"/>
                <a:gd name="connsiteX85" fmla="*/ 1490335 w 1511813"/>
                <a:gd name="connsiteY85" fmla="*/ 717397 h 1516973"/>
                <a:gd name="connsiteX86" fmla="*/ 1379916 w 1511813"/>
                <a:gd name="connsiteY86" fmla="*/ 738036 h 1516973"/>
                <a:gd name="connsiteX87" fmla="*/ 1367532 w 1511813"/>
                <a:gd name="connsiteY87" fmla="*/ 749904 h 1516973"/>
                <a:gd name="connsiteX88" fmla="*/ 1363920 w 1511813"/>
                <a:gd name="connsiteY88" fmla="*/ 822141 h 1516973"/>
                <a:gd name="connsiteX89" fmla="*/ 1375788 w 1511813"/>
                <a:gd name="connsiteY89" fmla="*/ 838136 h 1516973"/>
                <a:gd name="connsiteX90" fmla="*/ 1498590 w 1511813"/>
                <a:gd name="connsiteY90" fmla="*/ 876834 h 1516973"/>
                <a:gd name="connsiteX91" fmla="*/ 1506330 w 1511813"/>
                <a:gd name="connsiteY91" fmla="*/ 891798 h 1516973"/>
                <a:gd name="connsiteX92" fmla="*/ 1444413 w 1511813"/>
                <a:gd name="connsiteY92" fmla="*/ 1085289 h 1516973"/>
                <a:gd name="connsiteX93" fmla="*/ 1429449 w 1511813"/>
                <a:gd name="connsiteY93" fmla="*/ 1093029 h 1516973"/>
                <a:gd name="connsiteX94" fmla="*/ 1306647 w 1511813"/>
                <a:gd name="connsiteY94" fmla="*/ 1052783 h 1516973"/>
                <a:gd name="connsiteX95" fmla="*/ 1287556 w 1511813"/>
                <a:gd name="connsiteY95" fmla="*/ 1057942 h 1516973"/>
                <a:gd name="connsiteX96" fmla="*/ 1248857 w 1511813"/>
                <a:gd name="connsiteY96" fmla="*/ 1118828 h 1516973"/>
                <a:gd name="connsiteX97" fmla="*/ 1250405 w 1511813"/>
                <a:gd name="connsiteY97" fmla="*/ 1135339 h 1516973"/>
                <a:gd name="connsiteX98" fmla="*/ 1339153 w 1511813"/>
                <a:gd name="connsiteY98" fmla="*/ 1230795 h 1516973"/>
                <a:gd name="connsiteX99" fmla="*/ 1337605 w 1511813"/>
                <a:gd name="connsiteY99" fmla="*/ 1249370 h 1516973"/>
                <a:gd name="connsiteX100" fmla="*/ 1189004 w 1511813"/>
                <a:gd name="connsiteY100" fmla="*/ 1384040 h 1516973"/>
                <a:gd name="connsiteX101" fmla="*/ 1170945 w 1511813"/>
                <a:gd name="connsiteY101" fmla="*/ 1383524 h 1516973"/>
                <a:gd name="connsiteX102" fmla="*/ 1118831 w 1511813"/>
                <a:gd name="connsiteY102" fmla="*/ 1337602 h 1516973"/>
                <a:gd name="connsiteX103" fmla="*/ 1086840 w 1511813"/>
                <a:gd name="connsiteY103" fmla="*/ 1289616 h 1516973"/>
                <a:gd name="connsiteX104" fmla="*/ 1064137 w 1511813"/>
                <a:gd name="connsiteY104" fmla="*/ 1284456 h 1516973"/>
                <a:gd name="connsiteX105" fmla="*/ 1002220 w 1511813"/>
                <a:gd name="connsiteY105" fmla="*/ 1316447 h 1516973"/>
                <a:gd name="connsiteX106" fmla="*/ 996028 w 1511813"/>
                <a:gd name="connsiteY106" fmla="*/ 1332958 h 1516973"/>
                <a:gd name="connsiteX107" fmla="*/ 1022859 w 1511813"/>
                <a:gd name="connsiteY107" fmla="*/ 1446989 h 1516973"/>
                <a:gd name="connsiteX108" fmla="*/ 1024407 w 1511813"/>
                <a:gd name="connsiteY108" fmla="*/ 1459889 h 1516973"/>
                <a:gd name="connsiteX109" fmla="*/ 1015636 w 1511813"/>
                <a:gd name="connsiteY109" fmla="*/ 1473304 h 1516973"/>
                <a:gd name="connsiteX110" fmla="*/ 817500 w 1511813"/>
                <a:gd name="connsiteY110" fmla="*/ 1518710 h 1516973"/>
                <a:gd name="connsiteX111" fmla="*/ 758163 w 1511813"/>
                <a:gd name="connsiteY111" fmla="*/ 1148238 h 1516973"/>
                <a:gd name="connsiteX112" fmla="*/ 1145146 w 1511813"/>
                <a:gd name="connsiteY112" fmla="*/ 758675 h 1516973"/>
                <a:gd name="connsiteX113" fmla="*/ 757131 w 1511813"/>
                <a:gd name="connsiteY113" fmla="*/ 371176 h 1516973"/>
                <a:gd name="connsiteX114" fmla="*/ 368600 w 1511813"/>
                <a:gd name="connsiteY114" fmla="*/ 759707 h 1516973"/>
                <a:gd name="connsiteX115" fmla="*/ 758163 w 1511813"/>
                <a:gd name="connsiteY115" fmla="*/ 1148238 h 1516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</a:cxnLst>
              <a:rect l="l" t="t" r="r" b="b"/>
              <a:pathLst>
                <a:path w="1511813" h="1516973">
                  <a:moveTo>
                    <a:pt x="817500" y="1518710"/>
                  </a:moveTo>
                  <a:cubicBezTo>
                    <a:pt x="809245" y="1520774"/>
                    <a:pt x="805633" y="1516130"/>
                    <a:pt x="802537" y="1507875"/>
                  </a:cubicBezTo>
                  <a:cubicBezTo>
                    <a:pt x="795829" y="1486204"/>
                    <a:pt x="788090" y="1464532"/>
                    <a:pt x="780866" y="1442862"/>
                  </a:cubicBezTo>
                  <a:cubicBezTo>
                    <a:pt x="774674" y="1424286"/>
                    <a:pt x="777770" y="1404679"/>
                    <a:pt x="776738" y="1385072"/>
                  </a:cubicBezTo>
                  <a:cubicBezTo>
                    <a:pt x="776222" y="1369593"/>
                    <a:pt x="775706" y="1370109"/>
                    <a:pt x="760227" y="1369593"/>
                  </a:cubicBezTo>
                  <a:cubicBezTo>
                    <a:pt x="738556" y="1369593"/>
                    <a:pt x="716369" y="1368045"/>
                    <a:pt x="694698" y="1366497"/>
                  </a:cubicBezTo>
                  <a:cubicBezTo>
                    <a:pt x="683346" y="1365465"/>
                    <a:pt x="676638" y="1365981"/>
                    <a:pt x="676638" y="1379912"/>
                  </a:cubicBezTo>
                  <a:cubicBezTo>
                    <a:pt x="676638" y="1424286"/>
                    <a:pt x="655483" y="1462469"/>
                    <a:pt x="637940" y="1501683"/>
                  </a:cubicBezTo>
                  <a:cubicBezTo>
                    <a:pt x="634844" y="1508907"/>
                    <a:pt x="630716" y="1510454"/>
                    <a:pt x="622977" y="1508907"/>
                  </a:cubicBezTo>
                  <a:cubicBezTo>
                    <a:pt x="556416" y="1496523"/>
                    <a:pt x="492434" y="1475368"/>
                    <a:pt x="430517" y="1447505"/>
                  </a:cubicBezTo>
                  <a:cubicBezTo>
                    <a:pt x="423294" y="1443893"/>
                    <a:pt x="420198" y="1440282"/>
                    <a:pt x="422262" y="1431510"/>
                  </a:cubicBezTo>
                  <a:cubicBezTo>
                    <a:pt x="427421" y="1409323"/>
                    <a:pt x="431033" y="1386620"/>
                    <a:pt x="435677" y="1364433"/>
                  </a:cubicBezTo>
                  <a:cubicBezTo>
                    <a:pt x="439805" y="1344310"/>
                    <a:pt x="452704" y="1327798"/>
                    <a:pt x="461992" y="1310255"/>
                  </a:cubicBezTo>
                  <a:cubicBezTo>
                    <a:pt x="467152" y="1300452"/>
                    <a:pt x="466120" y="1295808"/>
                    <a:pt x="456316" y="1290132"/>
                  </a:cubicBezTo>
                  <a:cubicBezTo>
                    <a:pt x="435677" y="1278265"/>
                    <a:pt x="415554" y="1264849"/>
                    <a:pt x="395431" y="1251434"/>
                  </a:cubicBezTo>
                  <a:cubicBezTo>
                    <a:pt x="388207" y="1246274"/>
                    <a:pt x="383563" y="1246274"/>
                    <a:pt x="378919" y="1254014"/>
                  </a:cubicBezTo>
                  <a:cubicBezTo>
                    <a:pt x="356216" y="1293228"/>
                    <a:pt x="319066" y="1317479"/>
                    <a:pt x="283464" y="1342246"/>
                  </a:cubicBezTo>
                  <a:cubicBezTo>
                    <a:pt x="276240" y="1346890"/>
                    <a:pt x="272112" y="1346374"/>
                    <a:pt x="265920" y="1341214"/>
                  </a:cubicBezTo>
                  <a:cubicBezTo>
                    <a:pt x="214323" y="1297356"/>
                    <a:pt x="169433" y="1246790"/>
                    <a:pt x="130218" y="1191580"/>
                  </a:cubicBezTo>
                  <a:cubicBezTo>
                    <a:pt x="125575" y="1185389"/>
                    <a:pt x="125059" y="1180745"/>
                    <a:pt x="130734" y="1174553"/>
                  </a:cubicBezTo>
                  <a:cubicBezTo>
                    <a:pt x="146730" y="1157010"/>
                    <a:pt x="161177" y="1138435"/>
                    <a:pt x="177688" y="1121408"/>
                  </a:cubicBezTo>
                  <a:cubicBezTo>
                    <a:pt x="191104" y="1107476"/>
                    <a:pt x="209163" y="1099221"/>
                    <a:pt x="225674" y="1089417"/>
                  </a:cubicBezTo>
                  <a:cubicBezTo>
                    <a:pt x="236510" y="1083225"/>
                    <a:pt x="237026" y="1078065"/>
                    <a:pt x="230834" y="1067230"/>
                  </a:cubicBezTo>
                  <a:cubicBezTo>
                    <a:pt x="218967" y="1047107"/>
                    <a:pt x="208647" y="1025436"/>
                    <a:pt x="198327" y="1004281"/>
                  </a:cubicBezTo>
                  <a:cubicBezTo>
                    <a:pt x="194716" y="997057"/>
                    <a:pt x="192136" y="993445"/>
                    <a:pt x="183880" y="998089"/>
                  </a:cubicBezTo>
                  <a:cubicBezTo>
                    <a:pt x="147246" y="1017180"/>
                    <a:pt x="108031" y="1024920"/>
                    <a:pt x="67269" y="1025952"/>
                  </a:cubicBezTo>
                  <a:cubicBezTo>
                    <a:pt x="63657" y="1025952"/>
                    <a:pt x="59529" y="1026984"/>
                    <a:pt x="55918" y="1027500"/>
                  </a:cubicBezTo>
                  <a:cubicBezTo>
                    <a:pt x="48694" y="1028532"/>
                    <a:pt x="44050" y="1025952"/>
                    <a:pt x="41470" y="1018212"/>
                  </a:cubicBezTo>
                  <a:cubicBezTo>
                    <a:pt x="21347" y="960939"/>
                    <a:pt x="6384" y="902117"/>
                    <a:pt x="1224" y="841748"/>
                  </a:cubicBezTo>
                  <a:cubicBezTo>
                    <a:pt x="-1872" y="808725"/>
                    <a:pt x="-1356" y="809241"/>
                    <a:pt x="30635" y="797374"/>
                  </a:cubicBezTo>
                  <a:cubicBezTo>
                    <a:pt x="64173" y="784474"/>
                    <a:pt x="98744" y="775703"/>
                    <a:pt x="134862" y="778799"/>
                  </a:cubicBezTo>
                  <a:cubicBezTo>
                    <a:pt x="144150" y="779315"/>
                    <a:pt x="147246" y="775187"/>
                    <a:pt x="147246" y="765899"/>
                  </a:cubicBezTo>
                  <a:cubicBezTo>
                    <a:pt x="147246" y="742680"/>
                    <a:pt x="148278" y="719461"/>
                    <a:pt x="150342" y="696242"/>
                  </a:cubicBezTo>
                  <a:cubicBezTo>
                    <a:pt x="151373" y="685923"/>
                    <a:pt x="150858" y="678699"/>
                    <a:pt x="137442" y="678699"/>
                  </a:cubicBezTo>
                  <a:cubicBezTo>
                    <a:pt x="92552" y="678699"/>
                    <a:pt x="53854" y="657544"/>
                    <a:pt x="14639" y="639485"/>
                  </a:cubicBezTo>
                  <a:cubicBezTo>
                    <a:pt x="7932" y="636389"/>
                    <a:pt x="6384" y="632261"/>
                    <a:pt x="7932" y="625037"/>
                  </a:cubicBezTo>
                  <a:cubicBezTo>
                    <a:pt x="20315" y="558476"/>
                    <a:pt x="40954" y="494495"/>
                    <a:pt x="69333" y="432578"/>
                  </a:cubicBezTo>
                  <a:cubicBezTo>
                    <a:pt x="72945" y="424838"/>
                    <a:pt x="77073" y="421742"/>
                    <a:pt x="86360" y="423806"/>
                  </a:cubicBezTo>
                  <a:cubicBezTo>
                    <a:pt x="107515" y="428450"/>
                    <a:pt x="129186" y="432578"/>
                    <a:pt x="150858" y="436706"/>
                  </a:cubicBezTo>
                  <a:cubicBezTo>
                    <a:pt x="171497" y="440833"/>
                    <a:pt x="188008" y="453733"/>
                    <a:pt x="206583" y="463536"/>
                  </a:cubicBezTo>
                  <a:cubicBezTo>
                    <a:pt x="216903" y="468696"/>
                    <a:pt x="221546" y="467664"/>
                    <a:pt x="227738" y="457345"/>
                  </a:cubicBezTo>
                  <a:cubicBezTo>
                    <a:pt x="239606" y="436706"/>
                    <a:pt x="253021" y="416582"/>
                    <a:pt x="266952" y="396459"/>
                  </a:cubicBezTo>
                  <a:cubicBezTo>
                    <a:pt x="271596" y="389752"/>
                    <a:pt x="271596" y="385108"/>
                    <a:pt x="264373" y="380980"/>
                  </a:cubicBezTo>
                  <a:cubicBezTo>
                    <a:pt x="225158" y="357761"/>
                    <a:pt x="200391" y="320611"/>
                    <a:pt x="175108" y="284492"/>
                  </a:cubicBezTo>
                  <a:cubicBezTo>
                    <a:pt x="170465" y="277785"/>
                    <a:pt x="170981" y="273657"/>
                    <a:pt x="176140" y="267981"/>
                  </a:cubicBezTo>
                  <a:cubicBezTo>
                    <a:pt x="219998" y="216383"/>
                    <a:pt x="270048" y="171493"/>
                    <a:pt x="325258" y="132279"/>
                  </a:cubicBezTo>
                  <a:cubicBezTo>
                    <a:pt x="331966" y="127635"/>
                    <a:pt x="336609" y="126603"/>
                    <a:pt x="343317" y="132795"/>
                  </a:cubicBezTo>
                  <a:cubicBezTo>
                    <a:pt x="360344" y="148274"/>
                    <a:pt x="378404" y="162722"/>
                    <a:pt x="395431" y="178717"/>
                  </a:cubicBezTo>
                  <a:cubicBezTo>
                    <a:pt x="409362" y="191616"/>
                    <a:pt x="416070" y="209160"/>
                    <a:pt x="426389" y="224639"/>
                  </a:cubicBezTo>
                  <a:cubicBezTo>
                    <a:pt x="437741" y="241666"/>
                    <a:pt x="435161" y="240634"/>
                    <a:pt x="451156" y="231347"/>
                  </a:cubicBezTo>
                  <a:cubicBezTo>
                    <a:pt x="470763" y="219995"/>
                    <a:pt x="491403" y="209676"/>
                    <a:pt x="512042" y="200388"/>
                  </a:cubicBezTo>
                  <a:cubicBezTo>
                    <a:pt x="521329" y="196260"/>
                    <a:pt x="522361" y="192132"/>
                    <a:pt x="518233" y="183877"/>
                  </a:cubicBezTo>
                  <a:cubicBezTo>
                    <a:pt x="499142" y="148274"/>
                    <a:pt x="492434" y="109576"/>
                    <a:pt x="491403" y="69846"/>
                  </a:cubicBezTo>
                  <a:cubicBezTo>
                    <a:pt x="491403" y="66234"/>
                    <a:pt x="490371" y="62106"/>
                    <a:pt x="489855" y="58494"/>
                  </a:cubicBezTo>
                  <a:cubicBezTo>
                    <a:pt x="488307" y="50239"/>
                    <a:pt x="491403" y="46111"/>
                    <a:pt x="499658" y="43015"/>
                  </a:cubicBezTo>
                  <a:cubicBezTo>
                    <a:pt x="563123" y="20312"/>
                    <a:pt x="628653" y="6380"/>
                    <a:pt x="695730" y="189"/>
                  </a:cubicBezTo>
                  <a:cubicBezTo>
                    <a:pt x="706049" y="-843"/>
                    <a:pt x="710693" y="2253"/>
                    <a:pt x="713273" y="12056"/>
                  </a:cubicBezTo>
                  <a:cubicBezTo>
                    <a:pt x="715337" y="19796"/>
                    <a:pt x="717917" y="27536"/>
                    <a:pt x="721012" y="35275"/>
                  </a:cubicBezTo>
                  <a:cubicBezTo>
                    <a:pt x="734428" y="67266"/>
                    <a:pt x="741136" y="99772"/>
                    <a:pt x="738556" y="134343"/>
                  </a:cubicBezTo>
                  <a:cubicBezTo>
                    <a:pt x="737524" y="145694"/>
                    <a:pt x="742168" y="148790"/>
                    <a:pt x="753519" y="148790"/>
                  </a:cubicBezTo>
                  <a:cubicBezTo>
                    <a:pt x="775706" y="148274"/>
                    <a:pt x="797893" y="149822"/>
                    <a:pt x="820596" y="151886"/>
                  </a:cubicBezTo>
                  <a:cubicBezTo>
                    <a:pt x="831948" y="152918"/>
                    <a:pt x="838655" y="152402"/>
                    <a:pt x="838655" y="138471"/>
                  </a:cubicBezTo>
                  <a:cubicBezTo>
                    <a:pt x="838655" y="94097"/>
                    <a:pt x="859810" y="55914"/>
                    <a:pt x="877354" y="16700"/>
                  </a:cubicBezTo>
                  <a:cubicBezTo>
                    <a:pt x="880449" y="9476"/>
                    <a:pt x="885093" y="7928"/>
                    <a:pt x="892317" y="9476"/>
                  </a:cubicBezTo>
                  <a:cubicBezTo>
                    <a:pt x="958878" y="21860"/>
                    <a:pt x="1022859" y="42499"/>
                    <a:pt x="1084777" y="70878"/>
                  </a:cubicBezTo>
                  <a:cubicBezTo>
                    <a:pt x="1092000" y="74489"/>
                    <a:pt x="1095096" y="78617"/>
                    <a:pt x="1093032" y="86873"/>
                  </a:cubicBezTo>
                  <a:cubicBezTo>
                    <a:pt x="1088388" y="108544"/>
                    <a:pt x="1084261" y="130731"/>
                    <a:pt x="1079617" y="152402"/>
                  </a:cubicBezTo>
                  <a:cubicBezTo>
                    <a:pt x="1075489" y="172525"/>
                    <a:pt x="1062590" y="189036"/>
                    <a:pt x="1053302" y="206580"/>
                  </a:cubicBezTo>
                  <a:cubicBezTo>
                    <a:pt x="1047626" y="217415"/>
                    <a:pt x="1048658" y="222575"/>
                    <a:pt x="1060010" y="228251"/>
                  </a:cubicBezTo>
                  <a:cubicBezTo>
                    <a:pt x="1080133" y="239602"/>
                    <a:pt x="1099740" y="252502"/>
                    <a:pt x="1118315" y="265917"/>
                  </a:cubicBezTo>
                  <a:cubicBezTo>
                    <a:pt x="1126571" y="272109"/>
                    <a:pt x="1131214" y="271593"/>
                    <a:pt x="1136374" y="262821"/>
                  </a:cubicBezTo>
                  <a:cubicBezTo>
                    <a:pt x="1159077" y="223607"/>
                    <a:pt x="1196744" y="199872"/>
                    <a:pt x="1232346" y="174589"/>
                  </a:cubicBezTo>
                  <a:cubicBezTo>
                    <a:pt x="1238538" y="170461"/>
                    <a:pt x="1242666" y="170977"/>
                    <a:pt x="1247825" y="175621"/>
                  </a:cubicBezTo>
                  <a:cubicBezTo>
                    <a:pt x="1299939" y="219995"/>
                    <a:pt x="1345345" y="270045"/>
                    <a:pt x="1384559" y="325770"/>
                  </a:cubicBezTo>
                  <a:cubicBezTo>
                    <a:pt x="1389203" y="331962"/>
                    <a:pt x="1389719" y="336606"/>
                    <a:pt x="1384043" y="342798"/>
                  </a:cubicBezTo>
                  <a:cubicBezTo>
                    <a:pt x="1368048" y="360857"/>
                    <a:pt x="1352569" y="379432"/>
                    <a:pt x="1336057" y="396975"/>
                  </a:cubicBezTo>
                  <a:cubicBezTo>
                    <a:pt x="1323674" y="409875"/>
                    <a:pt x="1306131" y="417098"/>
                    <a:pt x="1291167" y="426902"/>
                  </a:cubicBezTo>
                  <a:cubicBezTo>
                    <a:pt x="1276720" y="436706"/>
                    <a:pt x="1276720" y="436190"/>
                    <a:pt x="1284976" y="451153"/>
                  </a:cubicBezTo>
                  <a:cubicBezTo>
                    <a:pt x="1295811" y="471792"/>
                    <a:pt x="1306647" y="492431"/>
                    <a:pt x="1316450" y="513070"/>
                  </a:cubicBezTo>
                  <a:cubicBezTo>
                    <a:pt x="1320062" y="520294"/>
                    <a:pt x="1323158" y="523390"/>
                    <a:pt x="1330898" y="519262"/>
                  </a:cubicBezTo>
                  <a:cubicBezTo>
                    <a:pt x="1367532" y="500171"/>
                    <a:pt x="1406746" y="492431"/>
                    <a:pt x="1447509" y="491399"/>
                  </a:cubicBezTo>
                  <a:cubicBezTo>
                    <a:pt x="1451120" y="491399"/>
                    <a:pt x="1455248" y="490367"/>
                    <a:pt x="1458860" y="489851"/>
                  </a:cubicBezTo>
                  <a:cubicBezTo>
                    <a:pt x="1466600" y="488819"/>
                    <a:pt x="1470728" y="491399"/>
                    <a:pt x="1473307" y="499139"/>
                  </a:cubicBezTo>
                  <a:cubicBezTo>
                    <a:pt x="1493431" y="556412"/>
                    <a:pt x="1508394" y="615234"/>
                    <a:pt x="1513554" y="675603"/>
                  </a:cubicBezTo>
                  <a:cubicBezTo>
                    <a:pt x="1513554" y="676635"/>
                    <a:pt x="1513554" y="678183"/>
                    <a:pt x="1514070" y="679215"/>
                  </a:cubicBezTo>
                  <a:cubicBezTo>
                    <a:pt x="1518713" y="714301"/>
                    <a:pt x="1519745" y="706046"/>
                    <a:pt x="1490335" y="717397"/>
                  </a:cubicBezTo>
                  <a:cubicBezTo>
                    <a:pt x="1454732" y="730813"/>
                    <a:pt x="1418614" y="741648"/>
                    <a:pt x="1379916" y="738036"/>
                  </a:cubicBezTo>
                  <a:cubicBezTo>
                    <a:pt x="1371144" y="737004"/>
                    <a:pt x="1368048" y="740616"/>
                    <a:pt x="1367532" y="749904"/>
                  </a:cubicBezTo>
                  <a:cubicBezTo>
                    <a:pt x="1367016" y="774155"/>
                    <a:pt x="1365984" y="797890"/>
                    <a:pt x="1363920" y="822141"/>
                  </a:cubicBezTo>
                  <a:cubicBezTo>
                    <a:pt x="1363404" y="831944"/>
                    <a:pt x="1363920" y="838136"/>
                    <a:pt x="1375788" y="838136"/>
                  </a:cubicBezTo>
                  <a:cubicBezTo>
                    <a:pt x="1420678" y="838136"/>
                    <a:pt x="1459376" y="858775"/>
                    <a:pt x="1498590" y="876834"/>
                  </a:cubicBezTo>
                  <a:cubicBezTo>
                    <a:pt x="1505298" y="879930"/>
                    <a:pt x="1507878" y="883542"/>
                    <a:pt x="1506330" y="891798"/>
                  </a:cubicBezTo>
                  <a:cubicBezTo>
                    <a:pt x="1493947" y="958875"/>
                    <a:pt x="1472791" y="1023372"/>
                    <a:pt x="1444413" y="1085289"/>
                  </a:cubicBezTo>
                  <a:cubicBezTo>
                    <a:pt x="1441317" y="1092513"/>
                    <a:pt x="1437189" y="1094577"/>
                    <a:pt x="1429449" y="1093029"/>
                  </a:cubicBezTo>
                  <a:cubicBezTo>
                    <a:pt x="1386623" y="1085289"/>
                    <a:pt x="1343797" y="1078581"/>
                    <a:pt x="1306647" y="1052783"/>
                  </a:cubicBezTo>
                  <a:cubicBezTo>
                    <a:pt x="1297875" y="1046591"/>
                    <a:pt x="1293231" y="1048655"/>
                    <a:pt x="1287556" y="1057942"/>
                  </a:cubicBezTo>
                  <a:cubicBezTo>
                    <a:pt x="1275688" y="1078581"/>
                    <a:pt x="1262273" y="1098705"/>
                    <a:pt x="1248857" y="1118828"/>
                  </a:cubicBezTo>
                  <a:cubicBezTo>
                    <a:pt x="1244214" y="1125535"/>
                    <a:pt x="1242150" y="1130179"/>
                    <a:pt x="1250405" y="1135339"/>
                  </a:cubicBezTo>
                  <a:cubicBezTo>
                    <a:pt x="1289620" y="1158558"/>
                    <a:pt x="1313871" y="1194676"/>
                    <a:pt x="1339153" y="1230795"/>
                  </a:cubicBezTo>
                  <a:cubicBezTo>
                    <a:pt x="1344313" y="1238018"/>
                    <a:pt x="1343797" y="1242662"/>
                    <a:pt x="1337605" y="1249370"/>
                  </a:cubicBezTo>
                  <a:cubicBezTo>
                    <a:pt x="1293747" y="1300968"/>
                    <a:pt x="1244214" y="1345342"/>
                    <a:pt x="1189004" y="1384040"/>
                  </a:cubicBezTo>
                  <a:cubicBezTo>
                    <a:pt x="1182296" y="1388684"/>
                    <a:pt x="1177652" y="1389716"/>
                    <a:pt x="1170945" y="1383524"/>
                  </a:cubicBezTo>
                  <a:cubicBezTo>
                    <a:pt x="1153918" y="1368045"/>
                    <a:pt x="1135858" y="1353597"/>
                    <a:pt x="1118831" y="1337602"/>
                  </a:cubicBezTo>
                  <a:cubicBezTo>
                    <a:pt x="1104384" y="1324187"/>
                    <a:pt x="1096644" y="1306128"/>
                    <a:pt x="1086840" y="1289616"/>
                  </a:cubicBezTo>
                  <a:cubicBezTo>
                    <a:pt x="1080133" y="1278265"/>
                    <a:pt x="1074973" y="1277749"/>
                    <a:pt x="1064137" y="1284456"/>
                  </a:cubicBezTo>
                  <a:cubicBezTo>
                    <a:pt x="1044530" y="1296324"/>
                    <a:pt x="1023375" y="1306643"/>
                    <a:pt x="1002220" y="1316447"/>
                  </a:cubicBezTo>
                  <a:cubicBezTo>
                    <a:pt x="993449" y="1320575"/>
                    <a:pt x="991385" y="1324703"/>
                    <a:pt x="996028" y="1332958"/>
                  </a:cubicBezTo>
                  <a:cubicBezTo>
                    <a:pt x="1015120" y="1368561"/>
                    <a:pt x="1021827" y="1407259"/>
                    <a:pt x="1022859" y="1446989"/>
                  </a:cubicBezTo>
                  <a:cubicBezTo>
                    <a:pt x="1022859" y="1451117"/>
                    <a:pt x="1023891" y="1455245"/>
                    <a:pt x="1024407" y="1459889"/>
                  </a:cubicBezTo>
                  <a:cubicBezTo>
                    <a:pt x="1025439" y="1466596"/>
                    <a:pt x="1022859" y="1470724"/>
                    <a:pt x="1015636" y="1473304"/>
                  </a:cubicBezTo>
                  <a:cubicBezTo>
                    <a:pt x="970745" y="1493943"/>
                    <a:pt x="870646" y="1516130"/>
                    <a:pt x="817500" y="1518710"/>
                  </a:cubicBezTo>
                  <a:close/>
                  <a:moveTo>
                    <a:pt x="758163" y="1148238"/>
                  </a:moveTo>
                  <a:cubicBezTo>
                    <a:pt x="974357" y="1144627"/>
                    <a:pt x="1145146" y="976418"/>
                    <a:pt x="1145146" y="758675"/>
                  </a:cubicBezTo>
                  <a:cubicBezTo>
                    <a:pt x="1145146" y="542481"/>
                    <a:pt x="974357" y="371176"/>
                    <a:pt x="757131" y="371176"/>
                  </a:cubicBezTo>
                  <a:cubicBezTo>
                    <a:pt x="539904" y="371176"/>
                    <a:pt x="368600" y="542481"/>
                    <a:pt x="368600" y="759707"/>
                  </a:cubicBezTo>
                  <a:cubicBezTo>
                    <a:pt x="369116" y="977966"/>
                    <a:pt x="541452" y="1145659"/>
                    <a:pt x="758163" y="1148238"/>
                  </a:cubicBezTo>
                  <a:close/>
                </a:path>
              </a:pathLst>
            </a:custGeom>
            <a:grpFill/>
            <a:ln w="51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BC69DB4C-B2EA-4392-B4A3-EE775C7B812F}"/>
                </a:ext>
              </a:extLst>
            </p:cNvPr>
            <p:cNvGrpSpPr/>
            <p:nvPr/>
          </p:nvGrpSpPr>
          <p:grpSpPr>
            <a:xfrm>
              <a:off x="3563163" y="3556278"/>
              <a:ext cx="1218879" cy="1218879"/>
              <a:chOff x="3264582" y="1870309"/>
              <a:chExt cx="1774962" cy="1774962"/>
            </a:xfrm>
            <a:grpFill/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45A57558-A521-4754-B376-50F1CEB743F4}"/>
                  </a:ext>
                </a:extLst>
              </p:cNvPr>
              <p:cNvSpPr/>
              <p:nvPr/>
            </p:nvSpPr>
            <p:spPr>
              <a:xfrm>
                <a:off x="3264582" y="1870309"/>
                <a:ext cx="1774962" cy="1774962"/>
              </a:xfrm>
              <a:custGeom>
                <a:avLst/>
                <a:gdLst>
                  <a:gd name="connsiteX0" fmla="*/ 894776 w 1774962"/>
                  <a:gd name="connsiteY0" fmla="*/ 1775736 h 1774962"/>
                  <a:gd name="connsiteX1" fmla="*/ 852466 w 1774962"/>
                  <a:gd name="connsiteY1" fmla="*/ 1775736 h 1774962"/>
                  <a:gd name="connsiteX2" fmla="*/ 839567 w 1774962"/>
                  <a:gd name="connsiteY2" fmla="*/ 1764901 h 1774962"/>
                  <a:gd name="connsiteX3" fmla="*/ 819960 w 1774962"/>
                  <a:gd name="connsiteY3" fmla="*/ 1666349 h 1774962"/>
                  <a:gd name="connsiteX4" fmla="*/ 822024 w 1774962"/>
                  <a:gd name="connsiteY4" fmla="*/ 1636938 h 1774962"/>
                  <a:gd name="connsiteX5" fmla="*/ 811704 w 1774962"/>
                  <a:gd name="connsiteY5" fmla="*/ 1623523 h 1774962"/>
                  <a:gd name="connsiteX6" fmla="*/ 695093 w 1774962"/>
                  <a:gd name="connsiteY6" fmla="*/ 1601852 h 1774962"/>
                  <a:gd name="connsiteX7" fmla="*/ 680130 w 1774962"/>
                  <a:gd name="connsiteY7" fmla="*/ 1610623 h 1774962"/>
                  <a:gd name="connsiteX8" fmla="*/ 615116 w 1774962"/>
                  <a:gd name="connsiteY8" fmla="*/ 1727234 h 1774962"/>
                  <a:gd name="connsiteX9" fmla="*/ 603765 w 1774962"/>
                  <a:gd name="connsiteY9" fmla="*/ 1730330 h 1774962"/>
                  <a:gd name="connsiteX10" fmla="*/ 512953 w 1774962"/>
                  <a:gd name="connsiteY10" fmla="*/ 1694212 h 1774962"/>
                  <a:gd name="connsiteX11" fmla="*/ 507277 w 1774962"/>
                  <a:gd name="connsiteY11" fmla="*/ 1681828 h 1774962"/>
                  <a:gd name="connsiteX12" fmla="*/ 527400 w 1774962"/>
                  <a:gd name="connsiteY12" fmla="*/ 1583277 h 1774962"/>
                  <a:gd name="connsiteX13" fmla="*/ 541848 w 1774962"/>
                  <a:gd name="connsiteY13" fmla="*/ 1552834 h 1774962"/>
                  <a:gd name="connsiteX14" fmla="*/ 537720 w 1774962"/>
                  <a:gd name="connsiteY14" fmla="*/ 1539418 h 1774962"/>
                  <a:gd name="connsiteX15" fmla="*/ 435041 w 1774962"/>
                  <a:gd name="connsiteY15" fmla="*/ 1472857 h 1774962"/>
                  <a:gd name="connsiteX16" fmla="*/ 420593 w 1774962"/>
                  <a:gd name="connsiteY16" fmla="*/ 1474921 h 1774962"/>
                  <a:gd name="connsiteX17" fmla="*/ 315334 w 1774962"/>
                  <a:gd name="connsiteY17" fmla="*/ 1559026 h 1774962"/>
                  <a:gd name="connsiteX18" fmla="*/ 302950 w 1774962"/>
                  <a:gd name="connsiteY18" fmla="*/ 1557478 h 1774962"/>
                  <a:gd name="connsiteX19" fmla="*/ 233809 w 1774962"/>
                  <a:gd name="connsiteY19" fmla="*/ 1490401 h 1774962"/>
                  <a:gd name="connsiteX20" fmla="*/ 232777 w 1774962"/>
                  <a:gd name="connsiteY20" fmla="*/ 1476985 h 1774962"/>
                  <a:gd name="connsiteX21" fmla="*/ 289019 w 1774962"/>
                  <a:gd name="connsiteY21" fmla="*/ 1393397 h 1774962"/>
                  <a:gd name="connsiteX22" fmla="*/ 312754 w 1774962"/>
                  <a:gd name="connsiteY22" fmla="*/ 1371726 h 1774962"/>
                  <a:gd name="connsiteX23" fmla="*/ 314818 w 1774962"/>
                  <a:gd name="connsiteY23" fmla="*/ 1355731 h 1774962"/>
                  <a:gd name="connsiteX24" fmla="*/ 246193 w 1774962"/>
                  <a:gd name="connsiteY24" fmla="*/ 1255631 h 1774962"/>
                  <a:gd name="connsiteX25" fmla="*/ 230713 w 1774962"/>
                  <a:gd name="connsiteY25" fmla="*/ 1253051 h 1774962"/>
                  <a:gd name="connsiteX26" fmla="*/ 102751 w 1774962"/>
                  <a:gd name="connsiteY26" fmla="*/ 1289685 h 1774962"/>
                  <a:gd name="connsiteX27" fmla="*/ 91916 w 1774962"/>
                  <a:gd name="connsiteY27" fmla="*/ 1282978 h 1774962"/>
                  <a:gd name="connsiteX28" fmla="*/ 53733 w 1774962"/>
                  <a:gd name="connsiteY28" fmla="*/ 1194230 h 1774962"/>
                  <a:gd name="connsiteX29" fmla="*/ 58377 w 1774962"/>
                  <a:gd name="connsiteY29" fmla="*/ 1181330 h 1774962"/>
                  <a:gd name="connsiteX30" fmla="*/ 142481 w 1774962"/>
                  <a:gd name="connsiteY30" fmla="*/ 1125605 h 1774962"/>
                  <a:gd name="connsiteX31" fmla="*/ 173956 w 1774962"/>
                  <a:gd name="connsiteY31" fmla="*/ 1114253 h 1774962"/>
                  <a:gd name="connsiteX32" fmla="*/ 180664 w 1774962"/>
                  <a:gd name="connsiteY32" fmla="*/ 1101870 h 1774962"/>
                  <a:gd name="connsiteX33" fmla="*/ 154865 w 1774962"/>
                  <a:gd name="connsiteY33" fmla="*/ 981131 h 1774962"/>
                  <a:gd name="connsiteX34" fmla="*/ 144029 w 1774962"/>
                  <a:gd name="connsiteY34" fmla="*/ 973391 h 1774962"/>
                  <a:gd name="connsiteX35" fmla="*/ 10391 w 1774962"/>
                  <a:gd name="connsiteY35" fmla="*/ 958428 h 1774962"/>
                  <a:gd name="connsiteX36" fmla="*/ 2135 w 1774962"/>
                  <a:gd name="connsiteY36" fmla="*/ 948624 h 1774962"/>
                  <a:gd name="connsiteX37" fmla="*/ 588 w 1774962"/>
                  <a:gd name="connsiteY37" fmla="*/ 850589 h 1774962"/>
                  <a:gd name="connsiteX38" fmla="*/ 10391 w 1774962"/>
                  <a:gd name="connsiteY38" fmla="*/ 840785 h 1774962"/>
                  <a:gd name="connsiteX39" fmla="*/ 110491 w 1774962"/>
                  <a:gd name="connsiteY39" fmla="*/ 820662 h 1774962"/>
                  <a:gd name="connsiteX40" fmla="*/ 139901 w 1774962"/>
                  <a:gd name="connsiteY40" fmla="*/ 822726 h 1774962"/>
                  <a:gd name="connsiteX41" fmla="*/ 153317 w 1774962"/>
                  <a:gd name="connsiteY41" fmla="*/ 811890 h 1774962"/>
                  <a:gd name="connsiteX42" fmla="*/ 174472 w 1774962"/>
                  <a:gd name="connsiteY42" fmla="*/ 696827 h 1774962"/>
                  <a:gd name="connsiteX43" fmla="*/ 164152 w 1774962"/>
                  <a:gd name="connsiteY43" fmla="*/ 680316 h 1774962"/>
                  <a:gd name="connsiteX44" fmla="*/ 49090 w 1774962"/>
                  <a:gd name="connsiteY44" fmla="*/ 615819 h 1774962"/>
                  <a:gd name="connsiteX45" fmla="*/ 45993 w 1774962"/>
                  <a:gd name="connsiteY45" fmla="*/ 606015 h 1774962"/>
                  <a:gd name="connsiteX46" fmla="*/ 82628 w 1774962"/>
                  <a:gd name="connsiteY46" fmla="*/ 513655 h 1774962"/>
                  <a:gd name="connsiteX47" fmla="*/ 93979 w 1774962"/>
                  <a:gd name="connsiteY47" fmla="*/ 508496 h 1774962"/>
                  <a:gd name="connsiteX48" fmla="*/ 224006 w 1774962"/>
                  <a:gd name="connsiteY48" fmla="*/ 543066 h 1774962"/>
                  <a:gd name="connsiteX49" fmla="*/ 236905 w 1774962"/>
                  <a:gd name="connsiteY49" fmla="*/ 538938 h 1774962"/>
                  <a:gd name="connsiteX50" fmla="*/ 302434 w 1774962"/>
                  <a:gd name="connsiteY50" fmla="*/ 437291 h 1774962"/>
                  <a:gd name="connsiteX51" fmla="*/ 302950 w 1774962"/>
                  <a:gd name="connsiteY51" fmla="*/ 423359 h 1774962"/>
                  <a:gd name="connsiteX52" fmla="*/ 238453 w 1774962"/>
                  <a:gd name="connsiteY52" fmla="*/ 346995 h 1774962"/>
                  <a:gd name="connsiteX53" fmla="*/ 228650 w 1774962"/>
                  <a:gd name="connsiteY53" fmla="*/ 333063 h 1774962"/>
                  <a:gd name="connsiteX54" fmla="*/ 230713 w 1774962"/>
                  <a:gd name="connsiteY54" fmla="*/ 290237 h 1774962"/>
                  <a:gd name="connsiteX55" fmla="*/ 283859 w 1774962"/>
                  <a:gd name="connsiteY55" fmla="*/ 236060 h 1774962"/>
                  <a:gd name="connsiteX56" fmla="*/ 300370 w 1774962"/>
                  <a:gd name="connsiteY56" fmla="*/ 234512 h 1774962"/>
                  <a:gd name="connsiteX57" fmla="*/ 380863 w 1774962"/>
                  <a:gd name="connsiteY57" fmla="*/ 288173 h 1774962"/>
                  <a:gd name="connsiteX58" fmla="*/ 403050 w 1774962"/>
                  <a:gd name="connsiteY58" fmla="*/ 311392 h 1774962"/>
                  <a:gd name="connsiteX59" fmla="*/ 422141 w 1774962"/>
                  <a:gd name="connsiteY59" fmla="*/ 313972 h 1774962"/>
                  <a:gd name="connsiteX60" fmla="*/ 519661 w 1774962"/>
                  <a:gd name="connsiteY60" fmla="*/ 246895 h 1774962"/>
                  <a:gd name="connsiteX61" fmla="*/ 524820 w 1774962"/>
                  <a:gd name="connsiteY61" fmla="*/ 233996 h 1774962"/>
                  <a:gd name="connsiteX62" fmla="*/ 492314 w 1774962"/>
                  <a:gd name="connsiteY62" fmla="*/ 127704 h 1774962"/>
                  <a:gd name="connsiteX63" fmla="*/ 514501 w 1774962"/>
                  <a:gd name="connsiteY63" fmla="*/ 82298 h 1774962"/>
                  <a:gd name="connsiteX64" fmla="*/ 578482 w 1774962"/>
                  <a:gd name="connsiteY64" fmla="*/ 55468 h 1774962"/>
                  <a:gd name="connsiteX65" fmla="*/ 595509 w 1774962"/>
                  <a:gd name="connsiteY65" fmla="*/ 60111 h 1774962"/>
                  <a:gd name="connsiteX66" fmla="*/ 648655 w 1774962"/>
                  <a:gd name="connsiteY66" fmla="*/ 139572 h 1774962"/>
                  <a:gd name="connsiteX67" fmla="*/ 661039 w 1774962"/>
                  <a:gd name="connsiteY67" fmla="*/ 172078 h 1774962"/>
                  <a:gd name="connsiteX68" fmla="*/ 675486 w 1774962"/>
                  <a:gd name="connsiteY68" fmla="*/ 180334 h 1774962"/>
                  <a:gd name="connsiteX69" fmla="*/ 792613 w 1774962"/>
                  <a:gd name="connsiteY69" fmla="*/ 155567 h 1774962"/>
                  <a:gd name="connsiteX70" fmla="*/ 801900 w 1774962"/>
                  <a:gd name="connsiteY70" fmla="*/ 143700 h 1774962"/>
                  <a:gd name="connsiteX71" fmla="*/ 816864 w 1774962"/>
                  <a:gd name="connsiteY71" fmla="*/ 11094 h 1774962"/>
                  <a:gd name="connsiteX72" fmla="*/ 826151 w 1774962"/>
                  <a:gd name="connsiteY72" fmla="*/ 2322 h 1774962"/>
                  <a:gd name="connsiteX73" fmla="*/ 925219 w 1774962"/>
                  <a:gd name="connsiteY73" fmla="*/ 774 h 1774962"/>
                  <a:gd name="connsiteX74" fmla="*/ 934507 w 1774962"/>
                  <a:gd name="connsiteY74" fmla="*/ 10062 h 1774962"/>
                  <a:gd name="connsiteX75" fmla="*/ 954114 w 1774962"/>
                  <a:gd name="connsiteY75" fmla="*/ 111193 h 1774962"/>
                  <a:gd name="connsiteX76" fmla="*/ 952050 w 1774962"/>
                  <a:gd name="connsiteY76" fmla="*/ 140604 h 1774962"/>
                  <a:gd name="connsiteX77" fmla="*/ 962369 w 1774962"/>
                  <a:gd name="connsiteY77" fmla="*/ 152987 h 1774962"/>
                  <a:gd name="connsiteX78" fmla="*/ 1078980 w 1774962"/>
                  <a:gd name="connsiteY78" fmla="*/ 174658 h 1774962"/>
                  <a:gd name="connsiteX79" fmla="*/ 1093428 w 1774962"/>
                  <a:gd name="connsiteY79" fmla="*/ 168467 h 1774962"/>
                  <a:gd name="connsiteX80" fmla="*/ 1147089 w 1774962"/>
                  <a:gd name="connsiteY80" fmla="*/ 69399 h 1774962"/>
                  <a:gd name="connsiteX81" fmla="*/ 1192495 w 1774962"/>
                  <a:gd name="connsiteY81" fmla="*/ 54436 h 1774962"/>
                  <a:gd name="connsiteX82" fmla="*/ 1258024 w 1774962"/>
                  <a:gd name="connsiteY82" fmla="*/ 81266 h 1774962"/>
                  <a:gd name="connsiteX83" fmla="*/ 1267312 w 1774962"/>
                  <a:gd name="connsiteY83" fmla="*/ 96746 h 1774962"/>
                  <a:gd name="connsiteX84" fmla="*/ 1247705 w 1774962"/>
                  <a:gd name="connsiteY84" fmla="*/ 192718 h 1774962"/>
                  <a:gd name="connsiteX85" fmla="*/ 1233258 w 1774962"/>
                  <a:gd name="connsiteY85" fmla="*/ 224192 h 1774962"/>
                  <a:gd name="connsiteX86" fmla="*/ 1237385 w 1774962"/>
                  <a:gd name="connsiteY86" fmla="*/ 237608 h 1774962"/>
                  <a:gd name="connsiteX87" fmla="*/ 1340065 w 1774962"/>
                  <a:gd name="connsiteY87" fmla="*/ 304169 h 1774962"/>
                  <a:gd name="connsiteX88" fmla="*/ 1354512 w 1774962"/>
                  <a:gd name="connsiteY88" fmla="*/ 302621 h 1774962"/>
                  <a:gd name="connsiteX89" fmla="*/ 1459771 w 1774962"/>
                  <a:gd name="connsiteY89" fmla="*/ 218516 h 1774962"/>
                  <a:gd name="connsiteX90" fmla="*/ 1472155 w 1774962"/>
                  <a:gd name="connsiteY90" fmla="*/ 220064 h 1774962"/>
                  <a:gd name="connsiteX91" fmla="*/ 1541296 w 1774962"/>
                  <a:gd name="connsiteY91" fmla="*/ 287657 h 1774962"/>
                  <a:gd name="connsiteX92" fmla="*/ 1542328 w 1774962"/>
                  <a:gd name="connsiteY92" fmla="*/ 301073 h 1774962"/>
                  <a:gd name="connsiteX93" fmla="*/ 1485570 w 1774962"/>
                  <a:gd name="connsiteY93" fmla="*/ 385693 h 1774962"/>
                  <a:gd name="connsiteX94" fmla="*/ 1462868 w 1774962"/>
                  <a:gd name="connsiteY94" fmla="*/ 406332 h 1774962"/>
                  <a:gd name="connsiteX95" fmla="*/ 1460803 w 1774962"/>
                  <a:gd name="connsiteY95" fmla="*/ 422327 h 1774962"/>
                  <a:gd name="connsiteX96" fmla="*/ 1529428 w 1774962"/>
                  <a:gd name="connsiteY96" fmla="*/ 522427 h 1774962"/>
                  <a:gd name="connsiteX97" fmla="*/ 1544908 w 1774962"/>
                  <a:gd name="connsiteY97" fmla="*/ 525007 h 1774962"/>
                  <a:gd name="connsiteX98" fmla="*/ 1672870 w 1774962"/>
                  <a:gd name="connsiteY98" fmla="*/ 488373 h 1774962"/>
                  <a:gd name="connsiteX99" fmla="*/ 1683706 w 1774962"/>
                  <a:gd name="connsiteY99" fmla="*/ 495080 h 1774962"/>
                  <a:gd name="connsiteX100" fmla="*/ 1721888 w 1774962"/>
                  <a:gd name="connsiteY100" fmla="*/ 583828 h 1774962"/>
                  <a:gd name="connsiteX101" fmla="*/ 1717244 w 1774962"/>
                  <a:gd name="connsiteY101" fmla="*/ 596728 h 1774962"/>
                  <a:gd name="connsiteX102" fmla="*/ 1633140 w 1774962"/>
                  <a:gd name="connsiteY102" fmla="*/ 652453 h 1774962"/>
                  <a:gd name="connsiteX103" fmla="*/ 1601665 w 1774962"/>
                  <a:gd name="connsiteY103" fmla="*/ 663805 h 1774962"/>
                  <a:gd name="connsiteX104" fmla="*/ 1594958 w 1774962"/>
                  <a:gd name="connsiteY104" fmla="*/ 676188 h 1774962"/>
                  <a:gd name="connsiteX105" fmla="*/ 1620241 w 1774962"/>
                  <a:gd name="connsiteY105" fmla="*/ 795895 h 1774962"/>
                  <a:gd name="connsiteX106" fmla="*/ 1631076 w 1774962"/>
                  <a:gd name="connsiteY106" fmla="*/ 804667 h 1774962"/>
                  <a:gd name="connsiteX107" fmla="*/ 1763682 w 1774962"/>
                  <a:gd name="connsiteY107" fmla="*/ 819630 h 1774962"/>
                  <a:gd name="connsiteX108" fmla="*/ 1773486 w 1774962"/>
                  <a:gd name="connsiteY108" fmla="*/ 829950 h 1774962"/>
                  <a:gd name="connsiteX109" fmla="*/ 1775034 w 1774962"/>
                  <a:gd name="connsiteY109" fmla="*/ 927985 h 1774962"/>
                  <a:gd name="connsiteX110" fmla="*/ 1766262 w 1774962"/>
                  <a:gd name="connsiteY110" fmla="*/ 937273 h 1774962"/>
                  <a:gd name="connsiteX111" fmla="*/ 1663583 w 1774962"/>
                  <a:gd name="connsiteY111" fmla="*/ 957396 h 1774962"/>
                  <a:gd name="connsiteX112" fmla="*/ 1636752 w 1774962"/>
                  <a:gd name="connsiteY112" fmla="*/ 955332 h 1774962"/>
                  <a:gd name="connsiteX113" fmla="*/ 1622304 w 1774962"/>
                  <a:gd name="connsiteY113" fmla="*/ 966684 h 1774962"/>
                  <a:gd name="connsiteX114" fmla="*/ 1601149 w 1774962"/>
                  <a:gd name="connsiteY114" fmla="*/ 1081746 h 1774962"/>
                  <a:gd name="connsiteX115" fmla="*/ 1610437 w 1774962"/>
                  <a:gd name="connsiteY115" fmla="*/ 1097742 h 1774962"/>
                  <a:gd name="connsiteX116" fmla="*/ 1726016 w 1774962"/>
                  <a:gd name="connsiteY116" fmla="*/ 1161723 h 1774962"/>
                  <a:gd name="connsiteX117" fmla="*/ 1729112 w 1774962"/>
                  <a:gd name="connsiteY117" fmla="*/ 1174107 h 1774962"/>
                  <a:gd name="connsiteX118" fmla="*/ 1693509 w 1774962"/>
                  <a:gd name="connsiteY118" fmla="*/ 1263887 h 1774962"/>
                  <a:gd name="connsiteX119" fmla="*/ 1681126 w 1774962"/>
                  <a:gd name="connsiteY119" fmla="*/ 1270078 h 1774962"/>
                  <a:gd name="connsiteX120" fmla="*/ 1581542 w 1774962"/>
                  <a:gd name="connsiteY120" fmla="*/ 1249955 h 1774962"/>
                  <a:gd name="connsiteX121" fmla="*/ 1552647 w 1774962"/>
                  <a:gd name="connsiteY121" fmla="*/ 1236024 h 1774962"/>
                  <a:gd name="connsiteX122" fmla="*/ 1538200 w 1774962"/>
                  <a:gd name="connsiteY122" fmla="*/ 1240152 h 1774962"/>
                  <a:gd name="connsiteX123" fmla="*/ 1473187 w 1774962"/>
                  <a:gd name="connsiteY123" fmla="*/ 1340767 h 1774962"/>
                  <a:gd name="connsiteX124" fmla="*/ 1475251 w 1774962"/>
                  <a:gd name="connsiteY124" fmla="*/ 1358310 h 1774962"/>
                  <a:gd name="connsiteX125" fmla="*/ 1535104 w 1774962"/>
                  <a:gd name="connsiteY125" fmla="*/ 1430031 h 1774962"/>
                  <a:gd name="connsiteX126" fmla="*/ 1545424 w 1774962"/>
                  <a:gd name="connsiteY126" fmla="*/ 1444995 h 1774962"/>
                  <a:gd name="connsiteX127" fmla="*/ 1542844 w 1774962"/>
                  <a:gd name="connsiteY127" fmla="*/ 1489885 h 1774962"/>
                  <a:gd name="connsiteX128" fmla="*/ 1491246 w 1774962"/>
                  <a:gd name="connsiteY128" fmla="*/ 1542514 h 1774962"/>
                  <a:gd name="connsiteX129" fmla="*/ 1472155 w 1774962"/>
                  <a:gd name="connsiteY129" fmla="*/ 1544062 h 1774962"/>
                  <a:gd name="connsiteX130" fmla="*/ 1393726 w 1774962"/>
                  <a:gd name="connsiteY130" fmla="*/ 1491948 h 1774962"/>
                  <a:gd name="connsiteX131" fmla="*/ 1369992 w 1774962"/>
                  <a:gd name="connsiteY131" fmla="*/ 1466666 h 1774962"/>
                  <a:gd name="connsiteX132" fmla="*/ 1352964 w 1774962"/>
                  <a:gd name="connsiteY132" fmla="*/ 1464602 h 1774962"/>
                  <a:gd name="connsiteX133" fmla="*/ 1254413 w 1774962"/>
                  <a:gd name="connsiteY133" fmla="*/ 1532711 h 1774962"/>
                  <a:gd name="connsiteX134" fmla="*/ 1248737 w 1774962"/>
                  <a:gd name="connsiteY134" fmla="*/ 1544578 h 1774962"/>
                  <a:gd name="connsiteX135" fmla="*/ 1284339 w 1774962"/>
                  <a:gd name="connsiteY135" fmla="*/ 1662221 h 1774962"/>
                  <a:gd name="connsiteX136" fmla="*/ 1268860 w 1774962"/>
                  <a:gd name="connsiteY136" fmla="*/ 1693180 h 1774962"/>
                  <a:gd name="connsiteX137" fmla="*/ 1195591 w 1774962"/>
                  <a:gd name="connsiteY137" fmla="*/ 1724654 h 1774962"/>
                  <a:gd name="connsiteX138" fmla="*/ 1178564 w 1774962"/>
                  <a:gd name="connsiteY138" fmla="*/ 1719495 h 1774962"/>
                  <a:gd name="connsiteX139" fmla="*/ 1125418 w 1774962"/>
                  <a:gd name="connsiteY139" fmla="*/ 1640034 h 1774962"/>
                  <a:gd name="connsiteX140" fmla="*/ 1113035 w 1774962"/>
                  <a:gd name="connsiteY140" fmla="*/ 1606496 h 1774962"/>
                  <a:gd name="connsiteX141" fmla="*/ 1099619 w 1774962"/>
                  <a:gd name="connsiteY141" fmla="*/ 1599272 h 1774962"/>
                  <a:gd name="connsiteX142" fmla="*/ 979913 w 1774962"/>
                  <a:gd name="connsiteY142" fmla="*/ 1624555 h 1774962"/>
                  <a:gd name="connsiteX143" fmla="*/ 972173 w 1774962"/>
                  <a:gd name="connsiteY143" fmla="*/ 1634874 h 1774962"/>
                  <a:gd name="connsiteX144" fmla="*/ 957726 w 1774962"/>
                  <a:gd name="connsiteY144" fmla="*/ 1767481 h 1774962"/>
                  <a:gd name="connsiteX145" fmla="*/ 945858 w 1774962"/>
                  <a:gd name="connsiteY145" fmla="*/ 1777800 h 1774962"/>
                  <a:gd name="connsiteX146" fmla="*/ 895808 w 1774962"/>
                  <a:gd name="connsiteY146" fmla="*/ 1779864 h 1774962"/>
                  <a:gd name="connsiteX147" fmla="*/ 894776 w 1774962"/>
                  <a:gd name="connsiteY147" fmla="*/ 1775736 h 1774962"/>
                  <a:gd name="connsiteX148" fmla="*/ 890648 w 1774962"/>
                  <a:gd name="connsiteY148" fmla="*/ 1454798 h 1774962"/>
                  <a:gd name="connsiteX149" fmla="*/ 1452548 w 1774962"/>
                  <a:gd name="connsiteY149" fmla="*/ 884127 h 1774962"/>
                  <a:gd name="connsiteX150" fmla="*/ 881361 w 1774962"/>
                  <a:gd name="connsiteY150" fmla="*/ 322228 h 1774962"/>
                  <a:gd name="connsiteX151" fmla="*/ 320494 w 1774962"/>
                  <a:gd name="connsiteY151" fmla="*/ 893415 h 1774962"/>
                  <a:gd name="connsiteX152" fmla="*/ 890648 w 1774962"/>
                  <a:gd name="connsiteY152" fmla="*/ 1454798 h 1774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</a:cxnLst>
                <a:rect l="l" t="t" r="r" b="b"/>
                <a:pathLst>
                  <a:path w="1774962" h="1774962">
                    <a:moveTo>
                      <a:pt x="894776" y="1775736"/>
                    </a:moveTo>
                    <a:cubicBezTo>
                      <a:pt x="880845" y="1775736"/>
                      <a:pt x="866397" y="1775736"/>
                      <a:pt x="852466" y="1775736"/>
                    </a:cubicBezTo>
                    <a:cubicBezTo>
                      <a:pt x="844726" y="1775736"/>
                      <a:pt x="840599" y="1772640"/>
                      <a:pt x="839567" y="1764901"/>
                    </a:cubicBezTo>
                    <a:cubicBezTo>
                      <a:pt x="833375" y="1731878"/>
                      <a:pt x="826151" y="1699371"/>
                      <a:pt x="819960" y="1666349"/>
                    </a:cubicBezTo>
                    <a:cubicBezTo>
                      <a:pt x="817896" y="1656545"/>
                      <a:pt x="820992" y="1646742"/>
                      <a:pt x="822024" y="1636938"/>
                    </a:cubicBezTo>
                    <a:cubicBezTo>
                      <a:pt x="823056" y="1628682"/>
                      <a:pt x="820992" y="1624555"/>
                      <a:pt x="811704" y="1623523"/>
                    </a:cubicBezTo>
                    <a:cubicBezTo>
                      <a:pt x="772490" y="1619395"/>
                      <a:pt x="733275" y="1612171"/>
                      <a:pt x="695093" y="1601852"/>
                    </a:cubicBezTo>
                    <a:cubicBezTo>
                      <a:pt x="686837" y="1599788"/>
                      <a:pt x="682194" y="1602368"/>
                      <a:pt x="680130" y="1610623"/>
                    </a:cubicBezTo>
                    <a:cubicBezTo>
                      <a:pt x="669294" y="1655513"/>
                      <a:pt x="636788" y="1688020"/>
                      <a:pt x="615116" y="1727234"/>
                    </a:cubicBezTo>
                    <a:cubicBezTo>
                      <a:pt x="612537" y="1731878"/>
                      <a:pt x="608409" y="1731878"/>
                      <a:pt x="603765" y="1730330"/>
                    </a:cubicBezTo>
                    <a:cubicBezTo>
                      <a:pt x="572807" y="1720011"/>
                      <a:pt x="542364" y="1707627"/>
                      <a:pt x="512953" y="1694212"/>
                    </a:cubicBezTo>
                    <a:cubicBezTo>
                      <a:pt x="506761" y="1691632"/>
                      <a:pt x="506245" y="1686988"/>
                      <a:pt x="507277" y="1681828"/>
                    </a:cubicBezTo>
                    <a:cubicBezTo>
                      <a:pt x="513985" y="1648806"/>
                      <a:pt x="519661" y="1615783"/>
                      <a:pt x="527400" y="1583277"/>
                    </a:cubicBezTo>
                    <a:cubicBezTo>
                      <a:pt x="529980" y="1572441"/>
                      <a:pt x="536172" y="1562637"/>
                      <a:pt x="541848" y="1552834"/>
                    </a:cubicBezTo>
                    <a:cubicBezTo>
                      <a:pt x="545460" y="1546642"/>
                      <a:pt x="544428" y="1543030"/>
                      <a:pt x="537720" y="1539418"/>
                    </a:cubicBezTo>
                    <a:cubicBezTo>
                      <a:pt x="501601" y="1520327"/>
                      <a:pt x="467547" y="1497624"/>
                      <a:pt x="435041" y="1472857"/>
                    </a:cubicBezTo>
                    <a:cubicBezTo>
                      <a:pt x="429365" y="1468214"/>
                      <a:pt x="425237" y="1468214"/>
                      <a:pt x="420593" y="1474921"/>
                    </a:cubicBezTo>
                    <a:cubicBezTo>
                      <a:pt x="393762" y="1512588"/>
                      <a:pt x="350936" y="1531163"/>
                      <a:pt x="315334" y="1559026"/>
                    </a:cubicBezTo>
                    <a:cubicBezTo>
                      <a:pt x="310690" y="1562637"/>
                      <a:pt x="307078" y="1561090"/>
                      <a:pt x="302950" y="1557478"/>
                    </a:cubicBezTo>
                    <a:cubicBezTo>
                      <a:pt x="278699" y="1536323"/>
                      <a:pt x="255996" y="1513104"/>
                      <a:pt x="233809" y="1490401"/>
                    </a:cubicBezTo>
                    <a:cubicBezTo>
                      <a:pt x="229682" y="1485757"/>
                      <a:pt x="229165" y="1482145"/>
                      <a:pt x="232777" y="1476985"/>
                    </a:cubicBezTo>
                    <a:cubicBezTo>
                      <a:pt x="251352" y="1449122"/>
                      <a:pt x="269928" y="1421260"/>
                      <a:pt x="289019" y="1393397"/>
                    </a:cubicBezTo>
                    <a:cubicBezTo>
                      <a:pt x="295210" y="1384625"/>
                      <a:pt x="304498" y="1378949"/>
                      <a:pt x="312754" y="1371726"/>
                    </a:cubicBezTo>
                    <a:cubicBezTo>
                      <a:pt x="318946" y="1366566"/>
                      <a:pt x="319978" y="1361922"/>
                      <a:pt x="314818" y="1355731"/>
                    </a:cubicBezTo>
                    <a:cubicBezTo>
                      <a:pt x="289535" y="1324256"/>
                      <a:pt x="266316" y="1291233"/>
                      <a:pt x="246193" y="1255631"/>
                    </a:cubicBezTo>
                    <a:cubicBezTo>
                      <a:pt x="241549" y="1247375"/>
                      <a:pt x="236905" y="1248923"/>
                      <a:pt x="230713" y="1253051"/>
                    </a:cubicBezTo>
                    <a:cubicBezTo>
                      <a:pt x="191499" y="1277302"/>
                      <a:pt x="145577" y="1277818"/>
                      <a:pt x="102751" y="1289685"/>
                    </a:cubicBezTo>
                    <a:cubicBezTo>
                      <a:pt x="97075" y="1291233"/>
                      <a:pt x="93979" y="1288137"/>
                      <a:pt x="91916" y="1282978"/>
                    </a:cubicBezTo>
                    <a:cubicBezTo>
                      <a:pt x="77984" y="1254083"/>
                      <a:pt x="65085" y="1224156"/>
                      <a:pt x="53733" y="1194230"/>
                    </a:cubicBezTo>
                    <a:cubicBezTo>
                      <a:pt x="51669" y="1188038"/>
                      <a:pt x="53217" y="1184426"/>
                      <a:pt x="58377" y="1181330"/>
                    </a:cubicBezTo>
                    <a:cubicBezTo>
                      <a:pt x="86240" y="1162755"/>
                      <a:pt x="113587" y="1143664"/>
                      <a:pt x="142481" y="1125605"/>
                    </a:cubicBezTo>
                    <a:cubicBezTo>
                      <a:pt x="151769" y="1119929"/>
                      <a:pt x="163120" y="1117349"/>
                      <a:pt x="173956" y="1114253"/>
                    </a:cubicBezTo>
                    <a:cubicBezTo>
                      <a:pt x="180664" y="1112189"/>
                      <a:pt x="182727" y="1109093"/>
                      <a:pt x="180664" y="1101870"/>
                    </a:cubicBezTo>
                    <a:cubicBezTo>
                      <a:pt x="168796" y="1062139"/>
                      <a:pt x="160541" y="1021893"/>
                      <a:pt x="154865" y="981131"/>
                    </a:cubicBezTo>
                    <a:cubicBezTo>
                      <a:pt x="153833" y="974423"/>
                      <a:pt x="150737" y="972359"/>
                      <a:pt x="144029" y="973391"/>
                    </a:cubicBezTo>
                    <a:cubicBezTo>
                      <a:pt x="98107" y="981131"/>
                      <a:pt x="54765" y="963588"/>
                      <a:pt x="10391" y="958428"/>
                    </a:cubicBezTo>
                    <a:cubicBezTo>
                      <a:pt x="4715" y="957912"/>
                      <a:pt x="2652" y="954300"/>
                      <a:pt x="2135" y="948624"/>
                    </a:cubicBezTo>
                    <a:cubicBezTo>
                      <a:pt x="-960" y="916118"/>
                      <a:pt x="72" y="883611"/>
                      <a:pt x="588" y="850589"/>
                    </a:cubicBezTo>
                    <a:cubicBezTo>
                      <a:pt x="588" y="844397"/>
                      <a:pt x="4715" y="841817"/>
                      <a:pt x="10391" y="840785"/>
                    </a:cubicBezTo>
                    <a:cubicBezTo>
                      <a:pt x="43930" y="834077"/>
                      <a:pt x="76952" y="827370"/>
                      <a:pt x="110491" y="820662"/>
                    </a:cubicBezTo>
                    <a:cubicBezTo>
                      <a:pt x="120294" y="818598"/>
                      <a:pt x="130098" y="821694"/>
                      <a:pt x="139901" y="822726"/>
                    </a:cubicBezTo>
                    <a:cubicBezTo>
                      <a:pt x="148157" y="823758"/>
                      <a:pt x="152285" y="820662"/>
                      <a:pt x="153317" y="811890"/>
                    </a:cubicBezTo>
                    <a:cubicBezTo>
                      <a:pt x="157445" y="773192"/>
                      <a:pt x="164668" y="734494"/>
                      <a:pt x="174472" y="696827"/>
                    </a:cubicBezTo>
                    <a:cubicBezTo>
                      <a:pt x="177052" y="687024"/>
                      <a:pt x="173440" y="682380"/>
                      <a:pt x="164152" y="680316"/>
                    </a:cubicBezTo>
                    <a:cubicBezTo>
                      <a:pt x="120294" y="668965"/>
                      <a:pt x="87272" y="636974"/>
                      <a:pt x="49090" y="615819"/>
                    </a:cubicBezTo>
                    <a:cubicBezTo>
                      <a:pt x="44961" y="613755"/>
                      <a:pt x="44961" y="610143"/>
                      <a:pt x="45993" y="606015"/>
                    </a:cubicBezTo>
                    <a:cubicBezTo>
                      <a:pt x="56313" y="574541"/>
                      <a:pt x="69212" y="544098"/>
                      <a:pt x="82628" y="513655"/>
                    </a:cubicBezTo>
                    <a:cubicBezTo>
                      <a:pt x="85208" y="507980"/>
                      <a:pt x="89336" y="506948"/>
                      <a:pt x="93979" y="508496"/>
                    </a:cubicBezTo>
                    <a:cubicBezTo>
                      <a:pt x="137322" y="519847"/>
                      <a:pt x="183760" y="518815"/>
                      <a:pt x="224006" y="543066"/>
                    </a:cubicBezTo>
                    <a:cubicBezTo>
                      <a:pt x="230713" y="547194"/>
                      <a:pt x="233809" y="544614"/>
                      <a:pt x="236905" y="538938"/>
                    </a:cubicBezTo>
                    <a:cubicBezTo>
                      <a:pt x="255996" y="503336"/>
                      <a:pt x="278183" y="469281"/>
                      <a:pt x="302434" y="437291"/>
                    </a:cubicBezTo>
                    <a:cubicBezTo>
                      <a:pt x="305530" y="433163"/>
                      <a:pt x="310690" y="428519"/>
                      <a:pt x="302950" y="423359"/>
                    </a:cubicBezTo>
                    <a:cubicBezTo>
                      <a:pt x="273540" y="404268"/>
                      <a:pt x="258576" y="373826"/>
                      <a:pt x="238453" y="346995"/>
                    </a:cubicBezTo>
                    <a:cubicBezTo>
                      <a:pt x="234841" y="342351"/>
                      <a:pt x="232262" y="337707"/>
                      <a:pt x="228650" y="333063"/>
                    </a:cubicBezTo>
                    <a:cubicBezTo>
                      <a:pt x="212654" y="310360"/>
                      <a:pt x="212138" y="309844"/>
                      <a:pt x="230713" y="290237"/>
                    </a:cubicBezTo>
                    <a:cubicBezTo>
                      <a:pt x="248257" y="271662"/>
                      <a:pt x="266316" y="254119"/>
                      <a:pt x="283859" y="236060"/>
                    </a:cubicBezTo>
                    <a:cubicBezTo>
                      <a:pt x="289535" y="230384"/>
                      <a:pt x="294179" y="229868"/>
                      <a:pt x="300370" y="234512"/>
                    </a:cubicBezTo>
                    <a:cubicBezTo>
                      <a:pt x="327201" y="252571"/>
                      <a:pt x="354032" y="270114"/>
                      <a:pt x="380863" y="288173"/>
                    </a:cubicBezTo>
                    <a:cubicBezTo>
                      <a:pt x="390150" y="294365"/>
                      <a:pt x="396342" y="303137"/>
                      <a:pt x="403050" y="311392"/>
                    </a:cubicBezTo>
                    <a:cubicBezTo>
                      <a:pt x="408726" y="319132"/>
                      <a:pt x="413885" y="320680"/>
                      <a:pt x="422141" y="313972"/>
                    </a:cubicBezTo>
                    <a:cubicBezTo>
                      <a:pt x="452584" y="288689"/>
                      <a:pt x="485606" y="266502"/>
                      <a:pt x="519661" y="246895"/>
                    </a:cubicBezTo>
                    <a:cubicBezTo>
                      <a:pt x="524820" y="243799"/>
                      <a:pt x="529464" y="240703"/>
                      <a:pt x="524820" y="233996"/>
                    </a:cubicBezTo>
                    <a:cubicBezTo>
                      <a:pt x="502633" y="202005"/>
                      <a:pt x="501086" y="163823"/>
                      <a:pt x="492314" y="127704"/>
                    </a:cubicBezTo>
                    <a:cubicBezTo>
                      <a:pt x="484574" y="96230"/>
                      <a:pt x="485606" y="96746"/>
                      <a:pt x="514501" y="82298"/>
                    </a:cubicBezTo>
                    <a:cubicBezTo>
                      <a:pt x="535140" y="71979"/>
                      <a:pt x="557327" y="64239"/>
                      <a:pt x="578482" y="55468"/>
                    </a:cubicBezTo>
                    <a:cubicBezTo>
                      <a:pt x="586222" y="52372"/>
                      <a:pt x="590866" y="52888"/>
                      <a:pt x="595509" y="60111"/>
                    </a:cubicBezTo>
                    <a:cubicBezTo>
                      <a:pt x="613053" y="86942"/>
                      <a:pt x="630596" y="113257"/>
                      <a:pt x="648655" y="139572"/>
                    </a:cubicBezTo>
                    <a:cubicBezTo>
                      <a:pt x="655363" y="149375"/>
                      <a:pt x="657427" y="160727"/>
                      <a:pt x="661039" y="172078"/>
                    </a:cubicBezTo>
                    <a:cubicBezTo>
                      <a:pt x="663618" y="180334"/>
                      <a:pt x="667230" y="182914"/>
                      <a:pt x="675486" y="180334"/>
                    </a:cubicBezTo>
                    <a:cubicBezTo>
                      <a:pt x="713668" y="168983"/>
                      <a:pt x="752882" y="160727"/>
                      <a:pt x="792613" y="155567"/>
                    </a:cubicBezTo>
                    <a:cubicBezTo>
                      <a:pt x="800352" y="154535"/>
                      <a:pt x="802932" y="151439"/>
                      <a:pt x="801900" y="143700"/>
                    </a:cubicBezTo>
                    <a:cubicBezTo>
                      <a:pt x="795193" y="98294"/>
                      <a:pt x="811704" y="55468"/>
                      <a:pt x="816864" y="11094"/>
                    </a:cubicBezTo>
                    <a:cubicBezTo>
                      <a:pt x="817380" y="5934"/>
                      <a:pt x="820476" y="2838"/>
                      <a:pt x="826151" y="2322"/>
                    </a:cubicBezTo>
                    <a:cubicBezTo>
                      <a:pt x="859174" y="-1290"/>
                      <a:pt x="892196" y="258"/>
                      <a:pt x="925219" y="774"/>
                    </a:cubicBezTo>
                    <a:cubicBezTo>
                      <a:pt x="930895" y="774"/>
                      <a:pt x="933475" y="4902"/>
                      <a:pt x="934507" y="10062"/>
                    </a:cubicBezTo>
                    <a:cubicBezTo>
                      <a:pt x="941214" y="43600"/>
                      <a:pt x="948438" y="77139"/>
                      <a:pt x="954114" y="111193"/>
                    </a:cubicBezTo>
                    <a:cubicBezTo>
                      <a:pt x="955662" y="120481"/>
                      <a:pt x="953082" y="130800"/>
                      <a:pt x="952050" y="140604"/>
                    </a:cubicBezTo>
                    <a:cubicBezTo>
                      <a:pt x="951018" y="148343"/>
                      <a:pt x="954114" y="151955"/>
                      <a:pt x="962369" y="152987"/>
                    </a:cubicBezTo>
                    <a:cubicBezTo>
                      <a:pt x="1001584" y="157115"/>
                      <a:pt x="1040798" y="164339"/>
                      <a:pt x="1078980" y="174658"/>
                    </a:cubicBezTo>
                    <a:cubicBezTo>
                      <a:pt x="1085172" y="176206"/>
                      <a:pt x="1091364" y="176722"/>
                      <a:pt x="1093428" y="168467"/>
                    </a:cubicBezTo>
                    <a:cubicBezTo>
                      <a:pt x="1101683" y="130284"/>
                      <a:pt x="1127482" y="101390"/>
                      <a:pt x="1147089" y="69399"/>
                    </a:cubicBezTo>
                    <a:cubicBezTo>
                      <a:pt x="1162569" y="43084"/>
                      <a:pt x="1163601" y="43600"/>
                      <a:pt x="1192495" y="54436"/>
                    </a:cubicBezTo>
                    <a:cubicBezTo>
                      <a:pt x="1214682" y="62691"/>
                      <a:pt x="1236353" y="71979"/>
                      <a:pt x="1258024" y="81266"/>
                    </a:cubicBezTo>
                    <a:cubicBezTo>
                      <a:pt x="1265764" y="84362"/>
                      <a:pt x="1268860" y="88490"/>
                      <a:pt x="1267312" y="96746"/>
                    </a:cubicBezTo>
                    <a:cubicBezTo>
                      <a:pt x="1260604" y="128736"/>
                      <a:pt x="1254928" y="160727"/>
                      <a:pt x="1247705" y="192718"/>
                    </a:cubicBezTo>
                    <a:cubicBezTo>
                      <a:pt x="1245125" y="203553"/>
                      <a:pt x="1238417" y="213873"/>
                      <a:pt x="1233258" y="224192"/>
                    </a:cubicBezTo>
                    <a:cubicBezTo>
                      <a:pt x="1229646" y="230384"/>
                      <a:pt x="1230678" y="233996"/>
                      <a:pt x="1237385" y="237608"/>
                    </a:cubicBezTo>
                    <a:cubicBezTo>
                      <a:pt x="1273504" y="256699"/>
                      <a:pt x="1307558" y="279402"/>
                      <a:pt x="1340065" y="304169"/>
                    </a:cubicBezTo>
                    <a:cubicBezTo>
                      <a:pt x="1345741" y="308812"/>
                      <a:pt x="1349868" y="309328"/>
                      <a:pt x="1354512" y="302621"/>
                    </a:cubicBezTo>
                    <a:cubicBezTo>
                      <a:pt x="1381343" y="264954"/>
                      <a:pt x="1424169" y="246379"/>
                      <a:pt x="1459771" y="218516"/>
                    </a:cubicBezTo>
                    <a:cubicBezTo>
                      <a:pt x="1464415" y="214905"/>
                      <a:pt x="1468027" y="216452"/>
                      <a:pt x="1472155" y="220064"/>
                    </a:cubicBezTo>
                    <a:cubicBezTo>
                      <a:pt x="1496406" y="241219"/>
                      <a:pt x="1519109" y="264438"/>
                      <a:pt x="1541296" y="287657"/>
                    </a:cubicBezTo>
                    <a:cubicBezTo>
                      <a:pt x="1545424" y="292301"/>
                      <a:pt x="1545940" y="296429"/>
                      <a:pt x="1542328" y="301073"/>
                    </a:cubicBezTo>
                    <a:cubicBezTo>
                      <a:pt x="1523237" y="329452"/>
                      <a:pt x="1505177" y="357830"/>
                      <a:pt x="1485570" y="385693"/>
                    </a:cubicBezTo>
                    <a:cubicBezTo>
                      <a:pt x="1479895" y="393949"/>
                      <a:pt x="1470607" y="400140"/>
                      <a:pt x="1462868" y="406332"/>
                    </a:cubicBezTo>
                    <a:cubicBezTo>
                      <a:pt x="1456676" y="411492"/>
                      <a:pt x="1455644" y="416136"/>
                      <a:pt x="1460803" y="422327"/>
                    </a:cubicBezTo>
                    <a:cubicBezTo>
                      <a:pt x="1486086" y="453802"/>
                      <a:pt x="1509305" y="487341"/>
                      <a:pt x="1529428" y="522427"/>
                    </a:cubicBezTo>
                    <a:cubicBezTo>
                      <a:pt x="1534072" y="530167"/>
                      <a:pt x="1538716" y="529135"/>
                      <a:pt x="1544908" y="525007"/>
                    </a:cubicBezTo>
                    <a:cubicBezTo>
                      <a:pt x="1584122" y="500756"/>
                      <a:pt x="1630044" y="500240"/>
                      <a:pt x="1672870" y="488373"/>
                    </a:cubicBezTo>
                    <a:cubicBezTo>
                      <a:pt x="1678546" y="486825"/>
                      <a:pt x="1681642" y="489921"/>
                      <a:pt x="1683706" y="495080"/>
                    </a:cubicBezTo>
                    <a:cubicBezTo>
                      <a:pt x="1697637" y="523975"/>
                      <a:pt x="1710537" y="553902"/>
                      <a:pt x="1721888" y="583828"/>
                    </a:cubicBezTo>
                    <a:cubicBezTo>
                      <a:pt x="1723952" y="590020"/>
                      <a:pt x="1722404" y="593632"/>
                      <a:pt x="1717244" y="596728"/>
                    </a:cubicBezTo>
                    <a:cubicBezTo>
                      <a:pt x="1689381" y="615303"/>
                      <a:pt x="1662035" y="634394"/>
                      <a:pt x="1633140" y="652453"/>
                    </a:cubicBezTo>
                    <a:cubicBezTo>
                      <a:pt x="1623852" y="658129"/>
                      <a:pt x="1612501" y="660709"/>
                      <a:pt x="1601665" y="663805"/>
                    </a:cubicBezTo>
                    <a:cubicBezTo>
                      <a:pt x="1594958" y="665869"/>
                      <a:pt x="1592894" y="668965"/>
                      <a:pt x="1594958" y="676188"/>
                    </a:cubicBezTo>
                    <a:cubicBezTo>
                      <a:pt x="1606309" y="715403"/>
                      <a:pt x="1615081" y="755133"/>
                      <a:pt x="1620241" y="795895"/>
                    </a:cubicBezTo>
                    <a:cubicBezTo>
                      <a:pt x="1621272" y="803119"/>
                      <a:pt x="1624368" y="805699"/>
                      <a:pt x="1631076" y="804667"/>
                    </a:cubicBezTo>
                    <a:cubicBezTo>
                      <a:pt x="1676482" y="797959"/>
                      <a:pt x="1719308" y="814470"/>
                      <a:pt x="1763682" y="819630"/>
                    </a:cubicBezTo>
                    <a:cubicBezTo>
                      <a:pt x="1769874" y="820146"/>
                      <a:pt x="1772454" y="823758"/>
                      <a:pt x="1773486" y="829950"/>
                    </a:cubicBezTo>
                    <a:cubicBezTo>
                      <a:pt x="1776582" y="862456"/>
                      <a:pt x="1775034" y="895479"/>
                      <a:pt x="1775034" y="927985"/>
                    </a:cubicBezTo>
                    <a:cubicBezTo>
                      <a:pt x="1775034" y="933661"/>
                      <a:pt x="1771422" y="936241"/>
                      <a:pt x="1766262" y="937273"/>
                    </a:cubicBezTo>
                    <a:cubicBezTo>
                      <a:pt x="1732207" y="943981"/>
                      <a:pt x="1698153" y="951204"/>
                      <a:pt x="1663583" y="957396"/>
                    </a:cubicBezTo>
                    <a:cubicBezTo>
                      <a:pt x="1654811" y="958944"/>
                      <a:pt x="1645523" y="956364"/>
                      <a:pt x="1636752" y="955332"/>
                    </a:cubicBezTo>
                    <a:cubicBezTo>
                      <a:pt x="1627980" y="954300"/>
                      <a:pt x="1623336" y="956364"/>
                      <a:pt x="1622304" y="966684"/>
                    </a:cubicBezTo>
                    <a:cubicBezTo>
                      <a:pt x="1618177" y="1005382"/>
                      <a:pt x="1610953" y="1044080"/>
                      <a:pt x="1601149" y="1081746"/>
                    </a:cubicBezTo>
                    <a:cubicBezTo>
                      <a:pt x="1598569" y="1091034"/>
                      <a:pt x="1601665" y="1095678"/>
                      <a:pt x="1610437" y="1097742"/>
                    </a:cubicBezTo>
                    <a:cubicBezTo>
                      <a:pt x="1654811" y="1108577"/>
                      <a:pt x="1687318" y="1140568"/>
                      <a:pt x="1726016" y="1161723"/>
                    </a:cubicBezTo>
                    <a:cubicBezTo>
                      <a:pt x="1731176" y="1164819"/>
                      <a:pt x="1731176" y="1168947"/>
                      <a:pt x="1729112" y="1174107"/>
                    </a:cubicBezTo>
                    <a:cubicBezTo>
                      <a:pt x="1718792" y="1204549"/>
                      <a:pt x="1706409" y="1234476"/>
                      <a:pt x="1693509" y="1263887"/>
                    </a:cubicBezTo>
                    <a:cubicBezTo>
                      <a:pt x="1690929" y="1269562"/>
                      <a:pt x="1687318" y="1271626"/>
                      <a:pt x="1681126" y="1270078"/>
                    </a:cubicBezTo>
                    <a:cubicBezTo>
                      <a:pt x="1648103" y="1263371"/>
                      <a:pt x="1614565" y="1257179"/>
                      <a:pt x="1581542" y="1249955"/>
                    </a:cubicBezTo>
                    <a:cubicBezTo>
                      <a:pt x="1571223" y="1247375"/>
                      <a:pt x="1561935" y="1241184"/>
                      <a:pt x="1552647" y="1236024"/>
                    </a:cubicBezTo>
                    <a:cubicBezTo>
                      <a:pt x="1545940" y="1232412"/>
                      <a:pt x="1542328" y="1232928"/>
                      <a:pt x="1538200" y="1240152"/>
                    </a:cubicBezTo>
                    <a:cubicBezTo>
                      <a:pt x="1519109" y="1275238"/>
                      <a:pt x="1497954" y="1309293"/>
                      <a:pt x="1473187" y="1340767"/>
                    </a:cubicBezTo>
                    <a:cubicBezTo>
                      <a:pt x="1467511" y="1347991"/>
                      <a:pt x="1466479" y="1352635"/>
                      <a:pt x="1475251" y="1358310"/>
                    </a:cubicBezTo>
                    <a:cubicBezTo>
                      <a:pt x="1502598" y="1375854"/>
                      <a:pt x="1516013" y="1405264"/>
                      <a:pt x="1535104" y="1430031"/>
                    </a:cubicBezTo>
                    <a:cubicBezTo>
                      <a:pt x="1538716" y="1434675"/>
                      <a:pt x="1541812" y="1439835"/>
                      <a:pt x="1545424" y="1444995"/>
                    </a:cubicBezTo>
                    <a:cubicBezTo>
                      <a:pt x="1566063" y="1474921"/>
                      <a:pt x="1565031" y="1464602"/>
                      <a:pt x="1542844" y="1489885"/>
                    </a:cubicBezTo>
                    <a:cubicBezTo>
                      <a:pt x="1526849" y="1508460"/>
                      <a:pt x="1508273" y="1524971"/>
                      <a:pt x="1491246" y="1542514"/>
                    </a:cubicBezTo>
                    <a:cubicBezTo>
                      <a:pt x="1485054" y="1549222"/>
                      <a:pt x="1479895" y="1549222"/>
                      <a:pt x="1472155" y="1544062"/>
                    </a:cubicBezTo>
                    <a:cubicBezTo>
                      <a:pt x="1446356" y="1526519"/>
                      <a:pt x="1420041" y="1508976"/>
                      <a:pt x="1393726" y="1491948"/>
                    </a:cubicBezTo>
                    <a:cubicBezTo>
                      <a:pt x="1383923" y="1485241"/>
                      <a:pt x="1377215" y="1475437"/>
                      <a:pt x="1369992" y="1466666"/>
                    </a:cubicBezTo>
                    <a:cubicBezTo>
                      <a:pt x="1364316" y="1459958"/>
                      <a:pt x="1359672" y="1458926"/>
                      <a:pt x="1352964" y="1464602"/>
                    </a:cubicBezTo>
                    <a:cubicBezTo>
                      <a:pt x="1322005" y="1489885"/>
                      <a:pt x="1288983" y="1512588"/>
                      <a:pt x="1254413" y="1532711"/>
                    </a:cubicBezTo>
                    <a:cubicBezTo>
                      <a:pt x="1249769" y="1535291"/>
                      <a:pt x="1244609" y="1537871"/>
                      <a:pt x="1248737" y="1544578"/>
                    </a:cubicBezTo>
                    <a:cubicBezTo>
                      <a:pt x="1272472" y="1580181"/>
                      <a:pt x="1274020" y="1622491"/>
                      <a:pt x="1284339" y="1662221"/>
                    </a:cubicBezTo>
                    <a:cubicBezTo>
                      <a:pt x="1290531" y="1685440"/>
                      <a:pt x="1292079" y="1682344"/>
                      <a:pt x="1268860" y="1693180"/>
                    </a:cubicBezTo>
                    <a:cubicBezTo>
                      <a:pt x="1244609" y="1704531"/>
                      <a:pt x="1219842" y="1714335"/>
                      <a:pt x="1195591" y="1724654"/>
                    </a:cubicBezTo>
                    <a:cubicBezTo>
                      <a:pt x="1187851" y="1727750"/>
                      <a:pt x="1183208" y="1726718"/>
                      <a:pt x="1178564" y="1719495"/>
                    </a:cubicBezTo>
                    <a:cubicBezTo>
                      <a:pt x="1161021" y="1692664"/>
                      <a:pt x="1142962" y="1666865"/>
                      <a:pt x="1125418" y="1640034"/>
                    </a:cubicBezTo>
                    <a:cubicBezTo>
                      <a:pt x="1118711" y="1629715"/>
                      <a:pt x="1116131" y="1617847"/>
                      <a:pt x="1113035" y="1606496"/>
                    </a:cubicBezTo>
                    <a:cubicBezTo>
                      <a:pt x="1110971" y="1599272"/>
                      <a:pt x="1107359" y="1597208"/>
                      <a:pt x="1099619" y="1599272"/>
                    </a:cubicBezTo>
                    <a:cubicBezTo>
                      <a:pt x="1060405" y="1611139"/>
                      <a:pt x="1020675" y="1619395"/>
                      <a:pt x="979913" y="1624555"/>
                    </a:cubicBezTo>
                    <a:cubicBezTo>
                      <a:pt x="973205" y="1625587"/>
                      <a:pt x="971141" y="1628682"/>
                      <a:pt x="972173" y="1634874"/>
                    </a:cubicBezTo>
                    <a:cubicBezTo>
                      <a:pt x="979397" y="1680280"/>
                      <a:pt x="962885" y="1723106"/>
                      <a:pt x="957726" y="1767481"/>
                    </a:cubicBezTo>
                    <a:cubicBezTo>
                      <a:pt x="956694" y="1775220"/>
                      <a:pt x="952566" y="1777800"/>
                      <a:pt x="945858" y="1777800"/>
                    </a:cubicBezTo>
                    <a:cubicBezTo>
                      <a:pt x="929347" y="1778316"/>
                      <a:pt x="912320" y="1779348"/>
                      <a:pt x="895808" y="1779864"/>
                    </a:cubicBezTo>
                    <a:cubicBezTo>
                      <a:pt x="894776" y="1776252"/>
                      <a:pt x="894776" y="1776252"/>
                      <a:pt x="894776" y="1775736"/>
                    </a:cubicBezTo>
                    <a:close/>
                    <a:moveTo>
                      <a:pt x="890648" y="1454798"/>
                    </a:moveTo>
                    <a:cubicBezTo>
                      <a:pt x="1199203" y="1449638"/>
                      <a:pt x="1454096" y="1207645"/>
                      <a:pt x="1452548" y="884127"/>
                    </a:cubicBezTo>
                    <a:cubicBezTo>
                      <a:pt x="1451516" y="575057"/>
                      <a:pt x="1205395" y="320164"/>
                      <a:pt x="881361" y="322228"/>
                    </a:cubicBezTo>
                    <a:cubicBezTo>
                      <a:pt x="571775" y="324292"/>
                      <a:pt x="318429" y="570929"/>
                      <a:pt x="320494" y="893415"/>
                    </a:cubicBezTo>
                    <a:cubicBezTo>
                      <a:pt x="323073" y="1202485"/>
                      <a:pt x="569195" y="1452218"/>
                      <a:pt x="890648" y="1454798"/>
                    </a:cubicBezTo>
                    <a:close/>
                  </a:path>
                </a:pathLst>
              </a:custGeom>
              <a:grpFill/>
              <a:ln w="51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D53A0459-4D3D-48F2-8909-33333F49E440}"/>
                  </a:ext>
                </a:extLst>
              </p:cNvPr>
              <p:cNvSpPr/>
              <p:nvPr/>
            </p:nvSpPr>
            <p:spPr>
              <a:xfrm>
                <a:off x="3733675" y="2339591"/>
                <a:ext cx="835883" cy="835883"/>
              </a:xfrm>
              <a:custGeom>
                <a:avLst/>
                <a:gdLst>
                  <a:gd name="connsiteX0" fmla="*/ 836916 w 835883"/>
                  <a:gd name="connsiteY0" fmla="*/ 418458 h 835883"/>
                  <a:gd name="connsiteX1" fmla="*/ 418459 w 835883"/>
                  <a:gd name="connsiteY1" fmla="*/ 836399 h 835883"/>
                  <a:gd name="connsiteX2" fmla="*/ 1 w 835883"/>
                  <a:gd name="connsiteY2" fmla="*/ 417426 h 835883"/>
                  <a:gd name="connsiteX3" fmla="*/ 418975 w 835883"/>
                  <a:gd name="connsiteY3" fmla="*/ 0 h 835883"/>
                  <a:gd name="connsiteX4" fmla="*/ 836916 w 835883"/>
                  <a:gd name="connsiteY4" fmla="*/ 418458 h 835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5883" h="835883">
                    <a:moveTo>
                      <a:pt x="836916" y="418458"/>
                    </a:moveTo>
                    <a:cubicBezTo>
                      <a:pt x="833821" y="651679"/>
                      <a:pt x="651165" y="836915"/>
                      <a:pt x="418459" y="836399"/>
                    </a:cubicBezTo>
                    <a:cubicBezTo>
                      <a:pt x="182657" y="836399"/>
                      <a:pt x="-515" y="649615"/>
                      <a:pt x="1" y="417426"/>
                    </a:cubicBezTo>
                    <a:cubicBezTo>
                      <a:pt x="517" y="181624"/>
                      <a:pt x="187301" y="0"/>
                      <a:pt x="418975" y="0"/>
                    </a:cubicBezTo>
                    <a:cubicBezTo>
                      <a:pt x="651680" y="516"/>
                      <a:pt x="833821" y="186268"/>
                      <a:pt x="836916" y="418458"/>
                    </a:cubicBezTo>
                    <a:close/>
                  </a:path>
                </a:pathLst>
              </a:custGeom>
              <a:grpFill/>
              <a:ln w="51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5DAD32A1-1249-4ABA-B7D2-F068D0D4D3F8}"/>
                </a:ext>
              </a:extLst>
            </p:cNvPr>
            <p:cNvSpPr/>
            <p:nvPr/>
          </p:nvSpPr>
          <p:spPr>
            <a:xfrm>
              <a:off x="1727363" y="4086481"/>
              <a:ext cx="683882" cy="686216"/>
            </a:xfrm>
            <a:custGeom>
              <a:avLst/>
              <a:gdLst>
                <a:gd name="connsiteX0" fmla="*/ 817500 w 1511813"/>
                <a:gd name="connsiteY0" fmla="*/ 1518710 h 1516973"/>
                <a:gd name="connsiteX1" fmla="*/ 802537 w 1511813"/>
                <a:gd name="connsiteY1" fmla="*/ 1507875 h 1516973"/>
                <a:gd name="connsiteX2" fmla="*/ 780866 w 1511813"/>
                <a:gd name="connsiteY2" fmla="*/ 1442862 h 1516973"/>
                <a:gd name="connsiteX3" fmla="*/ 776738 w 1511813"/>
                <a:gd name="connsiteY3" fmla="*/ 1385072 h 1516973"/>
                <a:gd name="connsiteX4" fmla="*/ 760227 w 1511813"/>
                <a:gd name="connsiteY4" fmla="*/ 1369593 h 1516973"/>
                <a:gd name="connsiteX5" fmla="*/ 694698 w 1511813"/>
                <a:gd name="connsiteY5" fmla="*/ 1366497 h 1516973"/>
                <a:gd name="connsiteX6" fmla="*/ 676638 w 1511813"/>
                <a:gd name="connsiteY6" fmla="*/ 1379912 h 1516973"/>
                <a:gd name="connsiteX7" fmla="*/ 637940 w 1511813"/>
                <a:gd name="connsiteY7" fmla="*/ 1501683 h 1516973"/>
                <a:gd name="connsiteX8" fmla="*/ 622977 w 1511813"/>
                <a:gd name="connsiteY8" fmla="*/ 1508907 h 1516973"/>
                <a:gd name="connsiteX9" fmla="*/ 430517 w 1511813"/>
                <a:gd name="connsiteY9" fmla="*/ 1447505 h 1516973"/>
                <a:gd name="connsiteX10" fmla="*/ 422262 w 1511813"/>
                <a:gd name="connsiteY10" fmla="*/ 1431510 h 1516973"/>
                <a:gd name="connsiteX11" fmla="*/ 435677 w 1511813"/>
                <a:gd name="connsiteY11" fmla="*/ 1364433 h 1516973"/>
                <a:gd name="connsiteX12" fmla="*/ 461992 w 1511813"/>
                <a:gd name="connsiteY12" fmla="*/ 1310255 h 1516973"/>
                <a:gd name="connsiteX13" fmla="*/ 456316 w 1511813"/>
                <a:gd name="connsiteY13" fmla="*/ 1290132 h 1516973"/>
                <a:gd name="connsiteX14" fmla="*/ 395431 w 1511813"/>
                <a:gd name="connsiteY14" fmla="*/ 1251434 h 1516973"/>
                <a:gd name="connsiteX15" fmla="*/ 378919 w 1511813"/>
                <a:gd name="connsiteY15" fmla="*/ 1254014 h 1516973"/>
                <a:gd name="connsiteX16" fmla="*/ 283464 w 1511813"/>
                <a:gd name="connsiteY16" fmla="*/ 1342246 h 1516973"/>
                <a:gd name="connsiteX17" fmla="*/ 265920 w 1511813"/>
                <a:gd name="connsiteY17" fmla="*/ 1341214 h 1516973"/>
                <a:gd name="connsiteX18" fmla="*/ 130218 w 1511813"/>
                <a:gd name="connsiteY18" fmla="*/ 1191580 h 1516973"/>
                <a:gd name="connsiteX19" fmla="*/ 130734 w 1511813"/>
                <a:gd name="connsiteY19" fmla="*/ 1174553 h 1516973"/>
                <a:gd name="connsiteX20" fmla="*/ 177688 w 1511813"/>
                <a:gd name="connsiteY20" fmla="*/ 1121408 h 1516973"/>
                <a:gd name="connsiteX21" fmla="*/ 225674 w 1511813"/>
                <a:gd name="connsiteY21" fmla="*/ 1089417 h 1516973"/>
                <a:gd name="connsiteX22" fmla="*/ 230834 w 1511813"/>
                <a:gd name="connsiteY22" fmla="*/ 1067230 h 1516973"/>
                <a:gd name="connsiteX23" fmla="*/ 198327 w 1511813"/>
                <a:gd name="connsiteY23" fmla="*/ 1004281 h 1516973"/>
                <a:gd name="connsiteX24" fmla="*/ 183880 w 1511813"/>
                <a:gd name="connsiteY24" fmla="*/ 998089 h 1516973"/>
                <a:gd name="connsiteX25" fmla="*/ 67269 w 1511813"/>
                <a:gd name="connsiteY25" fmla="*/ 1025952 h 1516973"/>
                <a:gd name="connsiteX26" fmla="*/ 55918 w 1511813"/>
                <a:gd name="connsiteY26" fmla="*/ 1027500 h 1516973"/>
                <a:gd name="connsiteX27" fmla="*/ 41470 w 1511813"/>
                <a:gd name="connsiteY27" fmla="*/ 1018212 h 1516973"/>
                <a:gd name="connsiteX28" fmla="*/ 1224 w 1511813"/>
                <a:gd name="connsiteY28" fmla="*/ 841748 h 1516973"/>
                <a:gd name="connsiteX29" fmla="*/ 30635 w 1511813"/>
                <a:gd name="connsiteY29" fmla="*/ 797374 h 1516973"/>
                <a:gd name="connsiteX30" fmla="*/ 134862 w 1511813"/>
                <a:gd name="connsiteY30" fmla="*/ 778799 h 1516973"/>
                <a:gd name="connsiteX31" fmla="*/ 147246 w 1511813"/>
                <a:gd name="connsiteY31" fmla="*/ 765899 h 1516973"/>
                <a:gd name="connsiteX32" fmla="*/ 150342 w 1511813"/>
                <a:gd name="connsiteY32" fmla="*/ 696242 h 1516973"/>
                <a:gd name="connsiteX33" fmla="*/ 137442 w 1511813"/>
                <a:gd name="connsiteY33" fmla="*/ 678699 h 1516973"/>
                <a:gd name="connsiteX34" fmla="*/ 14639 w 1511813"/>
                <a:gd name="connsiteY34" fmla="*/ 639485 h 1516973"/>
                <a:gd name="connsiteX35" fmla="*/ 7932 w 1511813"/>
                <a:gd name="connsiteY35" fmla="*/ 625037 h 1516973"/>
                <a:gd name="connsiteX36" fmla="*/ 69333 w 1511813"/>
                <a:gd name="connsiteY36" fmla="*/ 432578 h 1516973"/>
                <a:gd name="connsiteX37" fmla="*/ 86360 w 1511813"/>
                <a:gd name="connsiteY37" fmla="*/ 423806 h 1516973"/>
                <a:gd name="connsiteX38" fmla="*/ 150858 w 1511813"/>
                <a:gd name="connsiteY38" fmla="*/ 436706 h 1516973"/>
                <a:gd name="connsiteX39" fmla="*/ 206583 w 1511813"/>
                <a:gd name="connsiteY39" fmla="*/ 463536 h 1516973"/>
                <a:gd name="connsiteX40" fmla="*/ 227738 w 1511813"/>
                <a:gd name="connsiteY40" fmla="*/ 457345 h 1516973"/>
                <a:gd name="connsiteX41" fmla="*/ 266952 w 1511813"/>
                <a:gd name="connsiteY41" fmla="*/ 396459 h 1516973"/>
                <a:gd name="connsiteX42" fmla="*/ 264373 w 1511813"/>
                <a:gd name="connsiteY42" fmla="*/ 380980 h 1516973"/>
                <a:gd name="connsiteX43" fmla="*/ 175108 w 1511813"/>
                <a:gd name="connsiteY43" fmla="*/ 284492 h 1516973"/>
                <a:gd name="connsiteX44" fmla="*/ 176140 w 1511813"/>
                <a:gd name="connsiteY44" fmla="*/ 267981 h 1516973"/>
                <a:gd name="connsiteX45" fmla="*/ 325258 w 1511813"/>
                <a:gd name="connsiteY45" fmla="*/ 132279 h 1516973"/>
                <a:gd name="connsiteX46" fmla="*/ 343317 w 1511813"/>
                <a:gd name="connsiteY46" fmla="*/ 132795 h 1516973"/>
                <a:gd name="connsiteX47" fmla="*/ 395431 w 1511813"/>
                <a:gd name="connsiteY47" fmla="*/ 178717 h 1516973"/>
                <a:gd name="connsiteX48" fmla="*/ 426389 w 1511813"/>
                <a:gd name="connsiteY48" fmla="*/ 224639 h 1516973"/>
                <a:gd name="connsiteX49" fmla="*/ 451156 w 1511813"/>
                <a:gd name="connsiteY49" fmla="*/ 231347 h 1516973"/>
                <a:gd name="connsiteX50" fmla="*/ 512042 w 1511813"/>
                <a:gd name="connsiteY50" fmla="*/ 200388 h 1516973"/>
                <a:gd name="connsiteX51" fmla="*/ 518233 w 1511813"/>
                <a:gd name="connsiteY51" fmla="*/ 183877 h 1516973"/>
                <a:gd name="connsiteX52" fmla="*/ 491403 w 1511813"/>
                <a:gd name="connsiteY52" fmla="*/ 69846 h 1516973"/>
                <a:gd name="connsiteX53" fmla="*/ 489855 w 1511813"/>
                <a:gd name="connsiteY53" fmla="*/ 58494 h 1516973"/>
                <a:gd name="connsiteX54" fmla="*/ 499658 w 1511813"/>
                <a:gd name="connsiteY54" fmla="*/ 43015 h 1516973"/>
                <a:gd name="connsiteX55" fmla="*/ 695730 w 1511813"/>
                <a:gd name="connsiteY55" fmla="*/ 189 h 1516973"/>
                <a:gd name="connsiteX56" fmla="*/ 713273 w 1511813"/>
                <a:gd name="connsiteY56" fmla="*/ 12056 h 1516973"/>
                <a:gd name="connsiteX57" fmla="*/ 721012 w 1511813"/>
                <a:gd name="connsiteY57" fmla="*/ 35275 h 1516973"/>
                <a:gd name="connsiteX58" fmla="*/ 738556 w 1511813"/>
                <a:gd name="connsiteY58" fmla="*/ 134343 h 1516973"/>
                <a:gd name="connsiteX59" fmla="*/ 753519 w 1511813"/>
                <a:gd name="connsiteY59" fmla="*/ 148790 h 1516973"/>
                <a:gd name="connsiteX60" fmla="*/ 820596 w 1511813"/>
                <a:gd name="connsiteY60" fmla="*/ 151886 h 1516973"/>
                <a:gd name="connsiteX61" fmla="*/ 838655 w 1511813"/>
                <a:gd name="connsiteY61" fmla="*/ 138471 h 1516973"/>
                <a:gd name="connsiteX62" fmla="*/ 877354 w 1511813"/>
                <a:gd name="connsiteY62" fmla="*/ 16700 h 1516973"/>
                <a:gd name="connsiteX63" fmla="*/ 892317 w 1511813"/>
                <a:gd name="connsiteY63" fmla="*/ 9476 h 1516973"/>
                <a:gd name="connsiteX64" fmla="*/ 1084777 w 1511813"/>
                <a:gd name="connsiteY64" fmla="*/ 70878 h 1516973"/>
                <a:gd name="connsiteX65" fmla="*/ 1093032 w 1511813"/>
                <a:gd name="connsiteY65" fmla="*/ 86873 h 1516973"/>
                <a:gd name="connsiteX66" fmla="*/ 1079617 w 1511813"/>
                <a:gd name="connsiteY66" fmla="*/ 152402 h 1516973"/>
                <a:gd name="connsiteX67" fmla="*/ 1053302 w 1511813"/>
                <a:gd name="connsiteY67" fmla="*/ 206580 h 1516973"/>
                <a:gd name="connsiteX68" fmla="*/ 1060010 w 1511813"/>
                <a:gd name="connsiteY68" fmla="*/ 228251 h 1516973"/>
                <a:gd name="connsiteX69" fmla="*/ 1118315 w 1511813"/>
                <a:gd name="connsiteY69" fmla="*/ 265917 h 1516973"/>
                <a:gd name="connsiteX70" fmla="*/ 1136374 w 1511813"/>
                <a:gd name="connsiteY70" fmla="*/ 262821 h 1516973"/>
                <a:gd name="connsiteX71" fmla="*/ 1232346 w 1511813"/>
                <a:gd name="connsiteY71" fmla="*/ 174589 h 1516973"/>
                <a:gd name="connsiteX72" fmla="*/ 1247825 w 1511813"/>
                <a:gd name="connsiteY72" fmla="*/ 175621 h 1516973"/>
                <a:gd name="connsiteX73" fmla="*/ 1384559 w 1511813"/>
                <a:gd name="connsiteY73" fmla="*/ 325770 h 1516973"/>
                <a:gd name="connsiteX74" fmla="*/ 1384043 w 1511813"/>
                <a:gd name="connsiteY74" fmla="*/ 342798 h 1516973"/>
                <a:gd name="connsiteX75" fmla="*/ 1336057 w 1511813"/>
                <a:gd name="connsiteY75" fmla="*/ 396975 h 1516973"/>
                <a:gd name="connsiteX76" fmla="*/ 1291167 w 1511813"/>
                <a:gd name="connsiteY76" fmla="*/ 426902 h 1516973"/>
                <a:gd name="connsiteX77" fmla="*/ 1284976 w 1511813"/>
                <a:gd name="connsiteY77" fmla="*/ 451153 h 1516973"/>
                <a:gd name="connsiteX78" fmla="*/ 1316450 w 1511813"/>
                <a:gd name="connsiteY78" fmla="*/ 513070 h 1516973"/>
                <a:gd name="connsiteX79" fmla="*/ 1330898 w 1511813"/>
                <a:gd name="connsiteY79" fmla="*/ 519262 h 1516973"/>
                <a:gd name="connsiteX80" fmla="*/ 1447509 w 1511813"/>
                <a:gd name="connsiteY80" fmla="*/ 491399 h 1516973"/>
                <a:gd name="connsiteX81" fmla="*/ 1458860 w 1511813"/>
                <a:gd name="connsiteY81" fmla="*/ 489851 h 1516973"/>
                <a:gd name="connsiteX82" fmla="*/ 1473307 w 1511813"/>
                <a:gd name="connsiteY82" fmla="*/ 499139 h 1516973"/>
                <a:gd name="connsiteX83" fmla="*/ 1513554 w 1511813"/>
                <a:gd name="connsiteY83" fmla="*/ 675603 h 1516973"/>
                <a:gd name="connsiteX84" fmla="*/ 1514070 w 1511813"/>
                <a:gd name="connsiteY84" fmla="*/ 679215 h 1516973"/>
                <a:gd name="connsiteX85" fmla="*/ 1490335 w 1511813"/>
                <a:gd name="connsiteY85" fmla="*/ 717397 h 1516973"/>
                <a:gd name="connsiteX86" fmla="*/ 1379916 w 1511813"/>
                <a:gd name="connsiteY86" fmla="*/ 738036 h 1516973"/>
                <a:gd name="connsiteX87" fmla="*/ 1367532 w 1511813"/>
                <a:gd name="connsiteY87" fmla="*/ 749904 h 1516973"/>
                <a:gd name="connsiteX88" fmla="*/ 1363920 w 1511813"/>
                <a:gd name="connsiteY88" fmla="*/ 822141 h 1516973"/>
                <a:gd name="connsiteX89" fmla="*/ 1375788 w 1511813"/>
                <a:gd name="connsiteY89" fmla="*/ 838136 h 1516973"/>
                <a:gd name="connsiteX90" fmla="*/ 1498590 w 1511813"/>
                <a:gd name="connsiteY90" fmla="*/ 876834 h 1516973"/>
                <a:gd name="connsiteX91" fmla="*/ 1506330 w 1511813"/>
                <a:gd name="connsiteY91" fmla="*/ 891798 h 1516973"/>
                <a:gd name="connsiteX92" fmla="*/ 1444413 w 1511813"/>
                <a:gd name="connsiteY92" fmla="*/ 1085289 h 1516973"/>
                <a:gd name="connsiteX93" fmla="*/ 1429449 w 1511813"/>
                <a:gd name="connsiteY93" fmla="*/ 1093029 h 1516973"/>
                <a:gd name="connsiteX94" fmla="*/ 1306647 w 1511813"/>
                <a:gd name="connsiteY94" fmla="*/ 1052783 h 1516973"/>
                <a:gd name="connsiteX95" fmla="*/ 1287556 w 1511813"/>
                <a:gd name="connsiteY95" fmla="*/ 1057942 h 1516973"/>
                <a:gd name="connsiteX96" fmla="*/ 1248857 w 1511813"/>
                <a:gd name="connsiteY96" fmla="*/ 1118828 h 1516973"/>
                <a:gd name="connsiteX97" fmla="*/ 1250405 w 1511813"/>
                <a:gd name="connsiteY97" fmla="*/ 1135339 h 1516973"/>
                <a:gd name="connsiteX98" fmla="*/ 1339153 w 1511813"/>
                <a:gd name="connsiteY98" fmla="*/ 1230795 h 1516973"/>
                <a:gd name="connsiteX99" fmla="*/ 1337605 w 1511813"/>
                <a:gd name="connsiteY99" fmla="*/ 1249370 h 1516973"/>
                <a:gd name="connsiteX100" fmla="*/ 1189004 w 1511813"/>
                <a:gd name="connsiteY100" fmla="*/ 1384040 h 1516973"/>
                <a:gd name="connsiteX101" fmla="*/ 1170945 w 1511813"/>
                <a:gd name="connsiteY101" fmla="*/ 1383524 h 1516973"/>
                <a:gd name="connsiteX102" fmla="*/ 1118831 w 1511813"/>
                <a:gd name="connsiteY102" fmla="*/ 1337602 h 1516973"/>
                <a:gd name="connsiteX103" fmla="*/ 1086840 w 1511813"/>
                <a:gd name="connsiteY103" fmla="*/ 1289616 h 1516973"/>
                <a:gd name="connsiteX104" fmla="*/ 1064137 w 1511813"/>
                <a:gd name="connsiteY104" fmla="*/ 1284456 h 1516973"/>
                <a:gd name="connsiteX105" fmla="*/ 1002220 w 1511813"/>
                <a:gd name="connsiteY105" fmla="*/ 1316447 h 1516973"/>
                <a:gd name="connsiteX106" fmla="*/ 996028 w 1511813"/>
                <a:gd name="connsiteY106" fmla="*/ 1332958 h 1516973"/>
                <a:gd name="connsiteX107" fmla="*/ 1022859 w 1511813"/>
                <a:gd name="connsiteY107" fmla="*/ 1446989 h 1516973"/>
                <a:gd name="connsiteX108" fmla="*/ 1024407 w 1511813"/>
                <a:gd name="connsiteY108" fmla="*/ 1459889 h 1516973"/>
                <a:gd name="connsiteX109" fmla="*/ 1015636 w 1511813"/>
                <a:gd name="connsiteY109" fmla="*/ 1473304 h 1516973"/>
                <a:gd name="connsiteX110" fmla="*/ 817500 w 1511813"/>
                <a:gd name="connsiteY110" fmla="*/ 1518710 h 1516973"/>
                <a:gd name="connsiteX111" fmla="*/ 758163 w 1511813"/>
                <a:gd name="connsiteY111" fmla="*/ 1148238 h 1516973"/>
                <a:gd name="connsiteX112" fmla="*/ 1145146 w 1511813"/>
                <a:gd name="connsiteY112" fmla="*/ 758675 h 1516973"/>
                <a:gd name="connsiteX113" fmla="*/ 757131 w 1511813"/>
                <a:gd name="connsiteY113" fmla="*/ 371176 h 1516973"/>
                <a:gd name="connsiteX114" fmla="*/ 368600 w 1511813"/>
                <a:gd name="connsiteY114" fmla="*/ 759707 h 1516973"/>
                <a:gd name="connsiteX115" fmla="*/ 758163 w 1511813"/>
                <a:gd name="connsiteY115" fmla="*/ 1148238 h 1516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</a:cxnLst>
              <a:rect l="l" t="t" r="r" b="b"/>
              <a:pathLst>
                <a:path w="1511813" h="1516973">
                  <a:moveTo>
                    <a:pt x="817500" y="1518710"/>
                  </a:moveTo>
                  <a:cubicBezTo>
                    <a:pt x="809245" y="1520774"/>
                    <a:pt x="805633" y="1516130"/>
                    <a:pt x="802537" y="1507875"/>
                  </a:cubicBezTo>
                  <a:cubicBezTo>
                    <a:pt x="795829" y="1486204"/>
                    <a:pt x="788090" y="1464532"/>
                    <a:pt x="780866" y="1442862"/>
                  </a:cubicBezTo>
                  <a:cubicBezTo>
                    <a:pt x="774674" y="1424286"/>
                    <a:pt x="777770" y="1404679"/>
                    <a:pt x="776738" y="1385072"/>
                  </a:cubicBezTo>
                  <a:cubicBezTo>
                    <a:pt x="776222" y="1369593"/>
                    <a:pt x="775706" y="1370109"/>
                    <a:pt x="760227" y="1369593"/>
                  </a:cubicBezTo>
                  <a:cubicBezTo>
                    <a:pt x="738556" y="1369593"/>
                    <a:pt x="716369" y="1368045"/>
                    <a:pt x="694698" y="1366497"/>
                  </a:cubicBezTo>
                  <a:cubicBezTo>
                    <a:pt x="683346" y="1365465"/>
                    <a:pt x="676638" y="1365981"/>
                    <a:pt x="676638" y="1379912"/>
                  </a:cubicBezTo>
                  <a:cubicBezTo>
                    <a:pt x="676638" y="1424286"/>
                    <a:pt x="655483" y="1462469"/>
                    <a:pt x="637940" y="1501683"/>
                  </a:cubicBezTo>
                  <a:cubicBezTo>
                    <a:pt x="634844" y="1508907"/>
                    <a:pt x="630716" y="1510454"/>
                    <a:pt x="622977" y="1508907"/>
                  </a:cubicBezTo>
                  <a:cubicBezTo>
                    <a:pt x="556416" y="1496523"/>
                    <a:pt x="492434" y="1475368"/>
                    <a:pt x="430517" y="1447505"/>
                  </a:cubicBezTo>
                  <a:cubicBezTo>
                    <a:pt x="423294" y="1443893"/>
                    <a:pt x="420198" y="1440282"/>
                    <a:pt x="422262" y="1431510"/>
                  </a:cubicBezTo>
                  <a:cubicBezTo>
                    <a:pt x="427421" y="1409323"/>
                    <a:pt x="431033" y="1386620"/>
                    <a:pt x="435677" y="1364433"/>
                  </a:cubicBezTo>
                  <a:cubicBezTo>
                    <a:pt x="439805" y="1344310"/>
                    <a:pt x="452704" y="1327798"/>
                    <a:pt x="461992" y="1310255"/>
                  </a:cubicBezTo>
                  <a:cubicBezTo>
                    <a:pt x="467152" y="1300452"/>
                    <a:pt x="466120" y="1295808"/>
                    <a:pt x="456316" y="1290132"/>
                  </a:cubicBezTo>
                  <a:cubicBezTo>
                    <a:pt x="435677" y="1278265"/>
                    <a:pt x="415554" y="1264849"/>
                    <a:pt x="395431" y="1251434"/>
                  </a:cubicBezTo>
                  <a:cubicBezTo>
                    <a:pt x="388207" y="1246274"/>
                    <a:pt x="383563" y="1246274"/>
                    <a:pt x="378919" y="1254014"/>
                  </a:cubicBezTo>
                  <a:cubicBezTo>
                    <a:pt x="356216" y="1293228"/>
                    <a:pt x="319066" y="1317479"/>
                    <a:pt x="283464" y="1342246"/>
                  </a:cubicBezTo>
                  <a:cubicBezTo>
                    <a:pt x="276240" y="1346890"/>
                    <a:pt x="272112" y="1346374"/>
                    <a:pt x="265920" y="1341214"/>
                  </a:cubicBezTo>
                  <a:cubicBezTo>
                    <a:pt x="214323" y="1297356"/>
                    <a:pt x="169433" y="1246790"/>
                    <a:pt x="130218" y="1191580"/>
                  </a:cubicBezTo>
                  <a:cubicBezTo>
                    <a:pt x="125575" y="1185389"/>
                    <a:pt x="125059" y="1180745"/>
                    <a:pt x="130734" y="1174553"/>
                  </a:cubicBezTo>
                  <a:cubicBezTo>
                    <a:pt x="146730" y="1157010"/>
                    <a:pt x="161177" y="1138435"/>
                    <a:pt x="177688" y="1121408"/>
                  </a:cubicBezTo>
                  <a:cubicBezTo>
                    <a:pt x="191104" y="1107476"/>
                    <a:pt x="209163" y="1099221"/>
                    <a:pt x="225674" y="1089417"/>
                  </a:cubicBezTo>
                  <a:cubicBezTo>
                    <a:pt x="236510" y="1083225"/>
                    <a:pt x="237026" y="1078065"/>
                    <a:pt x="230834" y="1067230"/>
                  </a:cubicBezTo>
                  <a:cubicBezTo>
                    <a:pt x="218967" y="1047107"/>
                    <a:pt x="208647" y="1025436"/>
                    <a:pt x="198327" y="1004281"/>
                  </a:cubicBezTo>
                  <a:cubicBezTo>
                    <a:pt x="194716" y="997057"/>
                    <a:pt x="192136" y="993445"/>
                    <a:pt x="183880" y="998089"/>
                  </a:cubicBezTo>
                  <a:cubicBezTo>
                    <a:pt x="147246" y="1017180"/>
                    <a:pt x="108031" y="1024920"/>
                    <a:pt x="67269" y="1025952"/>
                  </a:cubicBezTo>
                  <a:cubicBezTo>
                    <a:pt x="63657" y="1025952"/>
                    <a:pt x="59529" y="1026984"/>
                    <a:pt x="55918" y="1027500"/>
                  </a:cubicBezTo>
                  <a:cubicBezTo>
                    <a:pt x="48694" y="1028532"/>
                    <a:pt x="44050" y="1025952"/>
                    <a:pt x="41470" y="1018212"/>
                  </a:cubicBezTo>
                  <a:cubicBezTo>
                    <a:pt x="21347" y="960939"/>
                    <a:pt x="6384" y="902117"/>
                    <a:pt x="1224" y="841748"/>
                  </a:cubicBezTo>
                  <a:cubicBezTo>
                    <a:pt x="-1872" y="808725"/>
                    <a:pt x="-1356" y="809241"/>
                    <a:pt x="30635" y="797374"/>
                  </a:cubicBezTo>
                  <a:cubicBezTo>
                    <a:pt x="64173" y="784474"/>
                    <a:pt x="98744" y="775703"/>
                    <a:pt x="134862" y="778799"/>
                  </a:cubicBezTo>
                  <a:cubicBezTo>
                    <a:pt x="144150" y="779315"/>
                    <a:pt x="147246" y="775187"/>
                    <a:pt x="147246" y="765899"/>
                  </a:cubicBezTo>
                  <a:cubicBezTo>
                    <a:pt x="147246" y="742680"/>
                    <a:pt x="148278" y="719461"/>
                    <a:pt x="150342" y="696242"/>
                  </a:cubicBezTo>
                  <a:cubicBezTo>
                    <a:pt x="151373" y="685923"/>
                    <a:pt x="150858" y="678699"/>
                    <a:pt x="137442" y="678699"/>
                  </a:cubicBezTo>
                  <a:cubicBezTo>
                    <a:pt x="92552" y="678699"/>
                    <a:pt x="53854" y="657544"/>
                    <a:pt x="14639" y="639485"/>
                  </a:cubicBezTo>
                  <a:cubicBezTo>
                    <a:pt x="7932" y="636389"/>
                    <a:pt x="6384" y="632261"/>
                    <a:pt x="7932" y="625037"/>
                  </a:cubicBezTo>
                  <a:cubicBezTo>
                    <a:pt x="20315" y="558476"/>
                    <a:pt x="40954" y="494495"/>
                    <a:pt x="69333" y="432578"/>
                  </a:cubicBezTo>
                  <a:cubicBezTo>
                    <a:pt x="72945" y="424838"/>
                    <a:pt x="77073" y="421742"/>
                    <a:pt x="86360" y="423806"/>
                  </a:cubicBezTo>
                  <a:cubicBezTo>
                    <a:pt x="107515" y="428450"/>
                    <a:pt x="129186" y="432578"/>
                    <a:pt x="150858" y="436706"/>
                  </a:cubicBezTo>
                  <a:cubicBezTo>
                    <a:pt x="171497" y="440833"/>
                    <a:pt x="188008" y="453733"/>
                    <a:pt x="206583" y="463536"/>
                  </a:cubicBezTo>
                  <a:cubicBezTo>
                    <a:pt x="216903" y="468696"/>
                    <a:pt x="221546" y="467664"/>
                    <a:pt x="227738" y="457345"/>
                  </a:cubicBezTo>
                  <a:cubicBezTo>
                    <a:pt x="239606" y="436706"/>
                    <a:pt x="253021" y="416582"/>
                    <a:pt x="266952" y="396459"/>
                  </a:cubicBezTo>
                  <a:cubicBezTo>
                    <a:pt x="271596" y="389752"/>
                    <a:pt x="271596" y="385108"/>
                    <a:pt x="264373" y="380980"/>
                  </a:cubicBezTo>
                  <a:cubicBezTo>
                    <a:pt x="225158" y="357761"/>
                    <a:pt x="200391" y="320611"/>
                    <a:pt x="175108" y="284492"/>
                  </a:cubicBezTo>
                  <a:cubicBezTo>
                    <a:pt x="170465" y="277785"/>
                    <a:pt x="170981" y="273657"/>
                    <a:pt x="176140" y="267981"/>
                  </a:cubicBezTo>
                  <a:cubicBezTo>
                    <a:pt x="219998" y="216383"/>
                    <a:pt x="270048" y="171493"/>
                    <a:pt x="325258" y="132279"/>
                  </a:cubicBezTo>
                  <a:cubicBezTo>
                    <a:pt x="331966" y="127635"/>
                    <a:pt x="336609" y="126603"/>
                    <a:pt x="343317" y="132795"/>
                  </a:cubicBezTo>
                  <a:cubicBezTo>
                    <a:pt x="360344" y="148274"/>
                    <a:pt x="378404" y="162722"/>
                    <a:pt x="395431" y="178717"/>
                  </a:cubicBezTo>
                  <a:cubicBezTo>
                    <a:pt x="409362" y="191616"/>
                    <a:pt x="416070" y="209160"/>
                    <a:pt x="426389" y="224639"/>
                  </a:cubicBezTo>
                  <a:cubicBezTo>
                    <a:pt x="437741" y="241666"/>
                    <a:pt x="435161" y="240634"/>
                    <a:pt x="451156" y="231347"/>
                  </a:cubicBezTo>
                  <a:cubicBezTo>
                    <a:pt x="470763" y="219995"/>
                    <a:pt x="491403" y="209676"/>
                    <a:pt x="512042" y="200388"/>
                  </a:cubicBezTo>
                  <a:cubicBezTo>
                    <a:pt x="521329" y="196260"/>
                    <a:pt x="522361" y="192132"/>
                    <a:pt x="518233" y="183877"/>
                  </a:cubicBezTo>
                  <a:cubicBezTo>
                    <a:pt x="499142" y="148274"/>
                    <a:pt x="492434" y="109576"/>
                    <a:pt x="491403" y="69846"/>
                  </a:cubicBezTo>
                  <a:cubicBezTo>
                    <a:pt x="491403" y="66234"/>
                    <a:pt x="490371" y="62106"/>
                    <a:pt x="489855" y="58494"/>
                  </a:cubicBezTo>
                  <a:cubicBezTo>
                    <a:pt x="488307" y="50239"/>
                    <a:pt x="491403" y="46111"/>
                    <a:pt x="499658" y="43015"/>
                  </a:cubicBezTo>
                  <a:cubicBezTo>
                    <a:pt x="563123" y="20312"/>
                    <a:pt x="628653" y="6380"/>
                    <a:pt x="695730" y="189"/>
                  </a:cubicBezTo>
                  <a:cubicBezTo>
                    <a:pt x="706049" y="-843"/>
                    <a:pt x="710693" y="2253"/>
                    <a:pt x="713273" y="12056"/>
                  </a:cubicBezTo>
                  <a:cubicBezTo>
                    <a:pt x="715337" y="19796"/>
                    <a:pt x="717917" y="27536"/>
                    <a:pt x="721012" y="35275"/>
                  </a:cubicBezTo>
                  <a:cubicBezTo>
                    <a:pt x="734428" y="67266"/>
                    <a:pt x="741136" y="99772"/>
                    <a:pt x="738556" y="134343"/>
                  </a:cubicBezTo>
                  <a:cubicBezTo>
                    <a:pt x="737524" y="145694"/>
                    <a:pt x="742168" y="148790"/>
                    <a:pt x="753519" y="148790"/>
                  </a:cubicBezTo>
                  <a:cubicBezTo>
                    <a:pt x="775706" y="148274"/>
                    <a:pt x="797893" y="149822"/>
                    <a:pt x="820596" y="151886"/>
                  </a:cubicBezTo>
                  <a:cubicBezTo>
                    <a:pt x="831948" y="152918"/>
                    <a:pt x="838655" y="152402"/>
                    <a:pt x="838655" y="138471"/>
                  </a:cubicBezTo>
                  <a:cubicBezTo>
                    <a:pt x="838655" y="94097"/>
                    <a:pt x="859810" y="55914"/>
                    <a:pt x="877354" y="16700"/>
                  </a:cubicBezTo>
                  <a:cubicBezTo>
                    <a:pt x="880449" y="9476"/>
                    <a:pt x="885093" y="7928"/>
                    <a:pt x="892317" y="9476"/>
                  </a:cubicBezTo>
                  <a:cubicBezTo>
                    <a:pt x="958878" y="21860"/>
                    <a:pt x="1022859" y="42499"/>
                    <a:pt x="1084777" y="70878"/>
                  </a:cubicBezTo>
                  <a:cubicBezTo>
                    <a:pt x="1092000" y="74489"/>
                    <a:pt x="1095096" y="78617"/>
                    <a:pt x="1093032" y="86873"/>
                  </a:cubicBezTo>
                  <a:cubicBezTo>
                    <a:pt x="1088388" y="108544"/>
                    <a:pt x="1084261" y="130731"/>
                    <a:pt x="1079617" y="152402"/>
                  </a:cubicBezTo>
                  <a:cubicBezTo>
                    <a:pt x="1075489" y="172525"/>
                    <a:pt x="1062590" y="189036"/>
                    <a:pt x="1053302" y="206580"/>
                  </a:cubicBezTo>
                  <a:cubicBezTo>
                    <a:pt x="1047626" y="217415"/>
                    <a:pt x="1048658" y="222575"/>
                    <a:pt x="1060010" y="228251"/>
                  </a:cubicBezTo>
                  <a:cubicBezTo>
                    <a:pt x="1080133" y="239602"/>
                    <a:pt x="1099740" y="252502"/>
                    <a:pt x="1118315" y="265917"/>
                  </a:cubicBezTo>
                  <a:cubicBezTo>
                    <a:pt x="1126571" y="272109"/>
                    <a:pt x="1131214" y="271593"/>
                    <a:pt x="1136374" y="262821"/>
                  </a:cubicBezTo>
                  <a:cubicBezTo>
                    <a:pt x="1159077" y="223607"/>
                    <a:pt x="1196744" y="199872"/>
                    <a:pt x="1232346" y="174589"/>
                  </a:cubicBezTo>
                  <a:cubicBezTo>
                    <a:pt x="1238538" y="170461"/>
                    <a:pt x="1242666" y="170977"/>
                    <a:pt x="1247825" y="175621"/>
                  </a:cubicBezTo>
                  <a:cubicBezTo>
                    <a:pt x="1299939" y="219995"/>
                    <a:pt x="1345345" y="270045"/>
                    <a:pt x="1384559" y="325770"/>
                  </a:cubicBezTo>
                  <a:cubicBezTo>
                    <a:pt x="1389203" y="331962"/>
                    <a:pt x="1389719" y="336606"/>
                    <a:pt x="1384043" y="342798"/>
                  </a:cubicBezTo>
                  <a:cubicBezTo>
                    <a:pt x="1368048" y="360857"/>
                    <a:pt x="1352569" y="379432"/>
                    <a:pt x="1336057" y="396975"/>
                  </a:cubicBezTo>
                  <a:cubicBezTo>
                    <a:pt x="1323674" y="409875"/>
                    <a:pt x="1306131" y="417098"/>
                    <a:pt x="1291167" y="426902"/>
                  </a:cubicBezTo>
                  <a:cubicBezTo>
                    <a:pt x="1276720" y="436706"/>
                    <a:pt x="1276720" y="436190"/>
                    <a:pt x="1284976" y="451153"/>
                  </a:cubicBezTo>
                  <a:cubicBezTo>
                    <a:pt x="1295811" y="471792"/>
                    <a:pt x="1306647" y="492431"/>
                    <a:pt x="1316450" y="513070"/>
                  </a:cubicBezTo>
                  <a:cubicBezTo>
                    <a:pt x="1320062" y="520294"/>
                    <a:pt x="1323158" y="523390"/>
                    <a:pt x="1330898" y="519262"/>
                  </a:cubicBezTo>
                  <a:cubicBezTo>
                    <a:pt x="1367532" y="500171"/>
                    <a:pt x="1406746" y="492431"/>
                    <a:pt x="1447509" y="491399"/>
                  </a:cubicBezTo>
                  <a:cubicBezTo>
                    <a:pt x="1451120" y="491399"/>
                    <a:pt x="1455248" y="490367"/>
                    <a:pt x="1458860" y="489851"/>
                  </a:cubicBezTo>
                  <a:cubicBezTo>
                    <a:pt x="1466600" y="488819"/>
                    <a:pt x="1470728" y="491399"/>
                    <a:pt x="1473307" y="499139"/>
                  </a:cubicBezTo>
                  <a:cubicBezTo>
                    <a:pt x="1493431" y="556412"/>
                    <a:pt x="1508394" y="615234"/>
                    <a:pt x="1513554" y="675603"/>
                  </a:cubicBezTo>
                  <a:cubicBezTo>
                    <a:pt x="1513554" y="676635"/>
                    <a:pt x="1513554" y="678183"/>
                    <a:pt x="1514070" y="679215"/>
                  </a:cubicBezTo>
                  <a:cubicBezTo>
                    <a:pt x="1518713" y="714301"/>
                    <a:pt x="1519745" y="706046"/>
                    <a:pt x="1490335" y="717397"/>
                  </a:cubicBezTo>
                  <a:cubicBezTo>
                    <a:pt x="1454732" y="730813"/>
                    <a:pt x="1418614" y="741648"/>
                    <a:pt x="1379916" y="738036"/>
                  </a:cubicBezTo>
                  <a:cubicBezTo>
                    <a:pt x="1371144" y="737004"/>
                    <a:pt x="1368048" y="740616"/>
                    <a:pt x="1367532" y="749904"/>
                  </a:cubicBezTo>
                  <a:cubicBezTo>
                    <a:pt x="1367016" y="774155"/>
                    <a:pt x="1365984" y="797890"/>
                    <a:pt x="1363920" y="822141"/>
                  </a:cubicBezTo>
                  <a:cubicBezTo>
                    <a:pt x="1363404" y="831944"/>
                    <a:pt x="1363920" y="838136"/>
                    <a:pt x="1375788" y="838136"/>
                  </a:cubicBezTo>
                  <a:cubicBezTo>
                    <a:pt x="1420678" y="838136"/>
                    <a:pt x="1459376" y="858775"/>
                    <a:pt x="1498590" y="876834"/>
                  </a:cubicBezTo>
                  <a:cubicBezTo>
                    <a:pt x="1505298" y="879930"/>
                    <a:pt x="1507878" y="883542"/>
                    <a:pt x="1506330" y="891798"/>
                  </a:cubicBezTo>
                  <a:cubicBezTo>
                    <a:pt x="1493947" y="958875"/>
                    <a:pt x="1472791" y="1023372"/>
                    <a:pt x="1444413" y="1085289"/>
                  </a:cubicBezTo>
                  <a:cubicBezTo>
                    <a:pt x="1441317" y="1092513"/>
                    <a:pt x="1437189" y="1094577"/>
                    <a:pt x="1429449" y="1093029"/>
                  </a:cubicBezTo>
                  <a:cubicBezTo>
                    <a:pt x="1386623" y="1085289"/>
                    <a:pt x="1343797" y="1078581"/>
                    <a:pt x="1306647" y="1052783"/>
                  </a:cubicBezTo>
                  <a:cubicBezTo>
                    <a:pt x="1297875" y="1046591"/>
                    <a:pt x="1293231" y="1048655"/>
                    <a:pt x="1287556" y="1057942"/>
                  </a:cubicBezTo>
                  <a:cubicBezTo>
                    <a:pt x="1275688" y="1078581"/>
                    <a:pt x="1262273" y="1098705"/>
                    <a:pt x="1248857" y="1118828"/>
                  </a:cubicBezTo>
                  <a:cubicBezTo>
                    <a:pt x="1244214" y="1125535"/>
                    <a:pt x="1242150" y="1130179"/>
                    <a:pt x="1250405" y="1135339"/>
                  </a:cubicBezTo>
                  <a:cubicBezTo>
                    <a:pt x="1289620" y="1158558"/>
                    <a:pt x="1313871" y="1194676"/>
                    <a:pt x="1339153" y="1230795"/>
                  </a:cubicBezTo>
                  <a:cubicBezTo>
                    <a:pt x="1344313" y="1238018"/>
                    <a:pt x="1343797" y="1242662"/>
                    <a:pt x="1337605" y="1249370"/>
                  </a:cubicBezTo>
                  <a:cubicBezTo>
                    <a:pt x="1293747" y="1300968"/>
                    <a:pt x="1244214" y="1345342"/>
                    <a:pt x="1189004" y="1384040"/>
                  </a:cubicBezTo>
                  <a:cubicBezTo>
                    <a:pt x="1182296" y="1388684"/>
                    <a:pt x="1177652" y="1389716"/>
                    <a:pt x="1170945" y="1383524"/>
                  </a:cubicBezTo>
                  <a:cubicBezTo>
                    <a:pt x="1153918" y="1368045"/>
                    <a:pt x="1135858" y="1353597"/>
                    <a:pt x="1118831" y="1337602"/>
                  </a:cubicBezTo>
                  <a:cubicBezTo>
                    <a:pt x="1104384" y="1324187"/>
                    <a:pt x="1096644" y="1306128"/>
                    <a:pt x="1086840" y="1289616"/>
                  </a:cubicBezTo>
                  <a:cubicBezTo>
                    <a:pt x="1080133" y="1278265"/>
                    <a:pt x="1074973" y="1277749"/>
                    <a:pt x="1064137" y="1284456"/>
                  </a:cubicBezTo>
                  <a:cubicBezTo>
                    <a:pt x="1044530" y="1296324"/>
                    <a:pt x="1023375" y="1306643"/>
                    <a:pt x="1002220" y="1316447"/>
                  </a:cubicBezTo>
                  <a:cubicBezTo>
                    <a:pt x="993449" y="1320575"/>
                    <a:pt x="991385" y="1324703"/>
                    <a:pt x="996028" y="1332958"/>
                  </a:cubicBezTo>
                  <a:cubicBezTo>
                    <a:pt x="1015120" y="1368561"/>
                    <a:pt x="1021827" y="1407259"/>
                    <a:pt x="1022859" y="1446989"/>
                  </a:cubicBezTo>
                  <a:cubicBezTo>
                    <a:pt x="1022859" y="1451117"/>
                    <a:pt x="1023891" y="1455245"/>
                    <a:pt x="1024407" y="1459889"/>
                  </a:cubicBezTo>
                  <a:cubicBezTo>
                    <a:pt x="1025439" y="1466596"/>
                    <a:pt x="1022859" y="1470724"/>
                    <a:pt x="1015636" y="1473304"/>
                  </a:cubicBezTo>
                  <a:cubicBezTo>
                    <a:pt x="970745" y="1493943"/>
                    <a:pt x="870646" y="1516130"/>
                    <a:pt x="817500" y="1518710"/>
                  </a:cubicBezTo>
                  <a:close/>
                  <a:moveTo>
                    <a:pt x="758163" y="1148238"/>
                  </a:moveTo>
                  <a:cubicBezTo>
                    <a:pt x="974357" y="1144627"/>
                    <a:pt x="1145146" y="976418"/>
                    <a:pt x="1145146" y="758675"/>
                  </a:cubicBezTo>
                  <a:cubicBezTo>
                    <a:pt x="1145146" y="542481"/>
                    <a:pt x="974357" y="371176"/>
                    <a:pt x="757131" y="371176"/>
                  </a:cubicBezTo>
                  <a:cubicBezTo>
                    <a:pt x="539904" y="371176"/>
                    <a:pt x="368600" y="542481"/>
                    <a:pt x="368600" y="759707"/>
                  </a:cubicBezTo>
                  <a:cubicBezTo>
                    <a:pt x="369116" y="977966"/>
                    <a:pt x="541452" y="1145659"/>
                    <a:pt x="758163" y="1148238"/>
                  </a:cubicBezTo>
                  <a:close/>
                </a:path>
              </a:pathLst>
            </a:custGeom>
            <a:grpFill/>
            <a:ln w="51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3A215BE9-B303-434B-9E15-6EC5D7007495}"/>
              </a:ext>
            </a:extLst>
          </p:cNvPr>
          <p:cNvGrpSpPr/>
          <p:nvPr/>
        </p:nvGrpSpPr>
        <p:grpSpPr>
          <a:xfrm>
            <a:off x="8507469" y="529601"/>
            <a:ext cx="2745260" cy="2471860"/>
            <a:chOff x="6486650" y="2648852"/>
            <a:chExt cx="2745260" cy="2471860"/>
          </a:xfrm>
          <a:solidFill>
            <a:schemeClr val="bg1">
              <a:alpha val="5000"/>
            </a:schemeClr>
          </a:solidFill>
        </p:grpSpPr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7809DAD2-AC54-4D08-BA47-B17D63965C4A}"/>
                </a:ext>
              </a:extLst>
            </p:cNvPr>
            <p:cNvSpPr/>
            <p:nvPr/>
          </p:nvSpPr>
          <p:spPr>
            <a:xfrm>
              <a:off x="6486650" y="3806165"/>
              <a:ext cx="1318090" cy="1314547"/>
            </a:xfrm>
            <a:custGeom>
              <a:avLst/>
              <a:gdLst>
                <a:gd name="connsiteX0" fmla="*/ 0 w 1919435"/>
                <a:gd name="connsiteY0" fmla="*/ 987194 h 1914275"/>
                <a:gd name="connsiteX1" fmla="*/ 37667 w 1919435"/>
                <a:gd name="connsiteY1" fmla="*/ 959846 h 1914275"/>
                <a:gd name="connsiteX2" fmla="*/ 169757 w 1919435"/>
                <a:gd name="connsiteY2" fmla="*/ 922696 h 1914275"/>
                <a:gd name="connsiteX3" fmla="*/ 215163 w 1919435"/>
                <a:gd name="connsiteY3" fmla="*/ 872130 h 1914275"/>
                <a:gd name="connsiteX4" fmla="*/ 217743 w 1919435"/>
                <a:gd name="connsiteY4" fmla="*/ 850459 h 1914275"/>
                <a:gd name="connsiteX5" fmla="*/ 189364 w 1919435"/>
                <a:gd name="connsiteY5" fmla="*/ 797830 h 1914275"/>
                <a:gd name="connsiteX6" fmla="*/ 69657 w 1919435"/>
                <a:gd name="connsiteY6" fmla="*/ 727657 h 1914275"/>
                <a:gd name="connsiteX7" fmla="*/ 43858 w 1919435"/>
                <a:gd name="connsiteY7" fmla="*/ 664708 h 1914275"/>
                <a:gd name="connsiteX8" fmla="*/ 46438 w 1919435"/>
                <a:gd name="connsiteY8" fmla="*/ 655936 h 1914275"/>
                <a:gd name="connsiteX9" fmla="*/ 114547 w 1919435"/>
                <a:gd name="connsiteY9" fmla="*/ 608982 h 1914275"/>
                <a:gd name="connsiteX10" fmla="*/ 241478 w 1919435"/>
                <a:gd name="connsiteY10" fmla="*/ 623429 h 1914275"/>
                <a:gd name="connsiteX11" fmla="*/ 306491 w 1919435"/>
                <a:gd name="connsiteY11" fmla="*/ 593503 h 1914275"/>
                <a:gd name="connsiteX12" fmla="*/ 301331 w 1919435"/>
                <a:gd name="connsiteY12" fmla="*/ 505271 h 1914275"/>
                <a:gd name="connsiteX13" fmla="*/ 222386 w 1919435"/>
                <a:gd name="connsiteY13" fmla="*/ 400527 h 1914275"/>
                <a:gd name="connsiteX14" fmla="*/ 222386 w 1919435"/>
                <a:gd name="connsiteY14" fmla="*/ 342222 h 1914275"/>
                <a:gd name="connsiteX15" fmla="*/ 248185 w 1919435"/>
                <a:gd name="connsiteY15" fmla="*/ 313327 h 1914275"/>
                <a:gd name="connsiteX16" fmla="*/ 303395 w 1919435"/>
                <a:gd name="connsiteY16" fmla="*/ 307135 h 1914275"/>
                <a:gd name="connsiteX17" fmla="*/ 420522 w 1919435"/>
                <a:gd name="connsiteY17" fmla="*/ 373180 h 1914275"/>
                <a:gd name="connsiteX18" fmla="*/ 525265 w 1919435"/>
                <a:gd name="connsiteY18" fmla="*/ 343770 h 1914275"/>
                <a:gd name="connsiteX19" fmla="*/ 527845 w 1919435"/>
                <a:gd name="connsiteY19" fmla="*/ 298364 h 1914275"/>
                <a:gd name="connsiteX20" fmla="*/ 493791 w 1919435"/>
                <a:gd name="connsiteY20" fmla="*/ 166789 h 1914275"/>
                <a:gd name="connsiteX21" fmla="*/ 518557 w 1919435"/>
                <a:gd name="connsiteY21" fmla="*/ 105904 h 1914275"/>
                <a:gd name="connsiteX22" fmla="*/ 537649 w 1919435"/>
                <a:gd name="connsiteY22" fmla="*/ 95585 h 1914275"/>
                <a:gd name="connsiteX23" fmla="*/ 608853 w 1919435"/>
                <a:gd name="connsiteY23" fmla="*/ 113128 h 1914275"/>
                <a:gd name="connsiteX24" fmla="*/ 690894 w 1919435"/>
                <a:gd name="connsiteY24" fmla="*/ 217355 h 1914275"/>
                <a:gd name="connsiteX25" fmla="*/ 802861 w 1919435"/>
                <a:gd name="connsiteY25" fmla="*/ 216839 h 1914275"/>
                <a:gd name="connsiteX26" fmla="*/ 816277 w 1919435"/>
                <a:gd name="connsiteY26" fmla="*/ 169369 h 1914275"/>
                <a:gd name="connsiteX27" fmla="*/ 832788 w 1919435"/>
                <a:gd name="connsiteY27" fmla="*/ 48631 h 1914275"/>
                <a:gd name="connsiteX28" fmla="*/ 877677 w 1919435"/>
                <a:gd name="connsiteY28" fmla="*/ 2193 h 1914275"/>
                <a:gd name="connsiteX29" fmla="*/ 917924 w 1919435"/>
                <a:gd name="connsiteY29" fmla="*/ 645 h 1914275"/>
                <a:gd name="connsiteX30" fmla="*/ 956106 w 1919435"/>
                <a:gd name="connsiteY30" fmla="*/ 31603 h 1914275"/>
                <a:gd name="connsiteX31" fmla="*/ 993772 w 1919435"/>
                <a:gd name="connsiteY31" fmla="*/ 163693 h 1914275"/>
                <a:gd name="connsiteX32" fmla="*/ 1089745 w 1919435"/>
                <a:gd name="connsiteY32" fmla="*/ 217871 h 1914275"/>
                <a:gd name="connsiteX33" fmla="*/ 1120703 w 1919435"/>
                <a:gd name="connsiteY33" fmla="*/ 191040 h 1914275"/>
                <a:gd name="connsiteX34" fmla="*/ 1192940 w 1919435"/>
                <a:gd name="connsiteY34" fmla="*/ 68754 h 1914275"/>
                <a:gd name="connsiteX35" fmla="*/ 1251245 w 1919435"/>
                <a:gd name="connsiteY35" fmla="*/ 44503 h 1914275"/>
                <a:gd name="connsiteX36" fmla="*/ 1309035 w 1919435"/>
                <a:gd name="connsiteY36" fmla="*/ 137895 h 1914275"/>
                <a:gd name="connsiteX37" fmla="*/ 1294587 w 1919435"/>
                <a:gd name="connsiteY37" fmla="*/ 255538 h 1914275"/>
                <a:gd name="connsiteX38" fmla="*/ 1294587 w 1919435"/>
                <a:gd name="connsiteY38" fmla="*/ 267921 h 1914275"/>
                <a:gd name="connsiteX39" fmla="*/ 1399331 w 1919435"/>
                <a:gd name="connsiteY39" fmla="*/ 314359 h 1914275"/>
                <a:gd name="connsiteX40" fmla="*/ 1514394 w 1919435"/>
                <a:gd name="connsiteY40" fmla="*/ 228191 h 1914275"/>
                <a:gd name="connsiteX41" fmla="*/ 1584050 w 1919435"/>
                <a:gd name="connsiteY41" fmla="*/ 229223 h 1914275"/>
                <a:gd name="connsiteX42" fmla="*/ 1594886 w 1919435"/>
                <a:gd name="connsiteY42" fmla="*/ 238510 h 1914275"/>
                <a:gd name="connsiteX43" fmla="*/ 1606754 w 1919435"/>
                <a:gd name="connsiteY43" fmla="*/ 317971 h 1914275"/>
                <a:gd name="connsiteX44" fmla="*/ 1543288 w 1919435"/>
                <a:gd name="connsiteY44" fmla="*/ 430970 h 1914275"/>
                <a:gd name="connsiteX45" fmla="*/ 1552060 w 1919435"/>
                <a:gd name="connsiteY45" fmla="*/ 504239 h 1914275"/>
                <a:gd name="connsiteX46" fmla="*/ 1619137 w 1919435"/>
                <a:gd name="connsiteY46" fmla="*/ 531069 h 1914275"/>
                <a:gd name="connsiteX47" fmla="*/ 1754839 w 1919435"/>
                <a:gd name="connsiteY47" fmla="*/ 495467 h 1914275"/>
                <a:gd name="connsiteX48" fmla="*/ 1812629 w 1919435"/>
                <a:gd name="connsiteY48" fmla="*/ 517654 h 1914275"/>
                <a:gd name="connsiteX49" fmla="*/ 1830172 w 1919435"/>
                <a:gd name="connsiteY49" fmla="*/ 552225 h 1914275"/>
                <a:gd name="connsiteX50" fmla="*/ 1815724 w 1919435"/>
                <a:gd name="connsiteY50" fmla="*/ 603306 h 1914275"/>
                <a:gd name="connsiteX51" fmla="*/ 1699630 w 1919435"/>
                <a:gd name="connsiteY51" fmla="*/ 695666 h 1914275"/>
                <a:gd name="connsiteX52" fmla="*/ 1678990 w 1919435"/>
                <a:gd name="connsiteY52" fmla="*/ 751908 h 1914275"/>
                <a:gd name="connsiteX53" fmla="*/ 1685182 w 1919435"/>
                <a:gd name="connsiteY53" fmla="*/ 774611 h 1914275"/>
                <a:gd name="connsiteX54" fmla="*/ 1732652 w 1919435"/>
                <a:gd name="connsiteY54" fmla="*/ 815373 h 1914275"/>
                <a:gd name="connsiteX55" fmla="*/ 1872998 w 1919435"/>
                <a:gd name="connsiteY55" fmla="*/ 834464 h 1914275"/>
                <a:gd name="connsiteX56" fmla="*/ 1918404 w 1919435"/>
                <a:gd name="connsiteY56" fmla="*/ 879354 h 1914275"/>
                <a:gd name="connsiteX57" fmla="*/ 1919952 w 1919435"/>
                <a:gd name="connsiteY57" fmla="*/ 919600 h 1914275"/>
                <a:gd name="connsiteX58" fmla="*/ 1886930 w 1919435"/>
                <a:gd name="connsiteY58" fmla="*/ 958299 h 1914275"/>
                <a:gd name="connsiteX59" fmla="*/ 1754839 w 1919435"/>
                <a:gd name="connsiteY59" fmla="*/ 995965 h 1914275"/>
                <a:gd name="connsiteX60" fmla="*/ 1701178 w 1919435"/>
                <a:gd name="connsiteY60" fmla="*/ 1085229 h 1914275"/>
                <a:gd name="connsiteX61" fmla="*/ 1728524 w 1919435"/>
                <a:gd name="connsiteY61" fmla="*/ 1121348 h 1914275"/>
                <a:gd name="connsiteX62" fmla="*/ 1849779 w 1919435"/>
                <a:gd name="connsiteY62" fmla="*/ 1192552 h 1914275"/>
                <a:gd name="connsiteX63" fmla="*/ 1876094 w 1919435"/>
                <a:gd name="connsiteY63" fmla="*/ 1253954 h 1914275"/>
                <a:gd name="connsiteX64" fmla="*/ 1875062 w 1919435"/>
                <a:gd name="connsiteY64" fmla="*/ 1260145 h 1914275"/>
                <a:gd name="connsiteX65" fmla="*/ 1802309 w 1919435"/>
                <a:gd name="connsiteY65" fmla="*/ 1312259 h 1914275"/>
                <a:gd name="connsiteX66" fmla="*/ 1675379 w 1919435"/>
                <a:gd name="connsiteY66" fmla="*/ 1296264 h 1914275"/>
                <a:gd name="connsiteX67" fmla="*/ 1611398 w 1919435"/>
                <a:gd name="connsiteY67" fmla="*/ 1329286 h 1914275"/>
                <a:gd name="connsiteX68" fmla="*/ 1610365 w 1919435"/>
                <a:gd name="connsiteY68" fmla="*/ 1405651 h 1914275"/>
                <a:gd name="connsiteX69" fmla="*/ 1692406 w 1919435"/>
                <a:gd name="connsiteY69" fmla="*/ 1514006 h 1914275"/>
                <a:gd name="connsiteX70" fmla="*/ 1692406 w 1919435"/>
                <a:gd name="connsiteY70" fmla="*/ 1584695 h 1914275"/>
                <a:gd name="connsiteX71" fmla="*/ 1689310 w 1919435"/>
                <a:gd name="connsiteY71" fmla="*/ 1588307 h 1914275"/>
                <a:gd name="connsiteX72" fmla="*/ 1600562 w 1919435"/>
                <a:gd name="connsiteY72" fmla="*/ 1605850 h 1914275"/>
                <a:gd name="connsiteX73" fmla="*/ 1490659 w 1919435"/>
                <a:gd name="connsiteY73" fmla="*/ 1543933 h 1914275"/>
                <a:gd name="connsiteX74" fmla="*/ 1415326 w 1919435"/>
                <a:gd name="connsiteY74" fmla="*/ 1554769 h 1914275"/>
                <a:gd name="connsiteX75" fmla="*/ 1391075 w 1919435"/>
                <a:gd name="connsiteY75" fmla="*/ 1622877 h 1914275"/>
                <a:gd name="connsiteX76" fmla="*/ 1426677 w 1919435"/>
                <a:gd name="connsiteY76" fmla="*/ 1760128 h 1914275"/>
                <a:gd name="connsiteX77" fmla="*/ 1406554 w 1919435"/>
                <a:gd name="connsiteY77" fmla="*/ 1811725 h 1914275"/>
                <a:gd name="connsiteX78" fmla="*/ 1370436 w 1919435"/>
                <a:gd name="connsiteY78" fmla="*/ 1830300 h 1914275"/>
                <a:gd name="connsiteX79" fmla="*/ 1316258 w 1919435"/>
                <a:gd name="connsiteY79" fmla="*/ 1815337 h 1914275"/>
                <a:gd name="connsiteX80" fmla="*/ 1231122 w 1919435"/>
                <a:gd name="connsiteY80" fmla="*/ 1707498 h 1914275"/>
                <a:gd name="connsiteX81" fmla="*/ 1121219 w 1919435"/>
                <a:gd name="connsiteY81" fmla="*/ 1698210 h 1914275"/>
                <a:gd name="connsiteX82" fmla="*/ 1106771 w 1919435"/>
                <a:gd name="connsiteY82" fmla="*/ 1727105 h 1914275"/>
                <a:gd name="connsiteX83" fmla="*/ 1087165 w 1919435"/>
                <a:gd name="connsiteY83" fmla="*/ 1868999 h 1914275"/>
                <a:gd name="connsiteX84" fmla="*/ 1050014 w 1919435"/>
                <a:gd name="connsiteY84" fmla="*/ 1919049 h 1914275"/>
                <a:gd name="connsiteX85" fmla="*/ 987581 w 1919435"/>
                <a:gd name="connsiteY85" fmla="*/ 1919049 h 1914275"/>
                <a:gd name="connsiteX86" fmla="*/ 960234 w 1919435"/>
                <a:gd name="connsiteY86" fmla="*/ 1880866 h 1914275"/>
                <a:gd name="connsiteX87" fmla="*/ 921535 w 1919435"/>
                <a:gd name="connsiteY87" fmla="*/ 1744132 h 1914275"/>
                <a:gd name="connsiteX88" fmla="*/ 875614 w 1919435"/>
                <a:gd name="connsiteY88" fmla="*/ 1703886 h 1914275"/>
                <a:gd name="connsiteX89" fmla="*/ 847751 w 1919435"/>
                <a:gd name="connsiteY89" fmla="*/ 1700790 h 1914275"/>
                <a:gd name="connsiteX90" fmla="*/ 800281 w 1919435"/>
                <a:gd name="connsiteY90" fmla="*/ 1727105 h 1914275"/>
                <a:gd name="connsiteX91" fmla="*/ 788414 w 1919435"/>
                <a:gd name="connsiteY91" fmla="*/ 1747228 h 1914275"/>
                <a:gd name="connsiteX92" fmla="*/ 723401 w 1919435"/>
                <a:gd name="connsiteY92" fmla="*/ 1857131 h 1914275"/>
                <a:gd name="connsiteX93" fmla="*/ 674383 w 1919435"/>
                <a:gd name="connsiteY93" fmla="*/ 1877254 h 1914275"/>
                <a:gd name="connsiteX94" fmla="*/ 634652 w 1919435"/>
                <a:gd name="connsiteY94" fmla="*/ 1863839 h 1914275"/>
                <a:gd name="connsiteX95" fmla="*/ 607822 w 1919435"/>
                <a:gd name="connsiteY95" fmla="*/ 1813789 h 1914275"/>
                <a:gd name="connsiteX96" fmla="*/ 624848 w 1919435"/>
                <a:gd name="connsiteY96" fmla="*/ 1672927 h 1914275"/>
                <a:gd name="connsiteX97" fmla="*/ 586150 w 1919435"/>
                <a:gd name="connsiteY97" fmla="*/ 1607398 h 1914275"/>
                <a:gd name="connsiteX98" fmla="*/ 514430 w 1919435"/>
                <a:gd name="connsiteY98" fmla="*/ 1611010 h 1914275"/>
                <a:gd name="connsiteX99" fmla="*/ 413814 w 1919435"/>
                <a:gd name="connsiteY99" fmla="*/ 1687375 h 1914275"/>
                <a:gd name="connsiteX100" fmla="*/ 324550 w 1919435"/>
                <a:gd name="connsiteY100" fmla="*/ 1682215 h 1914275"/>
                <a:gd name="connsiteX101" fmla="*/ 316810 w 1919435"/>
                <a:gd name="connsiteY101" fmla="*/ 1674475 h 1914275"/>
                <a:gd name="connsiteX102" fmla="*/ 309071 w 1919435"/>
                <a:gd name="connsiteY102" fmla="*/ 1612558 h 1914275"/>
                <a:gd name="connsiteX103" fmla="*/ 376148 w 1919435"/>
                <a:gd name="connsiteY103" fmla="*/ 1492851 h 1914275"/>
                <a:gd name="connsiteX104" fmla="*/ 387499 w 1919435"/>
                <a:gd name="connsiteY104" fmla="*/ 1456217 h 1914275"/>
                <a:gd name="connsiteX105" fmla="*/ 297203 w 1919435"/>
                <a:gd name="connsiteY105" fmla="*/ 1391720 h 1914275"/>
                <a:gd name="connsiteX106" fmla="*/ 158405 w 1919435"/>
                <a:gd name="connsiteY106" fmla="*/ 1427838 h 1914275"/>
                <a:gd name="connsiteX107" fmla="*/ 114031 w 1919435"/>
                <a:gd name="connsiteY107" fmla="*/ 1412875 h 1914275"/>
                <a:gd name="connsiteX108" fmla="*/ 91844 w 1919435"/>
                <a:gd name="connsiteY108" fmla="*/ 1373660 h 1914275"/>
                <a:gd name="connsiteX109" fmla="*/ 106808 w 1919435"/>
                <a:gd name="connsiteY109" fmla="*/ 1315871 h 1914275"/>
                <a:gd name="connsiteX110" fmla="*/ 209487 w 1919435"/>
                <a:gd name="connsiteY110" fmla="*/ 1234347 h 1914275"/>
                <a:gd name="connsiteX111" fmla="*/ 236834 w 1919435"/>
                <a:gd name="connsiteY111" fmla="*/ 1151274 h 1914275"/>
                <a:gd name="connsiteX112" fmla="*/ 181624 w 1919435"/>
                <a:gd name="connsiteY112" fmla="*/ 1104836 h 1914275"/>
                <a:gd name="connsiteX113" fmla="*/ 52114 w 1919435"/>
                <a:gd name="connsiteY113" fmla="*/ 1087293 h 1914275"/>
                <a:gd name="connsiteX114" fmla="*/ 1032 w 1919435"/>
                <a:gd name="connsiteY114" fmla="*/ 1051175 h 1914275"/>
                <a:gd name="connsiteX115" fmla="*/ 0 w 1919435"/>
                <a:gd name="connsiteY115" fmla="*/ 987194 h 1914275"/>
                <a:gd name="connsiteX116" fmla="*/ 1198616 w 1919435"/>
                <a:gd name="connsiteY116" fmla="*/ 960879 h 1914275"/>
                <a:gd name="connsiteX117" fmla="*/ 958686 w 1919435"/>
                <a:gd name="connsiteY117" fmla="*/ 720949 h 1914275"/>
                <a:gd name="connsiteX118" fmla="*/ 720304 w 1919435"/>
                <a:gd name="connsiteY118" fmla="*/ 959331 h 1914275"/>
                <a:gd name="connsiteX119" fmla="*/ 957654 w 1919435"/>
                <a:gd name="connsiteY119" fmla="*/ 1198744 h 1914275"/>
                <a:gd name="connsiteX120" fmla="*/ 1198616 w 1919435"/>
                <a:gd name="connsiteY120" fmla="*/ 960879 h 1914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1919435" h="1914275">
                  <a:moveTo>
                    <a:pt x="0" y="987194"/>
                  </a:moveTo>
                  <a:cubicBezTo>
                    <a:pt x="8256" y="971714"/>
                    <a:pt x="21155" y="963975"/>
                    <a:pt x="37667" y="959846"/>
                  </a:cubicBezTo>
                  <a:cubicBezTo>
                    <a:pt x="82041" y="947979"/>
                    <a:pt x="125383" y="934564"/>
                    <a:pt x="169757" y="922696"/>
                  </a:cubicBezTo>
                  <a:cubicBezTo>
                    <a:pt x="196587" y="915473"/>
                    <a:pt x="212583" y="900509"/>
                    <a:pt x="215163" y="872130"/>
                  </a:cubicBezTo>
                  <a:cubicBezTo>
                    <a:pt x="215679" y="864907"/>
                    <a:pt x="216710" y="857683"/>
                    <a:pt x="217743" y="850459"/>
                  </a:cubicBezTo>
                  <a:cubicBezTo>
                    <a:pt x="220323" y="826209"/>
                    <a:pt x="209487" y="809697"/>
                    <a:pt x="189364" y="797830"/>
                  </a:cubicBezTo>
                  <a:cubicBezTo>
                    <a:pt x="149118" y="774611"/>
                    <a:pt x="109388" y="750876"/>
                    <a:pt x="69657" y="727657"/>
                  </a:cubicBezTo>
                  <a:cubicBezTo>
                    <a:pt x="40246" y="710629"/>
                    <a:pt x="35087" y="697730"/>
                    <a:pt x="43858" y="664708"/>
                  </a:cubicBezTo>
                  <a:cubicBezTo>
                    <a:pt x="44890" y="661612"/>
                    <a:pt x="45406" y="658516"/>
                    <a:pt x="46438" y="655936"/>
                  </a:cubicBezTo>
                  <a:cubicBezTo>
                    <a:pt x="59337" y="613110"/>
                    <a:pt x="70689" y="604854"/>
                    <a:pt x="114547" y="608982"/>
                  </a:cubicBezTo>
                  <a:cubicBezTo>
                    <a:pt x="156857" y="613110"/>
                    <a:pt x="199167" y="617754"/>
                    <a:pt x="241478" y="623429"/>
                  </a:cubicBezTo>
                  <a:cubicBezTo>
                    <a:pt x="275016" y="627557"/>
                    <a:pt x="289463" y="621881"/>
                    <a:pt x="306491" y="593503"/>
                  </a:cubicBezTo>
                  <a:cubicBezTo>
                    <a:pt x="330741" y="554288"/>
                    <a:pt x="329710" y="541905"/>
                    <a:pt x="301331" y="505271"/>
                  </a:cubicBezTo>
                  <a:cubicBezTo>
                    <a:pt x="274500" y="470700"/>
                    <a:pt x="248185" y="435614"/>
                    <a:pt x="222386" y="400527"/>
                  </a:cubicBezTo>
                  <a:cubicBezTo>
                    <a:pt x="206907" y="379888"/>
                    <a:pt x="206907" y="362861"/>
                    <a:pt x="222386" y="342222"/>
                  </a:cubicBezTo>
                  <a:cubicBezTo>
                    <a:pt x="230126" y="331902"/>
                    <a:pt x="238382" y="321583"/>
                    <a:pt x="248185" y="313327"/>
                  </a:cubicBezTo>
                  <a:cubicBezTo>
                    <a:pt x="267792" y="296816"/>
                    <a:pt x="281208" y="294752"/>
                    <a:pt x="303395" y="307135"/>
                  </a:cubicBezTo>
                  <a:cubicBezTo>
                    <a:pt x="342609" y="328806"/>
                    <a:pt x="382856" y="348929"/>
                    <a:pt x="420522" y="373180"/>
                  </a:cubicBezTo>
                  <a:cubicBezTo>
                    <a:pt x="463864" y="401043"/>
                    <a:pt x="493791" y="382468"/>
                    <a:pt x="525265" y="343770"/>
                  </a:cubicBezTo>
                  <a:cubicBezTo>
                    <a:pt x="535585" y="330870"/>
                    <a:pt x="531973" y="313843"/>
                    <a:pt x="527845" y="298364"/>
                  </a:cubicBezTo>
                  <a:cubicBezTo>
                    <a:pt x="516493" y="254506"/>
                    <a:pt x="505142" y="210647"/>
                    <a:pt x="493791" y="166789"/>
                  </a:cubicBezTo>
                  <a:cubicBezTo>
                    <a:pt x="485535" y="135315"/>
                    <a:pt x="490694" y="122415"/>
                    <a:pt x="518557" y="105904"/>
                  </a:cubicBezTo>
                  <a:cubicBezTo>
                    <a:pt x="524749" y="102292"/>
                    <a:pt x="530941" y="98680"/>
                    <a:pt x="537649" y="95585"/>
                  </a:cubicBezTo>
                  <a:cubicBezTo>
                    <a:pt x="571187" y="80105"/>
                    <a:pt x="586150" y="83717"/>
                    <a:pt x="608853" y="113128"/>
                  </a:cubicBezTo>
                  <a:cubicBezTo>
                    <a:pt x="636200" y="147698"/>
                    <a:pt x="663547" y="182785"/>
                    <a:pt x="690894" y="217355"/>
                  </a:cubicBezTo>
                  <a:cubicBezTo>
                    <a:pt x="716693" y="249346"/>
                    <a:pt x="777062" y="249346"/>
                    <a:pt x="802861" y="216839"/>
                  </a:cubicBezTo>
                  <a:cubicBezTo>
                    <a:pt x="813697" y="202908"/>
                    <a:pt x="813697" y="185365"/>
                    <a:pt x="816277" y="169369"/>
                  </a:cubicBezTo>
                  <a:cubicBezTo>
                    <a:pt x="822468" y="129123"/>
                    <a:pt x="827628" y="88877"/>
                    <a:pt x="832788" y="48631"/>
                  </a:cubicBezTo>
                  <a:cubicBezTo>
                    <a:pt x="836916" y="16640"/>
                    <a:pt x="845687" y="7868"/>
                    <a:pt x="877677" y="2193"/>
                  </a:cubicBezTo>
                  <a:cubicBezTo>
                    <a:pt x="891093" y="-387"/>
                    <a:pt x="904509" y="-387"/>
                    <a:pt x="917924" y="645"/>
                  </a:cubicBezTo>
                  <a:cubicBezTo>
                    <a:pt x="937531" y="1677"/>
                    <a:pt x="950947" y="11996"/>
                    <a:pt x="956106" y="31603"/>
                  </a:cubicBezTo>
                  <a:cubicBezTo>
                    <a:pt x="968490" y="75461"/>
                    <a:pt x="981389" y="119835"/>
                    <a:pt x="993772" y="163693"/>
                  </a:cubicBezTo>
                  <a:cubicBezTo>
                    <a:pt x="1006672" y="208584"/>
                    <a:pt x="1043822" y="229739"/>
                    <a:pt x="1089745" y="217871"/>
                  </a:cubicBezTo>
                  <a:cubicBezTo>
                    <a:pt x="1104707" y="214259"/>
                    <a:pt x="1113479" y="203424"/>
                    <a:pt x="1120703" y="191040"/>
                  </a:cubicBezTo>
                  <a:cubicBezTo>
                    <a:pt x="1144438" y="150278"/>
                    <a:pt x="1168689" y="109516"/>
                    <a:pt x="1192940" y="68754"/>
                  </a:cubicBezTo>
                  <a:cubicBezTo>
                    <a:pt x="1208419" y="42439"/>
                    <a:pt x="1221835" y="36763"/>
                    <a:pt x="1251245" y="44503"/>
                  </a:cubicBezTo>
                  <a:cubicBezTo>
                    <a:pt x="1310067" y="59466"/>
                    <a:pt x="1317806" y="72366"/>
                    <a:pt x="1309035" y="137895"/>
                  </a:cubicBezTo>
                  <a:cubicBezTo>
                    <a:pt x="1303875" y="177109"/>
                    <a:pt x="1299231" y="216323"/>
                    <a:pt x="1294587" y="255538"/>
                  </a:cubicBezTo>
                  <a:cubicBezTo>
                    <a:pt x="1294071" y="259665"/>
                    <a:pt x="1294071" y="263793"/>
                    <a:pt x="1294587" y="267921"/>
                  </a:cubicBezTo>
                  <a:cubicBezTo>
                    <a:pt x="1301295" y="309715"/>
                    <a:pt x="1364760" y="338610"/>
                    <a:pt x="1399331" y="314359"/>
                  </a:cubicBezTo>
                  <a:cubicBezTo>
                    <a:pt x="1438545" y="286496"/>
                    <a:pt x="1476211" y="257085"/>
                    <a:pt x="1514394" y="228191"/>
                  </a:cubicBezTo>
                  <a:cubicBezTo>
                    <a:pt x="1542256" y="207036"/>
                    <a:pt x="1556188" y="207552"/>
                    <a:pt x="1584050" y="229223"/>
                  </a:cubicBezTo>
                  <a:cubicBezTo>
                    <a:pt x="1587663" y="232319"/>
                    <a:pt x="1591274" y="234898"/>
                    <a:pt x="1594886" y="238510"/>
                  </a:cubicBezTo>
                  <a:cubicBezTo>
                    <a:pt x="1627393" y="269469"/>
                    <a:pt x="1628941" y="278757"/>
                    <a:pt x="1606754" y="317971"/>
                  </a:cubicBezTo>
                  <a:cubicBezTo>
                    <a:pt x="1585599" y="355637"/>
                    <a:pt x="1565475" y="393819"/>
                    <a:pt x="1543288" y="430970"/>
                  </a:cubicBezTo>
                  <a:cubicBezTo>
                    <a:pt x="1527293" y="458317"/>
                    <a:pt x="1534517" y="481020"/>
                    <a:pt x="1552060" y="504239"/>
                  </a:cubicBezTo>
                  <a:cubicBezTo>
                    <a:pt x="1569604" y="527458"/>
                    <a:pt x="1589726" y="538809"/>
                    <a:pt x="1619137" y="531069"/>
                  </a:cubicBezTo>
                  <a:cubicBezTo>
                    <a:pt x="1664543" y="519202"/>
                    <a:pt x="1709949" y="507850"/>
                    <a:pt x="1754839" y="495467"/>
                  </a:cubicBezTo>
                  <a:cubicBezTo>
                    <a:pt x="1783734" y="487727"/>
                    <a:pt x="1796634" y="492371"/>
                    <a:pt x="1812629" y="517654"/>
                  </a:cubicBezTo>
                  <a:cubicBezTo>
                    <a:pt x="1819853" y="528490"/>
                    <a:pt x="1826044" y="539841"/>
                    <a:pt x="1830172" y="552225"/>
                  </a:cubicBezTo>
                  <a:cubicBezTo>
                    <a:pt x="1837912" y="574412"/>
                    <a:pt x="1834299" y="588343"/>
                    <a:pt x="1815724" y="603306"/>
                  </a:cubicBezTo>
                  <a:cubicBezTo>
                    <a:pt x="1777026" y="634265"/>
                    <a:pt x="1738844" y="665224"/>
                    <a:pt x="1699630" y="695666"/>
                  </a:cubicBezTo>
                  <a:cubicBezTo>
                    <a:pt x="1680022" y="710629"/>
                    <a:pt x="1674862" y="729205"/>
                    <a:pt x="1678990" y="751908"/>
                  </a:cubicBezTo>
                  <a:cubicBezTo>
                    <a:pt x="1680539" y="759647"/>
                    <a:pt x="1683119" y="766871"/>
                    <a:pt x="1685182" y="774611"/>
                  </a:cubicBezTo>
                  <a:cubicBezTo>
                    <a:pt x="1691890" y="798862"/>
                    <a:pt x="1707885" y="812277"/>
                    <a:pt x="1732652" y="815373"/>
                  </a:cubicBezTo>
                  <a:cubicBezTo>
                    <a:pt x="1779606" y="821565"/>
                    <a:pt x="1826560" y="828272"/>
                    <a:pt x="1872998" y="834464"/>
                  </a:cubicBezTo>
                  <a:cubicBezTo>
                    <a:pt x="1900861" y="838076"/>
                    <a:pt x="1915308" y="851491"/>
                    <a:pt x="1918404" y="879354"/>
                  </a:cubicBezTo>
                  <a:cubicBezTo>
                    <a:pt x="1919952" y="892770"/>
                    <a:pt x="1921500" y="906185"/>
                    <a:pt x="1919952" y="919600"/>
                  </a:cubicBezTo>
                  <a:cubicBezTo>
                    <a:pt x="1917372" y="940755"/>
                    <a:pt x="1906536" y="952623"/>
                    <a:pt x="1886930" y="958299"/>
                  </a:cubicBezTo>
                  <a:cubicBezTo>
                    <a:pt x="1843071" y="970682"/>
                    <a:pt x="1798697" y="983065"/>
                    <a:pt x="1754839" y="995965"/>
                  </a:cubicBezTo>
                  <a:cubicBezTo>
                    <a:pt x="1712013" y="1008348"/>
                    <a:pt x="1692406" y="1040855"/>
                    <a:pt x="1701178" y="1085229"/>
                  </a:cubicBezTo>
                  <a:cubicBezTo>
                    <a:pt x="1704273" y="1102256"/>
                    <a:pt x="1714077" y="1113092"/>
                    <a:pt x="1728524" y="1121348"/>
                  </a:cubicBezTo>
                  <a:cubicBezTo>
                    <a:pt x="1768771" y="1145083"/>
                    <a:pt x="1809016" y="1168817"/>
                    <a:pt x="1849779" y="1192552"/>
                  </a:cubicBezTo>
                  <a:cubicBezTo>
                    <a:pt x="1879706" y="1210096"/>
                    <a:pt x="1884350" y="1220415"/>
                    <a:pt x="1876094" y="1253954"/>
                  </a:cubicBezTo>
                  <a:cubicBezTo>
                    <a:pt x="1875578" y="1256018"/>
                    <a:pt x="1875578" y="1258082"/>
                    <a:pt x="1875062" y="1260145"/>
                  </a:cubicBezTo>
                  <a:cubicBezTo>
                    <a:pt x="1862678" y="1300908"/>
                    <a:pt x="1848747" y="1321031"/>
                    <a:pt x="1802309" y="1312259"/>
                  </a:cubicBezTo>
                  <a:cubicBezTo>
                    <a:pt x="1760515" y="1304003"/>
                    <a:pt x="1717689" y="1302456"/>
                    <a:pt x="1675379" y="1296264"/>
                  </a:cubicBezTo>
                  <a:cubicBezTo>
                    <a:pt x="1645452" y="1292136"/>
                    <a:pt x="1625845" y="1304003"/>
                    <a:pt x="1611398" y="1329286"/>
                  </a:cubicBezTo>
                  <a:cubicBezTo>
                    <a:pt x="1596434" y="1355085"/>
                    <a:pt x="1589726" y="1379336"/>
                    <a:pt x="1610365" y="1405651"/>
                  </a:cubicBezTo>
                  <a:cubicBezTo>
                    <a:pt x="1638228" y="1441254"/>
                    <a:pt x="1665059" y="1477888"/>
                    <a:pt x="1692406" y="1514006"/>
                  </a:cubicBezTo>
                  <a:cubicBezTo>
                    <a:pt x="1715109" y="1543417"/>
                    <a:pt x="1715109" y="1555285"/>
                    <a:pt x="1692406" y="1584695"/>
                  </a:cubicBezTo>
                  <a:cubicBezTo>
                    <a:pt x="1691374" y="1585727"/>
                    <a:pt x="1690342" y="1587275"/>
                    <a:pt x="1689310" y="1588307"/>
                  </a:cubicBezTo>
                  <a:cubicBezTo>
                    <a:pt x="1659383" y="1620298"/>
                    <a:pt x="1647516" y="1634229"/>
                    <a:pt x="1600562" y="1605850"/>
                  </a:cubicBezTo>
                  <a:cubicBezTo>
                    <a:pt x="1564444" y="1584179"/>
                    <a:pt x="1526261" y="1565604"/>
                    <a:pt x="1490659" y="1543933"/>
                  </a:cubicBezTo>
                  <a:cubicBezTo>
                    <a:pt x="1461248" y="1526390"/>
                    <a:pt x="1438545" y="1536709"/>
                    <a:pt x="1415326" y="1554769"/>
                  </a:cubicBezTo>
                  <a:cubicBezTo>
                    <a:pt x="1392107" y="1572312"/>
                    <a:pt x="1382819" y="1593467"/>
                    <a:pt x="1391075" y="1622877"/>
                  </a:cubicBezTo>
                  <a:cubicBezTo>
                    <a:pt x="1403974" y="1668284"/>
                    <a:pt x="1415326" y="1714205"/>
                    <a:pt x="1426677" y="1760128"/>
                  </a:cubicBezTo>
                  <a:cubicBezTo>
                    <a:pt x="1432870" y="1784894"/>
                    <a:pt x="1427710" y="1798310"/>
                    <a:pt x="1406554" y="1811725"/>
                  </a:cubicBezTo>
                  <a:cubicBezTo>
                    <a:pt x="1395203" y="1818949"/>
                    <a:pt x="1383335" y="1825657"/>
                    <a:pt x="1370436" y="1830300"/>
                  </a:cubicBezTo>
                  <a:cubicBezTo>
                    <a:pt x="1347733" y="1838556"/>
                    <a:pt x="1331222" y="1834428"/>
                    <a:pt x="1316258" y="1815337"/>
                  </a:cubicBezTo>
                  <a:cubicBezTo>
                    <a:pt x="1287879" y="1779735"/>
                    <a:pt x="1259501" y="1743616"/>
                    <a:pt x="1231122" y="1707498"/>
                  </a:cubicBezTo>
                  <a:cubicBezTo>
                    <a:pt x="1203775" y="1673443"/>
                    <a:pt x="1154242" y="1668800"/>
                    <a:pt x="1121219" y="1698210"/>
                  </a:cubicBezTo>
                  <a:cubicBezTo>
                    <a:pt x="1112447" y="1705950"/>
                    <a:pt x="1108320" y="1715753"/>
                    <a:pt x="1106771" y="1727105"/>
                  </a:cubicBezTo>
                  <a:cubicBezTo>
                    <a:pt x="1100064" y="1774575"/>
                    <a:pt x="1092324" y="1821529"/>
                    <a:pt x="1087165" y="1868999"/>
                  </a:cubicBezTo>
                  <a:cubicBezTo>
                    <a:pt x="1084068" y="1893766"/>
                    <a:pt x="1074265" y="1911309"/>
                    <a:pt x="1050014" y="1919049"/>
                  </a:cubicBezTo>
                  <a:cubicBezTo>
                    <a:pt x="1029375" y="1919049"/>
                    <a:pt x="1008220" y="1919049"/>
                    <a:pt x="987581" y="1919049"/>
                  </a:cubicBezTo>
                  <a:cubicBezTo>
                    <a:pt x="973133" y="1910277"/>
                    <a:pt x="964878" y="1897377"/>
                    <a:pt x="960234" y="1880866"/>
                  </a:cubicBezTo>
                  <a:cubicBezTo>
                    <a:pt x="947851" y="1835460"/>
                    <a:pt x="933919" y="1790054"/>
                    <a:pt x="921535" y="1744132"/>
                  </a:cubicBezTo>
                  <a:cubicBezTo>
                    <a:pt x="914828" y="1719881"/>
                    <a:pt x="899865" y="1706982"/>
                    <a:pt x="875614" y="1703886"/>
                  </a:cubicBezTo>
                  <a:cubicBezTo>
                    <a:pt x="866326" y="1702854"/>
                    <a:pt x="857038" y="1701306"/>
                    <a:pt x="847751" y="1700790"/>
                  </a:cubicBezTo>
                  <a:cubicBezTo>
                    <a:pt x="826080" y="1699242"/>
                    <a:pt x="811117" y="1709046"/>
                    <a:pt x="800281" y="1727105"/>
                  </a:cubicBezTo>
                  <a:cubicBezTo>
                    <a:pt x="796153" y="1733813"/>
                    <a:pt x="792541" y="1740520"/>
                    <a:pt x="788414" y="1747228"/>
                  </a:cubicBezTo>
                  <a:cubicBezTo>
                    <a:pt x="766742" y="1783862"/>
                    <a:pt x="745587" y="1821013"/>
                    <a:pt x="723401" y="1857131"/>
                  </a:cubicBezTo>
                  <a:cubicBezTo>
                    <a:pt x="711533" y="1877254"/>
                    <a:pt x="697085" y="1882414"/>
                    <a:pt x="674383" y="1877254"/>
                  </a:cubicBezTo>
                  <a:cubicBezTo>
                    <a:pt x="660451" y="1874158"/>
                    <a:pt x="647552" y="1869515"/>
                    <a:pt x="634652" y="1863839"/>
                  </a:cubicBezTo>
                  <a:cubicBezTo>
                    <a:pt x="611949" y="1853003"/>
                    <a:pt x="604726" y="1839072"/>
                    <a:pt x="607822" y="1813789"/>
                  </a:cubicBezTo>
                  <a:cubicBezTo>
                    <a:pt x="613497" y="1766835"/>
                    <a:pt x="618141" y="1719881"/>
                    <a:pt x="624848" y="1672927"/>
                  </a:cubicBezTo>
                  <a:cubicBezTo>
                    <a:pt x="629492" y="1639905"/>
                    <a:pt x="611949" y="1621846"/>
                    <a:pt x="586150" y="1607398"/>
                  </a:cubicBezTo>
                  <a:cubicBezTo>
                    <a:pt x="560868" y="1593467"/>
                    <a:pt x="538165" y="1591403"/>
                    <a:pt x="514430" y="1611010"/>
                  </a:cubicBezTo>
                  <a:cubicBezTo>
                    <a:pt x="481407" y="1637325"/>
                    <a:pt x="446836" y="1661576"/>
                    <a:pt x="413814" y="1687375"/>
                  </a:cubicBezTo>
                  <a:cubicBezTo>
                    <a:pt x="380276" y="1713690"/>
                    <a:pt x="365828" y="1719365"/>
                    <a:pt x="324550" y="1682215"/>
                  </a:cubicBezTo>
                  <a:cubicBezTo>
                    <a:pt x="321970" y="1679635"/>
                    <a:pt x="319390" y="1677055"/>
                    <a:pt x="316810" y="1674475"/>
                  </a:cubicBezTo>
                  <a:cubicBezTo>
                    <a:pt x="296687" y="1653836"/>
                    <a:pt x="294623" y="1637841"/>
                    <a:pt x="309071" y="1612558"/>
                  </a:cubicBezTo>
                  <a:cubicBezTo>
                    <a:pt x="331258" y="1572828"/>
                    <a:pt x="353960" y="1532581"/>
                    <a:pt x="376148" y="1492851"/>
                  </a:cubicBezTo>
                  <a:cubicBezTo>
                    <a:pt x="382339" y="1481500"/>
                    <a:pt x="389047" y="1470148"/>
                    <a:pt x="387499" y="1456217"/>
                  </a:cubicBezTo>
                  <a:cubicBezTo>
                    <a:pt x="383887" y="1414423"/>
                    <a:pt x="337449" y="1381400"/>
                    <a:pt x="297203" y="1391720"/>
                  </a:cubicBezTo>
                  <a:cubicBezTo>
                    <a:pt x="250765" y="1403587"/>
                    <a:pt x="204327" y="1415455"/>
                    <a:pt x="158405" y="1427838"/>
                  </a:cubicBezTo>
                  <a:cubicBezTo>
                    <a:pt x="139830" y="1432998"/>
                    <a:pt x="125899" y="1427322"/>
                    <a:pt x="114031" y="1412875"/>
                  </a:cubicBezTo>
                  <a:cubicBezTo>
                    <a:pt x="104228" y="1401007"/>
                    <a:pt x="98036" y="1387592"/>
                    <a:pt x="91844" y="1373660"/>
                  </a:cubicBezTo>
                  <a:cubicBezTo>
                    <a:pt x="81525" y="1349409"/>
                    <a:pt x="86169" y="1331866"/>
                    <a:pt x="106808" y="1315871"/>
                  </a:cubicBezTo>
                  <a:cubicBezTo>
                    <a:pt x="140862" y="1288524"/>
                    <a:pt x="175432" y="1261693"/>
                    <a:pt x="209487" y="1234347"/>
                  </a:cubicBezTo>
                  <a:cubicBezTo>
                    <a:pt x="245605" y="1206484"/>
                    <a:pt x="248701" y="1194616"/>
                    <a:pt x="236834" y="1151274"/>
                  </a:cubicBezTo>
                  <a:cubicBezTo>
                    <a:pt x="228578" y="1122896"/>
                    <a:pt x="211551" y="1107932"/>
                    <a:pt x="181624" y="1104836"/>
                  </a:cubicBezTo>
                  <a:cubicBezTo>
                    <a:pt x="138282" y="1100192"/>
                    <a:pt x="95456" y="1091937"/>
                    <a:pt x="52114" y="1087293"/>
                  </a:cubicBezTo>
                  <a:cubicBezTo>
                    <a:pt x="27347" y="1084713"/>
                    <a:pt x="9804" y="1074910"/>
                    <a:pt x="1032" y="1051175"/>
                  </a:cubicBezTo>
                  <a:cubicBezTo>
                    <a:pt x="0" y="1028988"/>
                    <a:pt x="0" y="1008348"/>
                    <a:pt x="0" y="987194"/>
                  </a:cubicBezTo>
                  <a:close/>
                  <a:moveTo>
                    <a:pt x="1198616" y="960879"/>
                  </a:moveTo>
                  <a:cubicBezTo>
                    <a:pt x="1200163" y="838592"/>
                    <a:pt x="1104192" y="720433"/>
                    <a:pt x="958686" y="720949"/>
                  </a:cubicBezTo>
                  <a:cubicBezTo>
                    <a:pt x="824016" y="721465"/>
                    <a:pt x="720821" y="824145"/>
                    <a:pt x="720304" y="959331"/>
                  </a:cubicBezTo>
                  <a:cubicBezTo>
                    <a:pt x="719788" y="1096581"/>
                    <a:pt x="827628" y="1197712"/>
                    <a:pt x="957654" y="1198744"/>
                  </a:cubicBezTo>
                  <a:cubicBezTo>
                    <a:pt x="1090776" y="1199776"/>
                    <a:pt x="1198100" y="1092969"/>
                    <a:pt x="1198616" y="960879"/>
                  </a:cubicBezTo>
                  <a:close/>
                </a:path>
              </a:pathLst>
            </a:custGeom>
            <a:grpFill/>
            <a:ln w="51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32FE9CBB-A365-4955-9D17-02A906A0A62F}"/>
                </a:ext>
              </a:extLst>
            </p:cNvPr>
            <p:cNvGrpSpPr/>
            <p:nvPr/>
          </p:nvGrpSpPr>
          <p:grpSpPr>
            <a:xfrm>
              <a:off x="7392963" y="2648852"/>
              <a:ext cx="1838947" cy="1835405"/>
              <a:chOff x="7167947" y="1624190"/>
              <a:chExt cx="2677922" cy="2672763"/>
            </a:xfrm>
            <a:grpFill/>
          </p:grpSpPr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5449B596-5392-4413-8239-0EFAC58C51AC}"/>
                  </a:ext>
                </a:extLst>
              </p:cNvPr>
              <p:cNvSpPr/>
              <p:nvPr/>
            </p:nvSpPr>
            <p:spPr>
              <a:xfrm>
                <a:off x="7167947" y="1624190"/>
                <a:ext cx="2677922" cy="2672763"/>
              </a:xfrm>
              <a:custGeom>
                <a:avLst/>
                <a:gdLst>
                  <a:gd name="connsiteX0" fmla="*/ 2538684 w 2677922"/>
                  <a:gd name="connsiteY0" fmla="*/ 1897505 h 2672762"/>
                  <a:gd name="connsiteX1" fmla="*/ 2456643 w 2677922"/>
                  <a:gd name="connsiteY1" fmla="*/ 1879446 h 2672762"/>
                  <a:gd name="connsiteX2" fmla="*/ 2389566 w 2677922"/>
                  <a:gd name="connsiteY2" fmla="*/ 1863966 h 2672762"/>
                  <a:gd name="connsiteX3" fmla="*/ 2354479 w 2677922"/>
                  <a:gd name="connsiteY3" fmla="*/ 1874802 h 2672762"/>
                  <a:gd name="connsiteX4" fmla="*/ 2312170 w 2677922"/>
                  <a:gd name="connsiteY4" fmla="*/ 1950651 h 2672762"/>
                  <a:gd name="connsiteX5" fmla="*/ 2322489 w 2677922"/>
                  <a:gd name="connsiteY5" fmla="*/ 1983157 h 2672762"/>
                  <a:gd name="connsiteX6" fmla="*/ 2412785 w 2677922"/>
                  <a:gd name="connsiteY6" fmla="*/ 2080161 h 2672762"/>
                  <a:gd name="connsiteX7" fmla="*/ 2418461 w 2677922"/>
                  <a:gd name="connsiteY7" fmla="*/ 2146722 h 2672762"/>
                  <a:gd name="connsiteX8" fmla="*/ 2414849 w 2677922"/>
                  <a:gd name="connsiteY8" fmla="*/ 2151882 h 2672762"/>
                  <a:gd name="connsiteX9" fmla="*/ 2324037 w 2677922"/>
                  <a:gd name="connsiteY9" fmla="*/ 2174585 h 2672762"/>
                  <a:gd name="connsiteX10" fmla="*/ 2219294 w 2677922"/>
                  <a:gd name="connsiteY10" fmla="*/ 2118859 h 2672762"/>
                  <a:gd name="connsiteX11" fmla="*/ 2178531 w 2677922"/>
                  <a:gd name="connsiteY11" fmla="*/ 2120407 h 2672762"/>
                  <a:gd name="connsiteX12" fmla="*/ 2125386 w 2677922"/>
                  <a:gd name="connsiteY12" fmla="*/ 2172521 h 2672762"/>
                  <a:gd name="connsiteX13" fmla="*/ 2122806 w 2677922"/>
                  <a:gd name="connsiteY13" fmla="*/ 2217411 h 2672762"/>
                  <a:gd name="connsiteX14" fmla="*/ 2184723 w 2677922"/>
                  <a:gd name="connsiteY14" fmla="*/ 2334538 h 2672762"/>
                  <a:gd name="connsiteX15" fmla="*/ 2174404 w 2677922"/>
                  <a:gd name="connsiteY15" fmla="*/ 2395423 h 2672762"/>
                  <a:gd name="connsiteX16" fmla="*/ 2164084 w 2677922"/>
                  <a:gd name="connsiteY16" fmla="*/ 2404711 h 2672762"/>
                  <a:gd name="connsiteX17" fmla="*/ 2075336 w 2677922"/>
                  <a:gd name="connsiteY17" fmla="*/ 2401615 h 2672762"/>
                  <a:gd name="connsiteX18" fmla="*/ 1988652 w 2677922"/>
                  <a:gd name="connsiteY18" fmla="*/ 2320606 h 2672762"/>
                  <a:gd name="connsiteX19" fmla="*/ 1944277 w 2677922"/>
                  <a:gd name="connsiteY19" fmla="*/ 2311835 h 2672762"/>
                  <a:gd name="connsiteX20" fmla="*/ 1883392 w 2677922"/>
                  <a:gd name="connsiteY20" fmla="*/ 2346405 h 2672762"/>
                  <a:gd name="connsiteX21" fmla="*/ 1868429 w 2677922"/>
                  <a:gd name="connsiteY21" fmla="*/ 2391811 h 2672762"/>
                  <a:gd name="connsiteX22" fmla="*/ 1899388 w 2677922"/>
                  <a:gd name="connsiteY22" fmla="*/ 2526997 h 2672762"/>
                  <a:gd name="connsiteX23" fmla="*/ 1879264 w 2677922"/>
                  <a:gd name="connsiteY23" fmla="*/ 2571887 h 2672762"/>
                  <a:gd name="connsiteX24" fmla="*/ 1841082 w 2677922"/>
                  <a:gd name="connsiteY24" fmla="*/ 2588915 h 2672762"/>
                  <a:gd name="connsiteX25" fmla="*/ 1782777 w 2677922"/>
                  <a:gd name="connsiteY25" fmla="*/ 2568276 h 2672762"/>
                  <a:gd name="connsiteX26" fmla="*/ 1715184 w 2677922"/>
                  <a:gd name="connsiteY26" fmla="*/ 2459404 h 2672762"/>
                  <a:gd name="connsiteX27" fmla="*/ 1664618 w 2677922"/>
                  <a:gd name="connsiteY27" fmla="*/ 2435669 h 2672762"/>
                  <a:gd name="connsiteX28" fmla="*/ 1610440 w 2677922"/>
                  <a:gd name="connsiteY28" fmla="*/ 2450117 h 2672762"/>
                  <a:gd name="connsiteX29" fmla="*/ 1577418 w 2677922"/>
                  <a:gd name="connsiteY29" fmla="*/ 2495007 h 2672762"/>
                  <a:gd name="connsiteX30" fmla="*/ 1573806 w 2677922"/>
                  <a:gd name="connsiteY30" fmla="*/ 2616777 h 2672762"/>
                  <a:gd name="connsiteX31" fmla="*/ 1526852 w 2677922"/>
                  <a:gd name="connsiteY31" fmla="*/ 2672503 h 2672762"/>
                  <a:gd name="connsiteX32" fmla="*/ 1497441 w 2677922"/>
                  <a:gd name="connsiteY32" fmla="*/ 2676115 h 2672762"/>
                  <a:gd name="connsiteX33" fmla="*/ 1449972 w 2677922"/>
                  <a:gd name="connsiteY33" fmla="*/ 2644124 h 2672762"/>
                  <a:gd name="connsiteX34" fmla="*/ 1410241 w 2677922"/>
                  <a:gd name="connsiteY34" fmla="*/ 2514614 h 2672762"/>
                  <a:gd name="connsiteX35" fmla="*/ 1373091 w 2677922"/>
                  <a:gd name="connsiteY35" fmla="*/ 2482623 h 2672762"/>
                  <a:gd name="connsiteX36" fmla="*/ 1304982 w 2677922"/>
                  <a:gd name="connsiteY36" fmla="*/ 2483139 h 2672762"/>
                  <a:gd name="connsiteX37" fmla="*/ 1271959 w 2677922"/>
                  <a:gd name="connsiteY37" fmla="*/ 2511518 h 2672762"/>
                  <a:gd name="connsiteX38" fmla="*/ 1234293 w 2677922"/>
                  <a:gd name="connsiteY38" fmla="*/ 2633805 h 2672762"/>
                  <a:gd name="connsiteX39" fmla="*/ 1170828 w 2677922"/>
                  <a:gd name="connsiteY39" fmla="*/ 2674567 h 2672762"/>
                  <a:gd name="connsiteX40" fmla="*/ 1106847 w 2677922"/>
                  <a:gd name="connsiteY40" fmla="*/ 2602330 h 2672762"/>
                  <a:gd name="connsiteX41" fmla="*/ 1103751 w 2677922"/>
                  <a:gd name="connsiteY41" fmla="*/ 2491395 h 2672762"/>
                  <a:gd name="connsiteX42" fmla="*/ 1080532 w 2677922"/>
                  <a:gd name="connsiteY42" fmla="*/ 2454244 h 2672762"/>
                  <a:gd name="connsiteX43" fmla="*/ 1005199 w 2677922"/>
                  <a:gd name="connsiteY43" fmla="*/ 2435153 h 2672762"/>
                  <a:gd name="connsiteX44" fmla="*/ 969080 w 2677922"/>
                  <a:gd name="connsiteY44" fmla="*/ 2454244 h 2672762"/>
                  <a:gd name="connsiteX45" fmla="*/ 900456 w 2677922"/>
                  <a:gd name="connsiteY45" fmla="*/ 2564148 h 2672762"/>
                  <a:gd name="connsiteX46" fmla="*/ 836474 w 2677922"/>
                  <a:gd name="connsiteY46" fmla="*/ 2587367 h 2672762"/>
                  <a:gd name="connsiteX47" fmla="*/ 831830 w 2677922"/>
                  <a:gd name="connsiteY47" fmla="*/ 2585819 h 2672762"/>
                  <a:gd name="connsiteX48" fmla="*/ 785392 w 2677922"/>
                  <a:gd name="connsiteY48" fmla="*/ 2504810 h 2672762"/>
                  <a:gd name="connsiteX49" fmla="*/ 811707 w 2677922"/>
                  <a:gd name="connsiteY49" fmla="*/ 2390779 h 2672762"/>
                  <a:gd name="connsiteX50" fmla="*/ 794680 w 2677922"/>
                  <a:gd name="connsiteY50" fmla="*/ 2344341 h 2672762"/>
                  <a:gd name="connsiteX51" fmla="*/ 739470 w 2677922"/>
                  <a:gd name="connsiteY51" fmla="*/ 2312351 h 2672762"/>
                  <a:gd name="connsiteX52" fmla="*/ 689421 w 2677922"/>
                  <a:gd name="connsiteY52" fmla="*/ 2321638 h 2672762"/>
                  <a:gd name="connsiteX53" fmla="*/ 596029 w 2677922"/>
                  <a:gd name="connsiteY53" fmla="*/ 2408838 h 2672762"/>
                  <a:gd name="connsiteX54" fmla="*/ 530500 w 2677922"/>
                  <a:gd name="connsiteY54" fmla="*/ 2415030 h 2672762"/>
                  <a:gd name="connsiteX55" fmla="*/ 521212 w 2677922"/>
                  <a:gd name="connsiteY55" fmla="*/ 2408838 h 2672762"/>
                  <a:gd name="connsiteX56" fmla="*/ 500573 w 2677922"/>
                  <a:gd name="connsiteY56" fmla="*/ 2322670 h 2672762"/>
                  <a:gd name="connsiteX57" fmla="*/ 556298 w 2677922"/>
                  <a:gd name="connsiteY57" fmla="*/ 2217927 h 2672762"/>
                  <a:gd name="connsiteX58" fmla="*/ 552171 w 2677922"/>
                  <a:gd name="connsiteY58" fmla="*/ 2168909 h 2672762"/>
                  <a:gd name="connsiteX59" fmla="*/ 505733 w 2677922"/>
                  <a:gd name="connsiteY59" fmla="*/ 2122987 h 2672762"/>
                  <a:gd name="connsiteX60" fmla="*/ 457747 w 2677922"/>
                  <a:gd name="connsiteY60" fmla="*/ 2119375 h 2672762"/>
                  <a:gd name="connsiteX61" fmla="*/ 341652 w 2677922"/>
                  <a:gd name="connsiteY61" fmla="*/ 2180777 h 2672762"/>
                  <a:gd name="connsiteX62" fmla="*/ 278187 w 2677922"/>
                  <a:gd name="connsiteY62" fmla="*/ 2168909 h 2672762"/>
                  <a:gd name="connsiteX63" fmla="*/ 274059 w 2677922"/>
                  <a:gd name="connsiteY63" fmla="*/ 2164265 h 2672762"/>
                  <a:gd name="connsiteX64" fmla="*/ 276639 w 2677922"/>
                  <a:gd name="connsiteY64" fmla="*/ 2069325 h 2672762"/>
                  <a:gd name="connsiteX65" fmla="*/ 354551 w 2677922"/>
                  <a:gd name="connsiteY65" fmla="*/ 1986253 h 2672762"/>
                  <a:gd name="connsiteX66" fmla="*/ 363839 w 2677922"/>
                  <a:gd name="connsiteY66" fmla="*/ 1940847 h 2672762"/>
                  <a:gd name="connsiteX67" fmla="*/ 328237 w 2677922"/>
                  <a:gd name="connsiteY67" fmla="*/ 1878930 h 2672762"/>
                  <a:gd name="connsiteX68" fmla="*/ 283347 w 2677922"/>
                  <a:gd name="connsiteY68" fmla="*/ 1866030 h 2672762"/>
                  <a:gd name="connsiteX69" fmla="*/ 170864 w 2677922"/>
                  <a:gd name="connsiteY69" fmla="*/ 1891829 h 2672762"/>
                  <a:gd name="connsiteX70" fmla="*/ 155900 w 2677922"/>
                  <a:gd name="connsiteY70" fmla="*/ 1895441 h 2672762"/>
                  <a:gd name="connsiteX71" fmla="*/ 100175 w 2677922"/>
                  <a:gd name="connsiteY71" fmla="*/ 1868094 h 2672762"/>
                  <a:gd name="connsiteX72" fmla="*/ 87275 w 2677922"/>
                  <a:gd name="connsiteY72" fmla="*/ 1838168 h 2672762"/>
                  <a:gd name="connsiteX73" fmla="*/ 107915 w 2677922"/>
                  <a:gd name="connsiteY73" fmla="*/ 1779862 h 2672762"/>
                  <a:gd name="connsiteX74" fmla="*/ 213690 w 2677922"/>
                  <a:gd name="connsiteY74" fmla="*/ 1713817 h 2672762"/>
                  <a:gd name="connsiteX75" fmla="*/ 238972 w 2677922"/>
                  <a:gd name="connsiteY75" fmla="*/ 1654480 h 2672762"/>
                  <a:gd name="connsiteX76" fmla="*/ 222977 w 2677922"/>
                  <a:gd name="connsiteY76" fmla="*/ 1600818 h 2672762"/>
                  <a:gd name="connsiteX77" fmla="*/ 184279 w 2677922"/>
                  <a:gd name="connsiteY77" fmla="*/ 1575019 h 2672762"/>
                  <a:gd name="connsiteX78" fmla="*/ 59413 w 2677922"/>
                  <a:gd name="connsiteY78" fmla="*/ 1571407 h 2672762"/>
                  <a:gd name="connsiteX79" fmla="*/ 3687 w 2677922"/>
                  <a:gd name="connsiteY79" fmla="*/ 1524453 h 2672762"/>
                  <a:gd name="connsiteX80" fmla="*/ 1623 w 2677922"/>
                  <a:gd name="connsiteY80" fmla="*/ 1513618 h 2672762"/>
                  <a:gd name="connsiteX81" fmla="*/ 48577 w 2677922"/>
                  <a:gd name="connsiteY81" fmla="*/ 1442413 h 2672762"/>
                  <a:gd name="connsiteX82" fmla="*/ 160544 w 2677922"/>
                  <a:gd name="connsiteY82" fmla="*/ 1408358 h 2672762"/>
                  <a:gd name="connsiteX83" fmla="*/ 194083 w 2677922"/>
                  <a:gd name="connsiteY83" fmla="*/ 1370692 h 2672762"/>
                  <a:gd name="connsiteX84" fmla="*/ 192534 w 2677922"/>
                  <a:gd name="connsiteY84" fmla="*/ 1298971 h 2672762"/>
                  <a:gd name="connsiteX85" fmla="*/ 166220 w 2677922"/>
                  <a:gd name="connsiteY85" fmla="*/ 1269560 h 2672762"/>
                  <a:gd name="connsiteX86" fmla="*/ 47029 w 2677922"/>
                  <a:gd name="connsiteY86" fmla="*/ 1232926 h 2672762"/>
                  <a:gd name="connsiteX87" fmla="*/ 1623 w 2677922"/>
                  <a:gd name="connsiteY87" fmla="*/ 1166881 h 2672762"/>
                  <a:gd name="connsiteX88" fmla="*/ 6267 w 2677922"/>
                  <a:gd name="connsiteY88" fmla="*/ 1139534 h 2672762"/>
                  <a:gd name="connsiteX89" fmla="*/ 49093 w 2677922"/>
                  <a:gd name="connsiteY89" fmla="*/ 1105480 h 2672762"/>
                  <a:gd name="connsiteX90" fmla="*/ 164672 w 2677922"/>
                  <a:gd name="connsiteY90" fmla="*/ 1101868 h 2672762"/>
                  <a:gd name="connsiteX91" fmla="*/ 181699 w 2677922"/>
                  <a:gd name="connsiteY91" fmla="*/ 1101352 h 2672762"/>
                  <a:gd name="connsiteX92" fmla="*/ 227621 w 2677922"/>
                  <a:gd name="connsiteY92" fmla="*/ 1065233 h 2672762"/>
                  <a:gd name="connsiteX93" fmla="*/ 241036 w 2677922"/>
                  <a:gd name="connsiteY93" fmla="*/ 1014152 h 2672762"/>
                  <a:gd name="connsiteX94" fmla="*/ 219366 w 2677922"/>
                  <a:gd name="connsiteY94" fmla="*/ 965650 h 2672762"/>
                  <a:gd name="connsiteX95" fmla="*/ 113590 w 2677922"/>
                  <a:gd name="connsiteY95" fmla="*/ 899605 h 2672762"/>
                  <a:gd name="connsiteX96" fmla="*/ 89855 w 2677922"/>
                  <a:gd name="connsiteY96" fmla="*/ 832012 h 2672762"/>
                  <a:gd name="connsiteX97" fmla="*/ 104818 w 2677922"/>
                  <a:gd name="connsiteY97" fmla="*/ 799505 h 2672762"/>
                  <a:gd name="connsiteX98" fmla="*/ 151256 w 2677922"/>
                  <a:gd name="connsiteY98" fmla="*/ 779898 h 2672762"/>
                  <a:gd name="connsiteX99" fmla="*/ 283347 w 2677922"/>
                  <a:gd name="connsiteY99" fmla="*/ 810341 h 2672762"/>
                  <a:gd name="connsiteX100" fmla="*/ 331332 w 2677922"/>
                  <a:gd name="connsiteY100" fmla="*/ 794345 h 2672762"/>
                  <a:gd name="connsiteX101" fmla="*/ 363839 w 2677922"/>
                  <a:gd name="connsiteY101" fmla="*/ 737588 h 2672762"/>
                  <a:gd name="connsiteX102" fmla="*/ 354551 w 2677922"/>
                  <a:gd name="connsiteY102" fmla="*/ 689086 h 2672762"/>
                  <a:gd name="connsiteX103" fmla="*/ 266835 w 2677922"/>
                  <a:gd name="connsiteY103" fmla="*/ 595694 h 2672762"/>
                  <a:gd name="connsiteX104" fmla="*/ 261675 w 2677922"/>
                  <a:gd name="connsiteY104" fmla="*/ 529133 h 2672762"/>
                  <a:gd name="connsiteX105" fmla="*/ 270447 w 2677922"/>
                  <a:gd name="connsiteY105" fmla="*/ 516233 h 2672762"/>
                  <a:gd name="connsiteX106" fmla="*/ 349907 w 2677922"/>
                  <a:gd name="connsiteY106" fmla="*/ 498690 h 2672762"/>
                  <a:gd name="connsiteX107" fmla="*/ 457231 w 2677922"/>
                  <a:gd name="connsiteY107" fmla="*/ 555964 h 2672762"/>
                  <a:gd name="connsiteX108" fmla="*/ 507797 w 2677922"/>
                  <a:gd name="connsiteY108" fmla="*/ 551320 h 2672762"/>
                  <a:gd name="connsiteX109" fmla="*/ 551139 w 2677922"/>
                  <a:gd name="connsiteY109" fmla="*/ 508494 h 2672762"/>
                  <a:gd name="connsiteX110" fmla="*/ 556815 w 2677922"/>
                  <a:gd name="connsiteY110" fmla="*/ 456896 h 2672762"/>
                  <a:gd name="connsiteX111" fmla="*/ 494381 w 2677922"/>
                  <a:gd name="connsiteY111" fmla="*/ 339769 h 2672762"/>
                  <a:gd name="connsiteX112" fmla="*/ 505217 w 2677922"/>
                  <a:gd name="connsiteY112" fmla="*/ 280432 h 2672762"/>
                  <a:gd name="connsiteX113" fmla="*/ 537723 w 2677922"/>
                  <a:gd name="connsiteY113" fmla="*/ 256181 h 2672762"/>
                  <a:gd name="connsiteX114" fmla="*/ 590353 w 2677922"/>
                  <a:gd name="connsiteY114" fmla="*/ 261857 h 2672762"/>
                  <a:gd name="connsiteX115" fmla="*/ 679617 w 2677922"/>
                  <a:gd name="connsiteY115" fmla="*/ 344929 h 2672762"/>
                  <a:gd name="connsiteX116" fmla="*/ 754950 w 2677922"/>
                  <a:gd name="connsiteY116" fmla="*/ 355765 h 2672762"/>
                  <a:gd name="connsiteX117" fmla="*/ 797260 w 2677922"/>
                  <a:gd name="connsiteY117" fmla="*/ 329450 h 2672762"/>
                  <a:gd name="connsiteX118" fmla="*/ 811707 w 2677922"/>
                  <a:gd name="connsiteY118" fmla="*/ 285076 h 2672762"/>
                  <a:gd name="connsiteX119" fmla="*/ 781781 w 2677922"/>
                  <a:gd name="connsiteY119" fmla="*/ 156081 h 2672762"/>
                  <a:gd name="connsiteX120" fmla="*/ 807064 w 2677922"/>
                  <a:gd name="connsiteY120" fmla="*/ 100872 h 2672762"/>
                  <a:gd name="connsiteX121" fmla="*/ 841634 w 2677922"/>
                  <a:gd name="connsiteY121" fmla="*/ 86424 h 2672762"/>
                  <a:gd name="connsiteX122" fmla="*/ 896328 w 2677922"/>
                  <a:gd name="connsiteY122" fmla="*/ 106031 h 2672762"/>
                  <a:gd name="connsiteX123" fmla="*/ 965469 w 2677922"/>
                  <a:gd name="connsiteY123" fmla="*/ 217483 h 2672762"/>
                  <a:gd name="connsiteX124" fmla="*/ 1013455 w 2677922"/>
                  <a:gd name="connsiteY124" fmla="*/ 240702 h 2672762"/>
                  <a:gd name="connsiteX125" fmla="*/ 1077952 w 2677922"/>
                  <a:gd name="connsiteY125" fmla="*/ 222642 h 2672762"/>
                  <a:gd name="connsiteX126" fmla="*/ 1101687 w 2677922"/>
                  <a:gd name="connsiteY126" fmla="*/ 188072 h 2672762"/>
                  <a:gd name="connsiteX127" fmla="*/ 1106847 w 2677922"/>
                  <a:gd name="connsiteY127" fmla="*/ 53918 h 2672762"/>
                  <a:gd name="connsiteX128" fmla="*/ 1145029 w 2677922"/>
                  <a:gd name="connsiteY128" fmla="*/ 4900 h 2672762"/>
                  <a:gd name="connsiteX129" fmla="*/ 1158960 w 2677922"/>
                  <a:gd name="connsiteY129" fmla="*/ 1804 h 2672762"/>
                  <a:gd name="connsiteX130" fmla="*/ 1235841 w 2677922"/>
                  <a:gd name="connsiteY130" fmla="*/ 48758 h 2672762"/>
                  <a:gd name="connsiteX131" fmla="*/ 1269895 w 2677922"/>
                  <a:gd name="connsiteY131" fmla="*/ 162273 h 2672762"/>
                  <a:gd name="connsiteX132" fmla="*/ 1303434 w 2677922"/>
                  <a:gd name="connsiteY132" fmla="*/ 192716 h 2672762"/>
                  <a:gd name="connsiteX133" fmla="*/ 1376702 w 2677922"/>
                  <a:gd name="connsiteY133" fmla="*/ 192716 h 2672762"/>
                  <a:gd name="connsiteX134" fmla="*/ 1409209 w 2677922"/>
                  <a:gd name="connsiteY134" fmla="*/ 163305 h 2672762"/>
                  <a:gd name="connsiteX135" fmla="*/ 1447392 w 2677922"/>
                  <a:gd name="connsiteY135" fmla="*/ 37922 h 2672762"/>
                  <a:gd name="connsiteX136" fmla="*/ 1499505 w 2677922"/>
                  <a:gd name="connsiteY136" fmla="*/ 256 h 2672762"/>
                  <a:gd name="connsiteX137" fmla="*/ 1513436 w 2677922"/>
                  <a:gd name="connsiteY137" fmla="*/ 772 h 2672762"/>
                  <a:gd name="connsiteX138" fmla="*/ 1573290 w 2677922"/>
                  <a:gd name="connsiteY138" fmla="*/ 65269 h 2672762"/>
                  <a:gd name="connsiteX139" fmla="*/ 1576902 w 2677922"/>
                  <a:gd name="connsiteY139" fmla="*/ 185492 h 2672762"/>
                  <a:gd name="connsiteX140" fmla="*/ 1598057 w 2677922"/>
                  <a:gd name="connsiteY140" fmla="*/ 220578 h 2672762"/>
                  <a:gd name="connsiteX141" fmla="*/ 1674422 w 2677922"/>
                  <a:gd name="connsiteY141" fmla="*/ 240702 h 2672762"/>
                  <a:gd name="connsiteX142" fmla="*/ 1710540 w 2677922"/>
                  <a:gd name="connsiteY142" fmla="*/ 221610 h 2672762"/>
                  <a:gd name="connsiteX143" fmla="*/ 1779165 w 2677922"/>
                  <a:gd name="connsiteY143" fmla="*/ 111707 h 2672762"/>
                  <a:gd name="connsiteX144" fmla="*/ 1845726 w 2677922"/>
                  <a:gd name="connsiteY144" fmla="*/ 88488 h 2672762"/>
                  <a:gd name="connsiteX145" fmla="*/ 1857594 w 2677922"/>
                  <a:gd name="connsiteY145" fmla="*/ 92616 h 2672762"/>
                  <a:gd name="connsiteX146" fmla="*/ 1895260 w 2677922"/>
                  <a:gd name="connsiteY146" fmla="*/ 166401 h 2672762"/>
                  <a:gd name="connsiteX147" fmla="*/ 1868429 w 2677922"/>
                  <a:gd name="connsiteY147" fmla="*/ 281980 h 2672762"/>
                  <a:gd name="connsiteX148" fmla="*/ 1887004 w 2677922"/>
                  <a:gd name="connsiteY148" fmla="*/ 332030 h 2672762"/>
                  <a:gd name="connsiteX149" fmla="*/ 1946857 w 2677922"/>
                  <a:gd name="connsiteY149" fmla="*/ 365052 h 2672762"/>
                  <a:gd name="connsiteX150" fmla="*/ 1986588 w 2677922"/>
                  <a:gd name="connsiteY150" fmla="*/ 355765 h 2672762"/>
                  <a:gd name="connsiteX151" fmla="*/ 2081528 w 2677922"/>
                  <a:gd name="connsiteY151" fmla="*/ 267532 h 2672762"/>
                  <a:gd name="connsiteX152" fmla="*/ 2151701 w 2677922"/>
                  <a:gd name="connsiteY152" fmla="*/ 261857 h 2672762"/>
                  <a:gd name="connsiteX153" fmla="*/ 2155312 w 2677922"/>
                  <a:gd name="connsiteY153" fmla="*/ 264437 h 2672762"/>
                  <a:gd name="connsiteX154" fmla="*/ 2177500 w 2677922"/>
                  <a:gd name="connsiteY154" fmla="*/ 353701 h 2672762"/>
                  <a:gd name="connsiteX155" fmla="*/ 2122290 w 2677922"/>
                  <a:gd name="connsiteY155" fmla="*/ 456896 h 2672762"/>
                  <a:gd name="connsiteX156" fmla="*/ 2126934 w 2677922"/>
                  <a:gd name="connsiteY156" fmla="*/ 505914 h 2672762"/>
                  <a:gd name="connsiteX157" fmla="*/ 2173372 w 2677922"/>
                  <a:gd name="connsiteY157" fmla="*/ 551836 h 2672762"/>
                  <a:gd name="connsiteX158" fmla="*/ 2219810 w 2677922"/>
                  <a:gd name="connsiteY158" fmla="*/ 555964 h 2672762"/>
                  <a:gd name="connsiteX159" fmla="*/ 2336937 w 2677922"/>
                  <a:gd name="connsiteY159" fmla="*/ 494046 h 2672762"/>
                  <a:gd name="connsiteX160" fmla="*/ 2400917 w 2677922"/>
                  <a:gd name="connsiteY160" fmla="*/ 507462 h 2672762"/>
                  <a:gd name="connsiteX161" fmla="*/ 2420525 w 2677922"/>
                  <a:gd name="connsiteY161" fmla="*/ 533777 h 2672762"/>
                  <a:gd name="connsiteX162" fmla="*/ 2415365 w 2677922"/>
                  <a:gd name="connsiteY162" fmla="*/ 591566 h 2672762"/>
                  <a:gd name="connsiteX163" fmla="*/ 2321973 w 2677922"/>
                  <a:gd name="connsiteY163" fmla="*/ 692182 h 2672762"/>
                  <a:gd name="connsiteX164" fmla="*/ 2313718 w 2677922"/>
                  <a:gd name="connsiteY164" fmla="*/ 733460 h 2672762"/>
                  <a:gd name="connsiteX165" fmla="*/ 2349320 w 2677922"/>
                  <a:gd name="connsiteY165" fmla="*/ 795377 h 2672762"/>
                  <a:gd name="connsiteX166" fmla="*/ 2394726 w 2677922"/>
                  <a:gd name="connsiteY166" fmla="*/ 810341 h 2672762"/>
                  <a:gd name="connsiteX167" fmla="*/ 2526816 w 2677922"/>
                  <a:gd name="connsiteY167" fmla="*/ 780414 h 2672762"/>
                  <a:gd name="connsiteX168" fmla="*/ 2575834 w 2677922"/>
                  <a:gd name="connsiteY168" fmla="*/ 803117 h 2672762"/>
                  <a:gd name="connsiteX169" fmla="*/ 2591313 w 2677922"/>
                  <a:gd name="connsiteY169" fmla="*/ 838719 h 2672762"/>
                  <a:gd name="connsiteX170" fmla="*/ 2570158 w 2677922"/>
                  <a:gd name="connsiteY170" fmla="*/ 896509 h 2672762"/>
                  <a:gd name="connsiteX171" fmla="*/ 2461287 w 2677922"/>
                  <a:gd name="connsiteY171" fmla="*/ 964102 h 2672762"/>
                  <a:gd name="connsiteX172" fmla="*/ 2438068 w 2677922"/>
                  <a:gd name="connsiteY172" fmla="*/ 1014668 h 2672762"/>
                  <a:gd name="connsiteX173" fmla="*/ 2454063 w 2677922"/>
                  <a:gd name="connsiteY173" fmla="*/ 1073489 h 2672762"/>
                  <a:gd name="connsiteX174" fmla="*/ 2492762 w 2677922"/>
                  <a:gd name="connsiteY174" fmla="*/ 1100836 h 2672762"/>
                  <a:gd name="connsiteX175" fmla="*/ 2628464 w 2677922"/>
                  <a:gd name="connsiteY175" fmla="*/ 1105996 h 2672762"/>
                  <a:gd name="connsiteX176" fmla="*/ 2672322 w 2677922"/>
                  <a:gd name="connsiteY176" fmla="*/ 1140566 h 2672762"/>
                  <a:gd name="connsiteX177" fmla="*/ 2677998 w 2677922"/>
                  <a:gd name="connsiteY177" fmla="*/ 1182360 h 2672762"/>
                  <a:gd name="connsiteX178" fmla="*/ 2644459 w 2677922"/>
                  <a:gd name="connsiteY178" fmla="*/ 1229830 h 2672762"/>
                  <a:gd name="connsiteX179" fmla="*/ 2522172 w 2677922"/>
                  <a:gd name="connsiteY179" fmla="*/ 1267497 h 2672762"/>
                  <a:gd name="connsiteX180" fmla="*/ 2483990 w 2677922"/>
                  <a:gd name="connsiteY180" fmla="*/ 1315998 h 2672762"/>
                  <a:gd name="connsiteX181" fmla="*/ 2486570 w 2677922"/>
                  <a:gd name="connsiteY181" fmla="*/ 1379980 h 2672762"/>
                  <a:gd name="connsiteX182" fmla="*/ 2512885 w 2677922"/>
                  <a:gd name="connsiteY182" fmla="*/ 1407842 h 2672762"/>
                  <a:gd name="connsiteX183" fmla="*/ 2641363 w 2677922"/>
                  <a:gd name="connsiteY183" fmla="*/ 1447057 h 2672762"/>
                  <a:gd name="connsiteX184" fmla="*/ 2677998 w 2677922"/>
                  <a:gd name="connsiteY184" fmla="*/ 1498138 h 2672762"/>
                  <a:gd name="connsiteX185" fmla="*/ 2677998 w 2677922"/>
                  <a:gd name="connsiteY185" fmla="*/ 1507426 h 2672762"/>
                  <a:gd name="connsiteX186" fmla="*/ 2611952 w 2677922"/>
                  <a:gd name="connsiteY186" fmla="*/ 1572955 h 2672762"/>
                  <a:gd name="connsiteX187" fmla="*/ 2490182 w 2677922"/>
                  <a:gd name="connsiteY187" fmla="*/ 1576567 h 2672762"/>
                  <a:gd name="connsiteX188" fmla="*/ 2457675 w 2677922"/>
                  <a:gd name="connsiteY188" fmla="*/ 1596690 h 2672762"/>
                  <a:gd name="connsiteX189" fmla="*/ 2437036 w 2677922"/>
                  <a:gd name="connsiteY189" fmla="*/ 1673055 h 2672762"/>
                  <a:gd name="connsiteX190" fmla="*/ 2457159 w 2677922"/>
                  <a:gd name="connsiteY190" fmla="*/ 1710205 h 2672762"/>
                  <a:gd name="connsiteX191" fmla="*/ 2564483 w 2677922"/>
                  <a:gd name="connsiteY191" fmla="*/ 1777282 h 2672762"/>
                  <a:gd name="connsiteX192" fmla="*/ 2588733 w 2677922"/>
                  <a:gd name="connsiteY192" fmla="*/ 1845907 h 2672762"/>
                  <a:gd name="connsiteX193" fmla="*/ 2571706 w 2677922"/>
                  <a:gd name="connsiteY193" fmla="*/ 1880994 h 2672762"/>
                  <a:gd name="connsiteX194" fmla="*/ 2538684 w 2677922"/>
                  <a:gd name="connsiteY194" fmla="*/ 1897505 h 2672762"/>
                  <a:gd name="connsiteX195" fmla="*/ 1338521 w 2677922"/>
                  <a:gd name="connsiteY195" fmla="*/ 2312867 h 2672762"/>
                  <a:gd name="connsiteX196" fmla="*/ 2316814 w 2677922"/>
                  <a:gd name="connsiteY196" fmla="*/ 1335605 h 2672762"/>
                  <a:gd name="connsiteX197" fmla="*/ 1340068 w 2677922"/>
                  <a:gd name="connsiteY197" fmla="*/ 359376 h 2672762"/>
                  <a:gd name="connsiteX198" fmla="*/ 361775 w 2677922"/>
                  <a:gd name="connsiteY198" fmla="*/ 1331994 h 2672762"/>
                  <a:gd name="connsiteX199" fmla="*/ 1338521 w 2677922"/>
                  <a:gd name="connsiteY199" fmla="*/ 2312867 h 2672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</a:cxnLst>
                <a:rect l="l" t="t" r="r" b="b"/>
                <a:pathLst>
                  <a:path w="2677922" h="2672762">
                    <a:moveTo>
                      <a:pt x="2538684" y="1897505"/>
                    </a:moveTo>
                    <a:cubicBezTo>
                      <a:pt x="2511337" y="1891313"/>
                      <a:pt x="2483990" y="1885121"/>
                      <a:pt x="2456643" y="1879446"/>
                    </a:cubicBezTo>
                    <a:cubicBezTo>
                      <a:pt x="2434456" y="1874286"/>
                      <a:pt x="2411753" y="1869642"/>
                      <a:pt x="2389566" y="1863966"/>
                    </a:cubicBezTo>
                    <a:cubicBezTo>
                      <a:pt x="2375119" y="1860354"/>
                      <a:pt x="2363767" y="1864482"/>
                      <a:pt x="2354479" y="1874802"/>
                    </a:cubicBezTo>
                    <a:cubicBezTo>
                      <a:pt x="2335389" y="1896989"/>
                      <a:pt x="2320425" y="1922272"/>
                      <a:pt x="2312170" y="1950651"/>
                    </a:cubicBezTo>
                    <a:cubicBezTo>
                      <a:pt x="2308042" y="1964066"/>
                      <a:pt x="2314234" y="1973869"/>
                      <a:pt x="2322489" y="1983157"/>
                    </a:cubicBezTo>
                    <a:cubicBezTo>
                      <a:pt x="2352416" y="2015664"/>
                      <a:pt x="2382858" y="2048170"/>
                      <a:pt x="2412785" y="2080161"/>
                    </a:cubicBezTo>
                    <a:cubicBezTo>
                      <a:pt x="2435488" y="2104412"/>
                      <a:pt x="2436520" y="2118859"/>
                      <a:pt x="2418461" y="2146722"/>
                    </a:cubicBezTo>
                    <a:cubicBezTo>
                      <a:pt x="2417429" y="2148270"/>
                      <a:pt x="2416397" y="2150334"/>
                      <a:pt x="2414849" y="2151882"/>
                    </a:cubicBezTo>
                    <a:cubicBezTo>
                      <a:pt x="2380795" y="2197804"/>
                      <a:pt x="2365831" y="2198320"/>
                      <a:pt x="2324037" y="2174585"/>
                    </a:cubicBezTo>
                    <a:cubicBezTo>
                      <a:pt x="2289982" y="2154978"/>
                      <a:pt x="2253864" y="2137434"/>
                      <a:pt x="2219294" y="2118859"/>
                    </a:cubicBezTo>
                    <a:cubicBezTo>
                      <a:pt x="2204846" y="2111120"/>
                      <a:pt x="2191431" y="2111120"/>
                      <a:pt x="2178531" y="2120407"/>
                    </a:cubicBezTo>
                    <a:cubicBezTo>
                      <a:pt x="2157892" y="2134855"/>
                      <a:pt x="2140349" y="2152398"/>
                      <a:pt x="2125386" y="2172521"/>
                    </a:cubicBezTo>
                    <a:cubicBezTo>
                      <a:pt x="2114550" y="2186968"/>
                      <a:pt x="2114034" y="2201416"/>
                      <a:pt x="2122806" y="2217411"/>
                    </a:cubicBezTo>
                    <a:cubicBezTo>
                      <a:pt x="2143961" y="2256109"/>
                      <a:pt x="2164600" y="2295323"/>
                      <a:pt x="2184723" y="2334538"/>
                    </a:cubicBezTo>
                    <a:cubicBezTo>
                      <a:pt x="2198655" y="2361885"/>
                      <a:pt x="2196591" y="2374268"/>
                      <a:pt x="2174404" y="2395423"/>
                    </a:cubicBezTo>
                    <a:cubicBezTo>
                      <a:pt x="2170792" y="2398519"/>
                      <a:pt x="2167696" y="2402131"/>
                      <a:pt x="2164084" y="2404711"/>
                    </a:cubicBezTo>
                    <a:cubicBezTo>
                      <a:pt x="2131062" y="2428962"/>
                      <a:pt x="2114034" y="2440829"/>
                      <a:pt x="2075336" y="2401615"/>
                    </a:cubicBezTo>
                    <a:cubicBezTo>
                      <a:pt x="2047473" y="2373236"/>
                      <a:pt x="2017547" y="2347953"/>
                      <a:pt x="1988652" y="2320606"/>
                    </a:cubicBezTo>
                    <a:cubicBezTo>
                      <a:pt x="1975236" y="2307707"/>
                      <a:pt x="1960789" y="2305127"/>
                      <a:pt x="1944277" y="2311835"/>
                    </a:cubicBezTo>
                    <a:cubicBezTo>
                      <a:pt x="1922607" y="2320606"/>
                      <a:pt x="1901968" y="2331958"/>
                      <a:pt x="1883392" y="2346405"/>
                    </a:cubicBezTo>
                    <a:cubicBezTo>
                      <a:pt x="1867913" y="2358273"/>
                      <a:pt x="1863785" y="2373236"/>
                      <a:pt x="1868429" y="2391811"/>
                    </a:cubicBezTo>
                    <a:cubicBezTo>
                      <a:pt x="1879264" y="2436701"/>
                      <a:pt x="1889584" y="2482107"/>
                      <a:pt x="1899388" y="2526997"/>
                    </a:cubicBezTo>
                    <a:cubicBezTo>
                      <a:pt x="1903516" y="2546604"/>
                      <a:pt x="1896808" y="2561568"/>
                      <a:pt x="1879264" y="2571887"/>
                    </a:cubicBezTo>
                    <a:cubicBezTo>
                      <a:pt x="1867397" y="2579111"/>
                      <a:pt x="1854498" y="2584787"/>
                      <a:pt x="1841082" y="2588915"/>
                    </a:cubicBezTo>
                    <a:cubicBezTo>
                      <a:pt x="1813736" y="2597686"/>
                      <a:pt x="1798256" y="2592526"/>
                      <a:pt x="1782777" y="2568276"/>
                    </a:cubicBezTo>
                    <a:cubicBezTo>
                      <a:pt x="1760074" y="2532157"/>
                      <a:pt x="1736855" y="2496555"/>
                      <a:pt x="1715184" y="2459404"/>
                    </a:cubicBezTo>
                    <a:cubicBezTo>
                      <a:pt x="1703316" y="2439281"/>
                      <a:pt x="1687837" y="2431542"/>
                      <a:pt x="1664618" y="2435669"/>
                    </a:cubicBezTo>
                    <a:cubicBezTo>
                      <a:pt x="1646043" y="2439281"/>
                      <a:pt x="1627984" y="2443925"/>
                      <a:pt x="1610440" y="2450117"/>
                    </a:cubicBezTo>
                    <a:cubicBezTo>
                      <a:pt x="1586190" y="2458888"/>
                      <a:pt x="1578450" y="2469208"/>
                      <a:pt x="1577418" y="2495007"/>
                    </a:cubicBezTo>
                    <a:cubicBezTo>
                      <a:pt x="1575870" y="2535769"/>
                      <a:pt x="1574838" y="2576015"/>
                      <a:pt x="1573806" y="2616777"/>
                    </a:cubicBezTo>
                    <a:cubicBezTo>
                      <a:pt x="1572774" y="2653928"/>
                      <a:pt x="1563487" y="2665795"/>
                      <a:pt x="1526852" y="2672503"/>
                    </a:cubicBezTo>
                    <a:cubicBezTo>
                      <a:pt x="1517049" y="2674567"/>
                      <a:pt x="1507245" y="2675599"/>
                      <a:pt x="1497441" y="2676115"/>
                    </a:cubicBezTo>
                    <a:cubicBezTo>
                      <a:pt x="1473191" y="2677663"/>
                      <a:pt x="1457711" y="2667859"/>
                      <a:pt x="1449972" y="2644124"/>
                    </a:cubicBezTo>
                    <a:cubicBezTo>
                      <a:pt x="1436040" y="2600782"/>
                      <a:pt x="1422624" y="2557956"/>
                      <a:pt x="1410241" y="2514614"/>
                    </a:cubicBezTo>
                    <a:cubicBezTo>
                      <a:pt x="1404565" y="2495007"/>
                      <a:pt x="1392698" y="2485719"/>
                      <a:pt x="1373091" y="2482623"/>
                    </a:cubicBezTo>
                    <a:cubicBezTo>
                      <a:pt x="1350388" y="2479527"/>
                      <a:pt x="1327685" y="2479527"/>
                      <a:pt x="1304982" y="2483139"/>
                    </a:cubicBezTo>
                    <a:cubicBezTo>
                      <a:pt x="1287955" y="2485719"/>
                      <a:pt x="1277119" y="2494491"/>
                      <a:pt x="1271959" y="2511518"/>
                    </a:cubicBezTo>
                    <a:cubicBezTo>
                      <a:pt x="1260092" y="2552280"/>
                      <a:pt x="1247192" y="2593042"/>
                      <a:pt x="1234293" y="2633805"/>
                    </a:cubicBezTo>
                    <a:cubicBezTo>
                      <a:pt x="1222941" y="2670439"/>
                      <a:pt x="1208494" y="2679727"/>
                      <a:pt x="1170828" y="2674567"/>
                    </a:cubicBezTo>
                    <a:cubicBezTo>
                      <a:pt x="1114070" y="2666827"/>
                      <a:pt x="1107362" y="2659087"/>
                      <a:pt x="1106847" y="2602330"/>
                    </a:cubicBezTo>
                    <a:cubicBezTo>
                      <a:pt x="1106331" y="2565180"/>
                      <a:pt x="1104783" y="2528545"/>
                      <a:pt x="1103751" y="2491395"/>
                    </a:cubicBezTo>
                    <a:cubicBezTo>
                      <a:pt x="1103234" y="2474368"/>
                      <a:pt x="1096527" y="2460952"/>
                      <a:pt x="1080532" y="2454244"/>
                    </a:cubicBezTo>
                    <a:cubicBezTo>
                      <a:pt x="1056281" y="2443925"/>
                      <a:pt x="1031514" y="2436701"/>
                      <a:pt x="1005199" y="2435153"/>
                    </a:cubicBezTo>
                    <a:cubicBezTo>
                      <a:pt x="989203" y="2434121"/>
                      <a:pt x="977852" y="2440313"/>
                      <a:pt x="969080" y="2454244"/>
                    </a:cubicBezTo>
                    <a:cubicBezTo>
                      <a:pt x="946894" y="2491395"/>
                      <a:pt x="923159" y="2527513"/>
                      <a:pt x="900456" y="2564148"/>
                    </a:cubicBezTo>
                    <a:cubicBezTo>
                      <a:pt x="882396" y="2593042"/>
                      <a:pt x="868465" y="2598202"/>
                      <a:pt x="836474" y="2587367"/>
                    </a:cubicBezTo>
                    <a:cubicBezTo>
                      <a:pt x="834926" y="2586851"/>
                      <a:pt x="833379" y="2586335"/>
                      <a:pt x="831830" y="2585819"/>
                    </a:cubicBezTo>
                    <a:cubicBezTo>
                      <a:pt x="782297" y="2565696"/>
                      <a:pt x="772493" y="2554344"/>
                      <a:pt x="785392" y="2504810"/>
                    </a:cubicBezTo>
                    <a:cubicBezTo>
                      <a:pt x="795196" y="2467144"/>
                      <a:pt x="802420" y="2428962"/>
                      <a:pt x="811707" y="2390779"/>
                    </a:cubicBezTo>
                    <a:cubicBezTo>
                      <a:pt x="816351" y="2371172"/>
                      <a:pt x="811191" y="2356209"/>
                      <a:pt x="794680" y="2344341"/>
                    </a:cubicBezTo>
                    <a:cubicBezTo>
                      <a:pt x="777137" y="2331958"/>
                      <a:pt x="759078" y="2321122"/>
                      <a:pt x="739470" y="2312351"/>
                    </a:cubicBezTo>
                    <a:cubicBezTo>
                      <a:pt x="720895" y="2304095"/>
                      <a:pt x="704900" y="2307191"/>
                      <a:pt x="689421" y="2321638"/>
                    </a:cubicBezTo>
                    <a:cubicBezTo>
                      <a:pt x="658462" y="2351049"/>
                      <a:pt x="626988" y="2379944"/>
                      <a:pt x="596029" y="2408838"/>
                    </a:cubicBezTo>
                    <a:cubicBezTo>
                      <a:pt x="572810" y="2431026"/>
                      <a:pt x="557847" y="2432057"/>
                      <a:pt x="530500" y="2415030"/>
                    </a:cubicBezTo>
                    <a:cubicBezTo>
                      <a:pt x="527404" y="2412966"/>
                      <a:pt x="524308" y="2410902"/>
                      <a:pt x="521212" y="2408838"/>
                    </a:cubicBezTo>
                    <a:cubicBezTo>
                      <a:pt x="481482" y="2380460"/>
                      <a:pt x="477870" y="2365496"/>
                      <a:pt x="500573" y="2322670"/>
                    </a:cubicBezTo>
                    <a:cubicBezTo>
                      <a:pt x="519148" y="2287584"/>
                      <a:pt x="537207" y="2252497"/>
                      <a:pt x="556298" y="2217927"/>
                    </a:cubicBezTo>
                    <a:cubicBezTo>
                      <a:pt x="566102" y="2199868"/>
                      <a:pt x="564555" y="2184388"/>
                      <a:pt x="552171" y="2168909"/>
                    </a:cubicBezTo>
                    <a:cubicBezTo>
                      <a:pt x="538756" y="2151882"/>
                      <a:pt x="523276" y="2136402"/>
                      <a:pt x="505733" y="2122987"/>
                    </a:cubicBezTo>
                    <a:cubicBezTo>
                      <a:pt x="490254" y="2111120"/>
                      <a:pt x="474774" y="2110088"/>
                      <a:pt x="457747" y="2119375"/>
                    </a:cubicBezTo>
                    <a:cubicBezTo>
                      <a:pt x="419564" y="2140014"/>
                      <a:pt x="380866" y="2160653"/>
                      <a:pt x="341652" y="2180777"/>
                    </a:cubicBezTo>
                    <a:cubicBezTo>
                      <a:pt x="314305" y="2195224"/>
                      <a:pt x="298310" y="2191612"/>
                      <a:pt x="278187" y="2168909"/>
                    </a:cubicBezTo>
                    <a:cubicBezTo>
                      <a:pt x="276639" y="2167361"/>
                      <a:pt x="275607" y="2165813"/>
                      <a:pt x="274059" y="2164265"/>
                    </a:cubicBezTo>
                    <a:cubicBezTo>
                      <a:pt x="238456" y="2122987"/>
                      <a:pt x="238972" y="2108540"/>
                      <a:pt x="276639" y="2069325"/>
                    </a:cubicBezTo>
                    <a:cubicBezTo>
                      <a:pt x="302954" y="2041463"/>
                      <a:pt x="327721" y="2013084"/>
                      <a:pt x="354551" y="1986253"/>
                    </a:cubicBezTo>
                    <a:cubicBezTo>
                      <a:pt x="367967" y="1972322"/>
                      <a:pt x="370547" y="1957874"/>
                      <a:pt x="363839" y="1940847"/>
                    </a:cubicBezTo>
                    <a:cubicBezTo>
                      <a:pt x="355067" y="1918660"/>
                      <a:pt x="342684" y="1898021"/>
                      <a:pt x="328237" y="1878930"/>
                    </a:cubicBezTo>
                    <a:cubicBezTo>
                      <a:pt x="316369" y="1863450"/>
                      <a:pt x="300374" y="1861902"/>
                      <a:pt x="283347" y="1866030"/>
                    </a:cubicBezTo>
                    <a:cubicBezTo>
                      <a:pt x="245680" y="1874802"/>
                      <a:pt x="208530" y="1883573"/>
                      <a:pt x="170864" y="1891829"/>
                    </a:cubicBezTo>
                    <a:cubicBezTo>
                      <a:pt x="165704" y="1892861"/>
                      <a:pt x="160544" y="1894409"/>
                      <a:pt x="155900" y="1895441"/>
                    </a:cubicBezTo>
                    <a:cubicBezTo>
                      <a:pt x="127521" y="1900601"/>
                      <a:pt x="113074" y="1893893"/>
                      <a:pt x="100175" y="1868094"/>
                    </a:cubicBezTo>
                    <a:cubicBezTo>
                      <a:pt x="95531" y="1858291"/>
                      <a:pt x="90887" y="1848487"/>
                      <a:pt x="87275" y="1838168"/>
                    </a:cubicBezTo>
                    <a:cubicBezTo>
                      <a:pt x="77988" y="1810821"/>
                      <a:pt x="83147" y="1795341"/>
                      <a:pt x="107915" y="1779862"/>
                    </a:cubicBezTo>
                    <a:cubicBezTo>
                      <a:pt x="143001" y="1757675"/>
                      <a:pt x="178603" y="1735488"/>
                      <a:pt x="213690" y="1713817"/>
                    </a:cubicBezTo>
                    <a:cubicBezTo>
                      <a:pt x="241552" y="1696274"/>
                      <a:pt x="245680" y="1686470"/>
                      <a:pt x="238972" y="1654480"/>
                    </a:cubicBezTo>
                    <a:cubicBezTo>
                      <a:pt x="234845" y="1636420"/>
                      <a:pt x="230201" y="1617845"/>
                      <a:pt x="222977" y="1600818"/>
                    </a:cubicBezTo>
                    <a:cubicBezTo>
                      <a:pt x="215753" y="1583791"/>
                      <a:pt x="203370" y="1575535"/>
                      <a:pt x="184279" y="1575019"/>
                    </a:cubicBezTo>
                    <a:cubicBezTo>
                      <a:pt x="142485" y="1574503"/>
                      <a:pt x="101207" y="1572955"/>
                      <a:pt x="59413" y="1571407"/>
                    </a:cubicBezTo>
                    <a:cubicBezTo>
                      <a:pt x="21746" y="1570375"/>
                      <a:pt x="10395" y="1560572"/>
                      <a:pt x="3687" y="1524453"/>
                    </a:cubicBezTo>
                    <a:cubicBezTo>
                      <a:pt x="3171" y="1520841"/>
                      <a:pt x="2139" y="1517230"/>
                      <a:pt x="1623" y="1513618"/>
                    </a:cubicBezTo>
                    <a:cubicBezTo>
                      <a:pt x="-4053" y="1467696"/>
                      <a:pt x="3687" y="1455828"/>
                      <a:pt x="48577" y="1442413"/>
                    </a:cubicBezTo>
                    <a:cubicBezTo>
                      <a:pt x="85727" y="1431061"/>
                      <a:pt x="122877" y="1418678"/>
                      <a:pt x="160544" y="1408358"/>
                    </a:cubicBezTo>
                    <a:cubicBezTo>
                      <a:pt x="181183" y="1402683"/>
                      <a:pt x="192018" y="1390815"/>
                      <a:pt x="194083" y="1370692"/>
                    </a:cubicBezTo>
                    <a:cubicBezTo>
                      <a:pt x="196147" y="1346957"/>
                      <a:pt x="197178" y="1322706"/>
                      <a:pt x="192534" y="1298971"/>
                    </a:cubicBezTo>
                    <a:cubicBezTo>
                      <a:pt x="189954" y="1283492"/>
                      <a:pt x="181183" y="1274204"/>
                      <a:pt x="166220" y="1269560"/>
                    </a:cubicBezTo>
                    <a:cubicBezTo>
                      <a:pt x="126490" y="1257693"/>
                      <a:pt x="86759" y="1245310"/>
                      <a:pt x="47029" y="1232926"/>
                    </a:cubicBezTo>
                    <a:cubicBezTo>
                      <a:pt x="3687" y="1219511"/>
                      <a:pt x="-957" y="1212287"/>
                      <a:pt x="1623" y="1166881"/>
                    </a:cubicBezTo>
                    <a:cubicBezTo>
                      <a:pt x="2139" y="1157593"/>
                      <a:pt x="4203" y="1148306"/>
                      <a:pt x="6267" y="1139534"/>
                    </a:cubicBezTo>
                    <a:cubicBezTo>
                      <a:pt x="12459" y="1116831"/>
                      <a:pt x="25358" y="1106512"/>
                      <a:pt x="49093" y="1105480"/>
                    </a:cubicBezTo>
                    <a:cubicBezTo>
                      <a:pt x="87791" y="1103932"/>
                      <a:pt x="125974" y="1102900"/>
                      <a:pt x="164672" y="1101868"/>
                    </a:cubicBezTo>
                    <a:cubicBezTo>
                      <a:pt x="170348" y="1101868"/>
                      <a:pt x="176023" y="1101352"/>
                      <a:pt x="181699" y="1101352"/>
                    </a:cubicBezTo>
                    <a:cubicBezTo>
                      <a:pt x="207498" y="1102384"/>
                      <a:pt x="220913" y="1087936"/>
                      <a:pt x="227621" y="1065233"/>
                    </a:cubicBezTo>
                    <a:cubicBezTo>
                      <a:pt x="232781" y="1048206"/>
                      <a:pt x="237425" y="1031179"/>
                      <a:pt x="241036" y="1014152"/>
                    </a:cubicBezTo>
                    <a:cubicBezTo>
                      <a:pt x="245680" y="990417"/>
                      <a:pt x="240005" y="979065"/>
                      <a:pt x="219366" y="965650"/>
                    </a:cubicBezTo>
                    <a:cubicBezTo>
                      <a:pt x="184279" y="943463"/>
                      <a:pt x="148676" y="921276"/>
                      <a:pt x="113590" y="899605"/>
                    </a:cubicBezTo>
                    <a:cubicBezTo>
                      <a:pt x="82116" y="879997"/>
                      <a:pt x="77472" y="867614"/>
                      <a:pt x="89855" y="832012"/>
                    </a:cubicBezTo>
                    <a:cubicBezTo>
                      <a:pt x="93467" y="820660"/>
                      <a:pt x="98111" y="809309"/>
                      <a:pt x="104818" y="799505"/>
                    </a:cubicBezTo>
                    <a:cubicBezTo>
                      <a:pt x="115654" y="782994"/>
                      <a:pt x="130617" y="774738"/>
                      <a:pt x="151256" y="779898"/>
                    </a:cubicBezTo>
                    <a:cubicBezTo>
                      <a:pt x="195114" y="790217"/>
                      <a:pt x="239489" y="799505"/>
                      <a:pt x="283347" y="810341"/>
                    </a:cubicBezTo>
                    <a:cubicBezTo>
                      <a:pt x="303469" y="815500"/>
                      <a:pt x="318949" y="810857"/>
                      <a:pt x="331332" y="794345"/>
                    </a:cubicBezTo>
                    <a:cubicBezTo>
                      <a:pt x="344232" y="776802"/>
                      <a:pt x="355584" y="757711"/>
                      <a:pt x="363839" y="737588"/>
                    </a:cubicBezTo>
                    <a:cubicBezTo>
                      <a:pt x="371063" y="719529"/>
                      <a:pt x="368999" y="704049"/>
                      <a:pt x="354551" y="689086"/>
                    </a:cubicBezTo>
                    <a:cubicBezTo>
                      <a:pt x="324625" y="658643"/>
                      <a:pt x="296246" y="627169"/>
                      <a:pt x="266835" y="595694"/>
                    </a:cubicBezTo>
                    <a:cubicBezTo>
                      <a:pt x="244132" y="570927"/>
                      <a:pt x="243100" y="556996"/>
                      <a:pt x="261675" y="529133"/>
                    </a:cubicBezTo>
                    <a:cubicBezTo>
                      <a:pt x="264771" y="525005"/>
                      <a:pt x="267351" y="520361"/>
                      <a:pt x="270447" y="516233"/>
                    </a:cubicBezTo>
                    <a:cubicBezTo>
                      <a:pt x="296762" y="481663"/>
                      <a:pt x="311209" y="478567"/>
                      <a:pt x="349907" y="498690"/>
                    </a:cubicBezTo>
                    <a:cubicBezTo>
                      <a:pt x="386026" y="517781"/>
                      <a:pt x="422144" y="536357"/>
                      <a:pt x="457231" y="555964"/>
                    </a:cubicBezTo>
                    <a:cubicBezTo>
                      <a:pt x="475806" y="566283"/>
                      <a:pt x="492318" y="564219"/>
                      <a:pt x="507797" y="551320"/>
                    </a:cubicBezTo>
                    <a:cubicBezTo>
                      <a:pt x="523276" y="538421"/>
                      <a:pt x="537723" y="523973"/>
                      <a:pt x="551139" y="508494"/>
                    </a:cubicBezTo>
                    <a:cubicBezTo>
                      <a:pt x="564555" y="492499"/>
                      <a:pt x="567650" y="476503"/>
                      <a:pt x="556815" y="456896"/>
                    </a:cubicBezTo>
                    <a:cubicBezTo>
                      <a:pt x="535143" y="418198"/>
                      <a:pt x="515020" y="378983"/>
                      <a:pt x="494381" y="339769"/>
                    </a:cubicBezTo>
                    <a:cubicBezTo>
                      <a:pt x="480966" y="313970"/>
                      <a:pt x="484062" y="300039"/>
                      <a:pt x="505217" y="280432"/>
                    </a:cubicBezTo>
                    <a:cubicBezTo>
                      <a:pt x="515020" y="271144"/>
                      <a:pt x="525856" y="263405"/>
                      <a:pt x="537723" y="256181"/>
                    </a:cubicBezTo>
                    <a:cubicBezTo>
                      <a:pt x="558362" y="244313"/>
                      <a:pt x="572810" y="245861"/>
                      <a:pt x="590353" y="261857"/>
                    </a:cubicBezTo>
                    <a:cubicBezTo>
                      <a:pt x="620280" y="289203"/>
                      <a:pt x="650207" y="317066"/>
                      <a:pt x="679617" y="344929"/>
                    </a:cubicBezTo>
                    <a:cubicBezTo>
                      <a:pt x="710576" y="374340"/>
                      <a:pt x="717284" y="375372"/>
                      <a:pt x="754950" y="355765"/>
                    </a:cubicBezTo>
                    <a:cubicBezTo>
                      <a:pt x="769913" y="348025"/>
                      <a:pt x="783845" y="339769"/>
                      <a:pt x="797260" y="329450"/>
                    </a:cubicBezTo>
                    <a:cubicBezTo>
                      <a:pt x="811707" y="317582"/>
                      <a:pt x="816351" y="303651"/>
                      <a:pt x="811707" y="285076"/>
                    </a:cubicBezTo>
                    <a:cubicBezTo>
                      <a:pt x="800872" y="242249"/>
                      <a:pt x="791585" y="198907"/>
                      <a:pt x="781781" y="156081"/>
                    </a:cubicBezTo>
                    <a:cubicBezTo>
                      <a:pt x="775589" y="128218"/>
                      <a:pt x="782297" y="114287"/>
                      <a:pt x="807064" y="100872"/>
                    </a:cubicBezTo>
                    <a:cubicBezTo>
                      <a:pt x="818415" y="95196"/>
                      <a:pt x="829766" y="90552"/>
                      <a:pt x="841634" y="86424"/>
                    </a:cubicBezTo>
                    <a:cubicBezTo>
                      <a:pt x="866917" y="78685"/>
                      <a:pt x="881364" y="83328"/>
                      <a:pt x="896328" y="106031"/>
                    </a:cubicBezTo>
                    <a:cubicBezTo>
                      <a:pt x="920062" y="142666"/>
                      <a:pt x="943798" y="179300"/>
                      <a:pt x="965469" y="217483"/>
                    </a:cubicBezTo>
                    <a:cubicBezTo>
                      <a:pt x="976820" y="237090"/>
                      <a:pt x="992299" y="243797"/>
                      <a:pt x="1013455" y="240702"/>
                    </a:cubicBezTo>
                    <a:cubicBezTo>
                      <a:pt x="1035641" y="237090"/>
                      <a:pt x="1057313" y="231414"/>
                      <a:pt x="1077952" y="222642"/>
                    </a:cubicBezTo>
                    <a:cubicBezTo>
                      <a:pt x="1092915" y="215935"/>
                      <a:pt x="1101171" y="205615"/>
                      <a:pt x="1101687" y="188072"/>
                    </a:cubicBezTo>
                    <a:cubicBezTo>
                      <a:pt x="1102719" y="143182"/>
                      <a:pt x="1105298" y="98808"/>
                      <a:pt x="1106847" y="53918"/>
                    </a:cubicBezTo>
                    <a:cubicBezTo>
                      <a:pt x="1107878" y="25023"/>
                      <a:pt x="1117166" y="12640"/>
                      <a:pt x="1145029" y="4900"/>
                    </a:cubicBezTo>
                    <a:cubicBezTo>
                      <a:pt x="1149672" y="3868"/>
                      <a:pt x="1154316" y="2320"/>
                      <a:pt x="1158960" y="1804"/>
                    </a:cubicBezTo>
                    <a:cubicBezTo>
                      <a:pt x="1210042" y="-3872"/>
                      <a:pt x="1222426" y="1804"/>
                      <a:pt x="1235841" y="48758"/>
                    </a:cubicBezTo>
                    <a:cubicBezTo>
                      <a:pt x="1246676" y="86940"/>
                      <a:pt x="1259576" y="124091"/>
                      <a:pt x="1269895" y="162273"/>
                    </a:cubicBezTo>
                    <a:cubicBezTo>
                      <a:pt x="1275055" y="180332"/>
                      <a:pt x="1285890" y="190136"/>
                      <a:pt x="1303434" y="192716"/>
                    </a:cubicBezTo>
                    <a:cubicBezTo>
                      <a:pt x="1327685" y="195812"/>
                      <a:pt x="1352452" y="195812"/>
                      <a:pt x="1376702" y="192716"/>
                    </a:cubicBezTo>
                    <a:cubicBezTo>
                      <a:pt x="1393730" y="190652"/>
                      <a:pt x="1404049" y="180332"/>
                      <a:pt x="1409209" y="163305"/>
                    </a:cubicBezTo>
                    <a:cubicBezTo>
                      <a:pt x="1421593" y="121511"/>
                      <a:pt x="1434492" y="79717"/>
                      <a:pt x="1447392" y="37922"/>
                    </a:cubicBezTo>
                    <a:cubicBezTo>
                      <a:pt x="1457195" y="6964"/>
                      <a:pt x="1466998" y="-260"/>
                      <a:pt x="1499505" y="256"/>
                    </a:cubicBezTo>
                    <a:cubicBezTo>
                      <a:pt x="1504149" y="256"/>
                      <a:pt x="1508793" y="256"/>
                      <a:pt x="1513436" y="772"/>
                    </a:cubicBezTo>
                    <a:cubicBezTo>
                      <a:pt x="1559358" y="5416"/>
                      <a:pt x="1572258" y="19347"/>
                      <a:pt x="1573290" y="65269"/>
                    </a:cubicBezTo>
                    <a:cubicBezTo>
                      <a:pt x="1574322" y="105515"/>
                      <a:pt x="1575870" y="145246"/>
                      <a:pt x="1576902" y="185492"/>
                    </a:cubicBezTo>
                    <a:cubicBezTo>
                      <a:pt x="1577418" y="201487"/>
                      <a:pt x="1583093" y="213871"/>
                      <a:pt x="1598057" y="220578"/>
                    </a:cubicBezTo>
                    <a:cubicBezTo>
                      <a:pt x="1622308" y="231414"/>
                      <a:pt x="1647590" y="238638"/>
                      <a:pt x="1674422" y="240702"/>
                    </a:cubicBezTo>
                    <a:cubicBezTo>
                      <a:pt x="1690933" y="241733"/>
                      <a:pt x="1702285" y="235026"/>
                      <a:pt x="1710540" y="221610"/>
                    </a:cubicBezTo>
                    <a:cubicBezTo>
                      <a:pt x="1733243" y="184976"/>
                      <a:pt x="1756462" y="148342"/>
                      <a:pt x="1779165" y="111707"/>
                    </a:cubicBezTo>
                    <a:cubicBezTo>
                      <a:pt x="1798772" y="80749"/>
                      <a:pt x="1810640" y="76621"/>
                      <a:pt x="1845726" y="88488"/>
                    </a:cubicBezTo>
                    <a:cubicBezTo>
                      <a:pt x="1849854" y="90036"/>
                      <a:pt x="1853466" y="91068"/>
                      <a:pt x="1857594" y="92616"/>
                    </a:cubicBezTo>
                    <a:cubicBezTo>
                      <a:pt x="1898356" y="110159"/>
                      <a:pt x="1905063" y="123059"/>
                      <a:pt x="1895260" y="166401"/>
                    </a:cubicBezTo>
                    <a:cubicBezTo>
                      <a:pt x="1886488" y="205099"/>
                      <a:pt x="1877717" y="243281"/>
                      <a:pt x="1868429" y="281980"/>
                    </a:cubicBezTo>
                    <a:cubicBezTo>
                      <a:pt x="1863269" y="303135"/>
                      <a:pt x="1868429" y="319646"/>
                      <a:pt x="1887004" y="332030"/>
                    </a:cubicBezTo>
                    <a:cubicBezTo>
                      <a:pt x="1906096" y="344929"/>
                      <a:pt x="1925187" y="356796"/>
                      <a:pt x="1946857" y="365052"/>
                    </a:cubicBezTo>
                    <a:cubicBezTo>
                      <a:pt x="1962337" y="370728"/>
                      <a:pt x="1974720" y="367116"/>
                      <a:pt x="1986588" y="355765"/>
                    </a:cubicBezTo>
                    <a:cubicBezTo>
                      <a:pt x="2018062" y="325838"/>
                      <a:pt x="2049537" y="296943"/>
                      <a:pt x="2081528" y="267532"/>
                    </a:cubicBezTo>
                    <a:cubicBezTo>
                      <a:pt x="2107843" y="242765"/>
                      <a:pt x="2122290" y="241733"/>
                      <a:pt x="2151701" y="261857"/>
                    </a:cubicBezTo>
                    <a:cubicBezTo>
                      <a:pt x="2153248" y="262889"/>
                      <a:pt x="2154281" y="263405"/>
                      <a:pt x="2155312" y="264437"/>
                    </a:cubicBezTo>
                    <a:cubicBezTo>
                      <a:pt x="2205363" y="300555"/>
                      <a:pt x="2198139" y="316034"/>
                      <a:pt x="2177500" y="353701"/>
                    </a:cubicBezTo>
                    <a:cubicBezTo>
                      <a:pt x="2158925" y="387755"/>
                      <a:pt x="2141381" y="422842"/>
                      <a:pt x="2122290" y="456896"/>
                    </a:cubicBezTo>
                    <a:cubicBezTo>
                      <a:pt x="2112487" y="474955"/>
                      <a:pt x="2114550" y="490435"/>
                      <a:pt x="2126934" y="505914"/>
                    </a:cubicBezTo>
                    <a:cubicBezTo>
                      <a:pt x="2140865" y="522941"/>
                      <a:pt x="2156345" y="538421"/>
                      <a:pt x="2173372" y="551836"/>
                    </a:cubicBezTo>
                    <a:cubicBezTo>
                      <a:pt x="2187819" y="563187"/>
                      <a:pt x="2202783" y="564735"/>
                      <a:pt x="2219810" y="555964"/>
                    </a:cubicBezTo>
                    <a:cubicBezTo>
                      <a:pt x="2258508" y="534809"/>
                      <a:pt x="2297722" y="514170"/>
                      <a:pt x="2336937" y="494046"/>
                    </a:cubicBezTo>
                    <a:cubicBezTo>
                      <a:pt x="2364799" y="479599"/>
                      <a:pt x="2380795" y="482695"/>
                      <a:pt x="2400917" y="507462"/>
                    </a:cubicBezTo>
                    <a:cubicBezTo>
                      <a:pt x="2408141" y="515717"/>
                      <a:pt x="2414849" y="524489"/>
                      <a:pt x="2420525" y="533777"/>
                    </a:cubicBezTo>
                    <a:cubicBezTo>
                      <a:pt x="2434972" y="556480"/>
                      <a:pt x="2433424" y="571443"/>
                      <a:pt x="2415365" y="591566"/>
                    </a:cubicBezTo>
                    <a:cubicBezTo>
                      <a:pt x="2384406" y="625105"/>
                      <a:pt x="2353448" y="659159"/>
                      <a:pt x="2321973" y="692182"/>
                    </a:cubicBezTo>
                    <a:cubicBezTo>
                      <a:pt x="2310106" y="704565"/>
                      <a:pt x="2307526" y="717981"/>
                      <a:pt x="2313718" y="733460"/>
                    </a:cubicBezTo>
                    <a:cubicBezTo>
                      <a:pt x="2323005" y="755647"/>
                      <a:pt x="2334357" y="776286"/>
                      <a:pt x="2349320" y="795377"/>
                    </a:cubicBezTo>
                    <a:cubicBezTo>
                      <a:pt x="2361187" y="810857"/>
                      <a:pt x="2375635" y="814984"/>
                      <a:pt x="2394726" y="810341"/>
                    </a:cubicBezTo>
                    <a:cubicBezTo>
                      <a:pt x="2438584" y="799505"/>
                      <a:pt x="2482958" y="789701"/>
                      <a:pt x="2526816" y="780414"/>
                    </a:cubicBezTo>
                    <a:cubicBezTo>
                      <a:pt x="2550035" y="775254"/>
                      <a:pt x="2563967" y="781962"/>
                      <a:pt x="2575834" y="803117"/>
                    </a:cubicBezTo>
                    <a:cubicBezTo>
                      <a:pt x="2582026" y="814468"/>
                      <a:pt x="2587186" y="826336"/>
                      <a:pt x="2591313" y="838719"/>
                    </a:cubicBezTo>
                    <a:cubicBezTo>
                      <a:pt x="2600085" y="867098"/>
                      <a:pt x="2595441" y="880514"/>
                      <a:pt x="2570158" y="896509"/>
                    </a:cubicBezTo>
                    <a:cubicBezTo>
                      <a:pt x="2534040" y="919212"/>
                      <a:pt x="2498437" y="942947"/>
                      <a:pt x="2461287" y="964102"/>
                    </a:cubicBezTo>
                    <a:cubicBezTo>
                      <a:pt x="2440132" y="976485"/>
                      <a:pt x="2434456" y="992997"/>
                      <a:pt x="2438068" y="1014668"/>
                    </a:cubicBezTo>
                    <a:cubicBezTo>
                      <a:pt x="2441164" y="1034791"/>
                      <a:pt x="2446840" y="1054398"/>
                      <a:pt x="2454063" y="1073489"/>
                    </a:cubicBezTo>
                    <a:cubicBezTo>
                      <a:pt x="2460771" y="1091032"/>
                      <a:pt x="2472638" y="1100320"/>
                      <a:pt x="2492762" y="1100836"/>
                    </a:cubicBezTo>
                    <a:cubicBezTo>
                      <a:pt x="2538168" y="1101352"/>
                      <a:pt x="2583058" y="1104448"/>
                      <a:pt x="2628464" y="1105996"/>
                    </a:cubicBezTo>
                    <a:cubicBezTo>
                      <a:pt x="2653230" y="1107028"/>
                      <a:pt x="2665614" y="1116831"/>
                      <a:pt x="2672322" y="1140566"/>
                    </a:cubicBezTo>
                    <a:cubicBezTo>
                      <a:pt x="2676449" y="1153982"/>
                      <a:pt x="2677998" y="1167913"/>
                      <a:pt x="2677998" y="1182360"/>
                    </a:cubicBezTo>
                    <a:cubicBezTo>
                      <a:pt x="2677998" y="1210223"/>
                      <a:pt x="2670258" y="1221575"/>
                      <a:pt x="2644459" y="1229830"/>
                    </a:cubicBezTo>
                    <a:cubicBezTo>
                      <a:pt x="2603697" y="1242730"/>
                      <a:pt x="2562934" y="1255113"/>
                      <a:pt x="2522172" y="1267497"/>
                    </a:cubicBezTo>
                    <a:cubicBezTo>
                      <a:pt x="2492762" y="1276268"/>
                      <a:pt x="2485022" y="1285556"/>
                      <a:pt x="2483990" y="1315998"/>
                    </a:cubicBezTo>
                    <a:cubicBezTo>
                      <a:pt x="2483474" y="1337153"/>
                      <a:pt x="2481926" y="1358824"/>
                      <a:pt x="2486570" y="1379980"/>
                    </a:cubicBezTo>
                    <a:cubicBezTo>
                      <a:pt x="2489666" y="1394427"/>
                      <a:pt x="2498437" y="1403199"/>
                      <a:pt x="2512885" y="1407842"/>
                    </a:cubicBezTo>
                    <a:cubicBezTo>
                      <a:pt x="2555711" y="1420742"/>
                      <a:pt x="2598537" y="1433641"/>
                      <a:pt x="2641363" y="1447057"/>
                    </a:cubicBezTo>
                    <a:cubicBezTo>
                      <a:pt x="2671290" y="1456344"/>
                      <a:pt x="2678514" y="1466664"/>
                      <a:pt x="2677998" y="1498138"/>
                    </a:cubicBezTo>
                    <a:cubicBezTo>
                      <a:pt x="2677998" y="1501234"/>
                      <a:pt x="2677998" y="1504330"/>
                      <a:pt x="2677998" y="1507426"/>
                    </a:cubicBezTo>
                    <a:cubicBezTo>
                      <a:pt x="2675934" y="1555928"/>
                      <a:pt x="2660454" y="1571407"/>
                      <a:pt x="2611952" y="1572955"/>
                    </a:cubicBezTo>
                    <a:cubicBezTo>
                      <a:pt x="2571190" y="1573987"/>
                      <a:pt x="2530944" y="1576051"/>
                      <a:pt x="2490182" y="1576567"/>
                    </a:cubicBezTo>
                    <a:cubicBezTo>
                      <a:pt x="2474702" y="1577083"/>
                      <a:pt x="2463867" y="1583791"/>
                      <a:pt x="2457675" y="1596690"/>
                    </a:cubicBezTo>
                    <a:cubicBezTo>
                      <a:pt x="2446324" y="1620941"/>
                      <a:pt x="2439100" y="1646224"/>
                      <a:pt x="2437036" y="1673055"/>
                    </a:cubicBezTo>
                    <a:cubicBezTo>
                      <a:pt x="2435488" y="1690082"/>
                      <a:pt x="2442712" y="1701434"/>
                      <a:pt x="2457159" y="1710205"/>
                    </a:cubicBezTo>
                    <a:cubicBezTo>
                      <a:pt x="2493278" y="1732392"/>
                      <a:pt x="2528880" y="1754579"/>
                      <a:pt x="2564483" y="1777282"/>
                    </a:cubicBezTo>
                    <a:cubicBezTo>
                      <a:pt x="2596989" y="1797405"/>
                      <a:pt x="2601117" y="1809789"/>
                      <a:pt x="2588733" y="1845907"/>
                    </a:cubicBezTo>
                    <a:cubicBezTo>
                      <a:pt x="2584606" y="1858291"/>
                      <a:pt x="2578930" y="1870158"/>
                      <a:pt x="2571706" y="1880994"/>
                    </a:cubicBezTo>
                    <a:cubicBezTo>
                      <a:pt x="2564998" y="1890797"/>
                      <a:pt x="2554163" y="1897505"/>
                      <a:pt x="2538684" y="1897505"/>
                    </a:cubicBezTo>
                    <a:close/>
                    <a:moveTo>
                      <a:pt x="1338521" y="2312867"/>
                    </a:moveTo>
                    <a:cubicBezTo>
                      <a:pt x="1869461" y="2314931"/>
                      <a:pt x="2317329" y="1887701"/>
                      <a:pt x="2316814" y="1335605"/>
                    </a:cubicBezTo>
                    <a:cubicBezTo>
                      <a:pt x="2316298" y="792797"/>
                      <a:pt x="1880813" y="359892"/>
                      <a:pt x="1340068" y="359376"/>
                    </a:cubicBezTo>
                    <a:cubicBezTo>
                      <a:pt x="796228" y="358860"/>
                      <a:pt x="363839" y="794861"/>
                      <a:pt x="361775" y="1331994"/>
                    </a:cubicBezTo>
                    <a:cubicBezTo>
                      <a:pt x="359711" y="1882026"/>
                      <a:pt x="806032" y="2314415"/>
                      <a:pt x="1338521" y="2312867"/>
                    </a:cubicBezTo>
                    <a:close/>
                  </a:path>
                </a:pathLst>
              </a:custGeom>
              <a:grpFill/>
              <a:ln w="51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98C02BA6-7A63-47F9-8DDF-38320E62477D}"/>
                  </a:ext>
                </a:extLst>
              </p:cNvPr>
              <p:cNvSpPr/>
              <p:nvPr/>
            </p:nvSpPr>
            <p:spPr>
              <a:xfrm>
                <a:off x="7558586" y="2011427"/>
                <a:ext cx="1898797" cy="1893637"/>
              </a:xfrm>
              <a:custGeom>
                <a:avLst/>
                <a:gdLst>
                  <a:gd name="connsiteX0" fmla="*/ 30 w 1898796"/>
                  <a:gd name="connsiteY0" fmla="*/ 947852 h 1893636"/>
                  <a:gd name="connsiteX1" fmla="*/ 950461 w 1898796"/>
                  <a:gd name="connsiteY1" fmla="*/ 2 h 1893636"/>
                  <a:gd name="connsiteX2" fmla="*/ 1898827 w 1898796"/>
                  <a:gd name="connsiteY2" fmla="*/ 950948 h 1893636"/>
                  <a:gd name="connsiteX3" fmla="*/ 946849 w 1898796"/>
                  <a:gd name="connsiteY3" fmla="*/ 1898283 h 1893636"/>
                  <a:gd name="connsiteX4" fmla="*/ 30 w 1898796"/>
                  <a:gd name="connsiteY4" fmla="*/ 947852 h 1893636"/>
                  <a:gd name="connsiteX5" fmla="*/ 1187811 w 1898796"/>
                  <a:gd name="connsiteY5" fmla="*/ 949916 h 1893636"/>
                  <a:gd name="connsiteX6" fmla="*/ 949429 w 1898796"/>
                  <a:gd name="connsiteY6" fmla="*/ 710503 h 1893636"/>
                  <a:gd name="connsiteX7" fmla="*/ 710532 w 1898796"/>
                  <a:gd name="connsiteY7" fmla="*/ 948368 h 1893636"/>
                  <a:gd name="connsiteX8" fmla="*/ 948397 w 1898796"/>
                  <a:gd name="connsiteY8" fmla="*/ 1188298 h 1893636"/>
                  <a:gd name="connsiteX9" fmla="*/ 1187811 w 1898796"/>
                  <a:gd name="connsiteY9" fmla="*/ 949916 h 1893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898796" h="1893636">
                    <a:moveTo>
                      <a:pt x="30" y="947852"/>
                    </a:moveTo>
                    <a:cubicBezTo>
                      <a:pt x="-3065" y="428263"/>
                      <a:pt x="426228" y="-1030"/>
                      <a:pt x="950461" y="2"/>
                    </a:cubicBezTo>
                    <a:cubicBezTo>
                      <a:pt x="1472114" y="1034"/>
                      <a:pt x="1899859" y="427747"/>
                      <a:pt x="1898827" y="950948"/>
                    </a:cubicBezTo>
                    <a:cubicBezTo>
                      <a:pt x="1897795" y="1468473"/>
                      <a:pt x="1477790" y="1899315"/>
                      <a:pt x="946849" y="1898283"/>
                    </a:cubicBezTo>
                    <a:cubicBezTo>
                      <a:pt x="411781" y="1896735"/>
                      <a:pt x="-4097" y="1460218"/>
                      <a:pt x="30" y="947852"/>
                    </a:cubicBezTo>
                    <a:close/>
                    <a:moveTo>
                      <a:pt x="1187811" y="949916"/>
                    </a:moveTo>
                    <a:cubicBezTo>
                      <a:pt x="1188327" y="817310"/>
                      <a:pt x="1084099" y="710503"/>
                      <a:pt x="949429" y="710503"/>
                    </a:cubicBezTo>
                    <a:cubicBezTo>
                      <a:pt x="805987" y="710503"/>
                      <a:pt x="710015" y="828146"/>
                      <a:pt x="710532" y="948368"/>
                    </a:cubicBezTo>
                    <a:cubicBezTo>
                      <a:pt x="711048" y="1081490"/>
                      <a:pt x="815791" y="1188298"/>
                      <a:pt x="948397" y="1188298"/>
                    </a:cubicBezTo>
                    <a:cubicBezTo>
                      <a:pt x="1081003" y="1188298"/>
                      <a:pt x="1187294" y="1083038"/>
                      <a:pt x="1187811" y="949916"/>
                    </a:cubicBezTo>
                    <a:close/>
                  </a:path>
                </a:pathLst>
              </a:custGeom>
              <a:grpFill/>
              <a:ln w="51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952D0FF-E99F-49A0-B658-59855EA4A5AC}"/>
              </a:ext>
            </a:extLst>
          </p:cNvPr>
          <p:cNvGrpSpPr/>
          <p:nvPr/>
        </p:nvGrpSpPr>
        <p:grpSpPr>
          <a:xfrm rot="18655185">
            <a:off x="7923365" y="4809769"/>
            <a:ext cx="1639387" cy="985059"/>
            <a:chOff x="2753518" y="3556278"/>
            <a:chExt cx="2028524" cy="1218879"/>
          </a:xfrm>
          <a:solidFill>
            <a:schemeClr val="bg1">
              <a:alpha val="5000"/>
            </a:schemeClr>
          </a:solidFill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E06EEF8-C820-49D6-9EAE-41763A5315FA}"/>
                </a:ext>
              </a:extLst>
            </p:cNvPr>
            <p:cNvSpPr/>
            <p:nvPr/>
          </p:nvSpPr>
          <p:spPr>
            <a:xfrm>
              <a:off x="2753518" y="3683131"/>
              <a:ext cx="796648" cy="799367"/>
            </a:xfrm>
            <a:custGeom>
              <a:avLst/>
              <a:gdLst>
                <a:gd name="connsiteX0" fmla="*/ 817500 w 1511813"/>
                <a:gd name="connsiteY0" fmla="*/ 1518710 h 1516973"/>
                <a:gd name="connsiteX1" fmla="*/ 802537 w 1511813"/>
                <a:gd name="connsiteY1" fmla="*/ 1507875 h 1516973"/>
                <a:gd name="connsiteX2" fmla="*/ 780866 w 1511813"/>
                <a:gd name="connsiteY2" fmla="*/ 1442862 h 1516973"/>
                <a:gd name="connsiteX3" fmla="*/ 776738 w 1511813"/>
                <a:gd name="connsiteY3" fmla="*/ 1385072 h 1516973"/>
                <a:gd name="connsiteX4" fmla="*/ 760227 w 1511813"/>
                <a:gd name="connsiteY4" fmla="*/ 1369593 h 1516973"/>
                <a:gd name="connsiteX5" fmla="*/ 694698 w 1511813"/>
                <a:gd name="connsiteY5" fmla="*/ 1366497 h 1516973"/>
                <a:gd name="connsiteX6" fmla="*/ 676638 w 1511813"/>
                <a:gd name="connsiteY6" fmla="*/ 1379912 h 1516973"/>
                <a:gd name="connsiteX7" fmla="*/ 637940 w 1511813"/>
                <a:gd name="connsiteY7" fmla="*/ 1501683 h 1516973"/>
                <a:gd name="connsiteX8" fmla="*/ 622977 w 1511813"/>
                <a:gd name="connsiteY8" fmla="*/ 1508907 h 1516973"/>
                <a:gd name="connsiteX9" fmla="*/ 430517 w 1511813"/>
                <a:gd name="connsiteY9" fmla="*/ 1447505 h 1516973"/>
                <a:gd name="connsiteX10" fmla="*/ 422262 w 1511813"/>
                <a:gd name="connsiteY10" fmla="*/ 1431510 h 1516973"/>
                <a:gd name="connsiteX11" fmla="*/ 435677 w 1511813"/>
                <a:gd name="connsiteY11" fmla="*/ 1364433 h 1516973"/>
                <a:gd name="connsiteX12" fmla="*/ 461992 w 1511813"/>
                <a:gd name="connsiteY12" fmla="*/ 1310255 h 1516973"/>
                <a:gd name="connsiteX13" fmla="*/ 456316 w 1511813"/>
                <a:gd name="connsiteY13" fmla="*/ 1290132 h 1516973"/>
                <a:gd name="connsiteX14" fmla="*/ 395431 w 1511813"/>
                <a:gd name="connsiteY14" fmla="*/ 1251434 h 1516973"/>
                <a:gd name="connsiteX15" fmla="*/ 378919 w 1511813"/>
                <a:gd name="connsiteY15" fmla="*/ 1254014 h 1516973"/>
                <a:gd name="connsiteX16" fmla="*/ 283464 w 1511813"/>
                <a:gd name="connsiteY16" fmla="*/ 1342246 h 1516973"/>
                <a:gd name="connsiteX17" fmla="*/ 265920 w 1511813"/>
                <a:gd name="connsiteY17" fmla="*/ 1341214 h 1516973"/>
                <a:gd name="connsiteX18" fmla="*/ 130218 w 1511813"/>
                <a:gd name="connsiteY18" fmla="*/ 1191580 h 1516973"/>
                <a:gd name="connsiteX19" fmla="*/ 130734 w 1511813"/>
                <a:gd name="connsiteY19" fmla="*/ 1174553 h 1516973"/>
                <a:gd name="connsiteX20" fmla="*/ 177688 w 1511813"/>
                <a:gd name="connsiteY20" fmla="*/ 1121408 h 1516973"/>
                <a:gd name="connsiteX21" fmla="*/ 225674 w 1511813"/>
                <a:gd name="connsiteY21" fmla="*/ 1089417 h 1516973"/>
                <a:gd name="connsiteX22" fmla="*/ 230834 w 1511813"/>
                <a:gd name="connsiteY22" fmla="*/ 1067230 h 1516973"/>
                <a:gd name="connsiteX23" fmla="*/ 198327 w 1511813"/>
                <a:gd name="connsiteY23" fmla="*/ 1004281 h 1516973"/>
                <a:gd name="connsiteX24" fmla="*/ 183880 w 1511813"/>
                <a:gd name="connsiteY24" fmla="*/ 998089 h 1516973"/>
                <a:gd name="connsiteX25" fmla="*/ 67269 w 1511813"/>
                <a:gd name="connsiteY25" fmla="*/ 1025952 h 1516973"/>
                <a:gd name="connsiteX26" fmla="*/ 55918 w 1511813"/>
                <a:gd name="connsiteY26" fmla="*/ 1027500 h 1516973"/>
                <a:gd name="connsiteX27" fmla="*/ 41470 w 1511813"/>
                <a:gd name="connsiteY27" fmla="*/ 1018212 h 1516973"/>
                <a:gd name="connsiteX28" fmla="*/ 1224 w 1511813"/>
                <a:gd name="connsiteY28" fmla="*/ 841748 h 1516973"/>
                <a:gd name="connsiteX29" fmla="*/ 30635 w 1511813"/>
                <a:gd name="connsiteY29" fmla="*/ 797374 h 1516973"/>
                <a:gd name="connsiteX30" fmla="*/ 134862 w 1511813"/>
                <a:gd name="connsiteY30" fmla="*/ 778799 h 1516973"/>
                <a:gd name="connsiteX31" fmla="*/ 147246 w 1511813"/>
                <a:gd name="connsiteY31" fmla="*/ 765899 h 1516973"/>
                <a:gd name="connsiteX32" fmla="*/ 150342 w 1511813"/>
                <a:gd name="connsiteY32" fmla="*/ 696242 h 1516973"/>
                <a:gd name="connsiteX33" fmla="*/ 137442 w 1511813"/>
                <a:gd name="connsiteY33" fmla="*/ 678699 h 1516973"/>
                <a:gd name="connsiteX34" fmla="*/ 14639 w 1511813"/>
                <a:gd name="connsiteY34" fmla="*/ 639485 h 1516973"/>
                <a:gd name="connsiteX35" fmla="*/ 7932 w 1511813"/>
                <a:gd name="connsiteY35" fmla="*/ 625037 h 1516973"/>
                <a:gd name="connsiteX36" fmla="*/ 69333 w 1511813"/>
                <a:gd name="connsiteY36" fmla="*/ 432578 h 1516973"/>
                <a:gd name="connsiteX37" fmla="*/ 86360 w 1511813"/>
                <a:gd name="connsiteY37" fmla="*/ 423806 h 1516973"/>
                <a:gd name="connsiteX38" fmla="*/ 150858 w 1511813"/>
                <a:gd name="connsiteY38" fmla="*/ 436706 h 1516973"/>
                <a:gd name="connsiteX39" fmla="*/ 206583 w 1511813"/>
                <a:gd name="connsiteY39" fmla="*/ 463536 h 1516973"/>
                <a:gd name="connsiteX40" fmla="*/ 227738 w 1511813"/>
                <a:gd name="connsiteY40" fmla="*/ 457345 h 1516973"/>
                <a:gd name="connsiteX41" fmla="*/ 266952 w 1511813"/>
                <a:gd name="connsiteY41" fmla="*/ 396459 h 1516973"/>
                <a:gd name="connsiteX42" fmla="*/ 264373 w 1511813"/>
                <a:gd name="connsiteY42" fmla="*/ 380980 h 1516973"/>
                <a:gd name="connsiteX43" fmla="*/ 175108 w 1511813"/>
                <a:gd name="connsiteY43" fmla="*/ 284492 h 1516973"/>
                <a:gd name="connsiteX44" fmla="*/ 176140 w 1511813"/>
                <a:gd name="connsiteY44" fmla="*/ 267981 h 1516973"/>
                <a:gd name="connsiteX45" fmla="*/ 325258 w 1511813"/>
                <a:gd name="connsiteY45" fmla="*/ 132279 h 1516973"/>
                <a:gd name="connsiteX46" fmla="*/ 343317 w 1511813"/>
                <a:gd name="connsiteY46" fmla="*/ 132795 h 1516973"/>
                <a:gd name="connsiteX47" fmla="*/ 395431 w 1511813"/>
                <a:gd name="connsiteY47" fmla="*/ 178717 h 1516973"/>
                <a:gd name="connsiteX48" fmla="*/ 426389 w 1511813"/>
                <a:gd name="connsiteY48" fmla="*/ 224639 h 1516973"/>
                <a:gd name="connsiteX49" fmla="*/ 451156 w 1511813"/>
                <a:gd name="connsiteY49" fmla="*/ 231347 h 1516973"/>
                <a:gd name="connsiteX50" fmla="*/ 512042 w 1511813"/>
                <a:gd name="connsiteY50" fmla="*/ 200388 h 1516973"/>
                <a:gd name="connsiteX51" fmla="*/ 518233 w 1511813"/>
                <a:gd name="connsiteY51" fmla="*/ 183877 h 1516973"/>
                <a:gd name="connsiteX52" fmla="*/ 491403 w 1511813"/>
                <a:gd name="connsiteY52" fmla="*/ 69846 h 1516973"/>
                <a:gd name="connsiteX53" fmla="*/ 489855 w 1511813"/>
                <a:gd name="connsiteY53" fmla="*/ 58494 h 1516973"/>
                <a:gd name="connsiteX54" fmla="*/ 499658 w 1511813"/>
                <a:gd name="connsiteY54" fmla="*/ 43015 h 1516973"/>
                <a:gd name="connsiteX55" fmla="*/ 695730 w 1511813"/>
                <a:gd name="connsiteY55" fmla="*/ 189 h 1516973"/>
                <a:gd name="connsiteX56" fmla="*/ 713273 w 1511813"/>
                <a:gd name="connsiteY56" fmla="*/ 12056 h 1516973"/>
                <a:gd name="connsiteX57" fmla="*/ 721012 w 1511813"/>
                <a:gd name="connsiteY57" fmla="*/ 35275 h 1516973"/>
                <a:gd name="connsiteX58" fmla="*/ 738556 w 1511813"/>
                <a:gd name="connsiteY58" fmla="*/ 134343 h 1516973"/>
                <a:gd name="connsiteX59" fmla="*/ 753519 w 1511813"/>
                <a:gd name="connsiteY59" fmla="*/ 148790 h 1516973"/>
                <a:gd name="connsiteX60" fmla="*/ 820596 w 1511813"/>
                <a:gd name="connsiteY60" fmla="*/ 151886 h 1516973"/>
                <a:gd name="connsiteX61" fmla="*/ 838655 w 1511813"/>
                <a:gd name="connsiteY61" fmla="*/ 138471 h 1516973"/>
                <a:gd name="connsiteX62" fmla="*/ 877354 w 1511813"/>
                <a:gd name="connsiteY62" fmla="*/ 16700 h 1516973"/>
                <a:gd name="connsiteX63" fmla="*/ 892317 w 1511813"/>
                <a:gd name="connsiteY63" fmla="*/ 9476 h 1516973"/>
                <a:gd name="connsiteX64" fmla="*/ 1084777 w 1511813"/>
                <a:gd name="connsiteY64" fmla="*/ 70878 h 1516973"/>
                <a:gd name="connsiteX65" fmla="*/ 1093032 w 1511813"/>
                <a:gd name="connsiteY65" fmla="*/ 86873 h 1516973"/>
                <a:gd name="connsiteX66" fmla="*/ 1079617 w 1511813"/>
                <a:gd name="connsiteY66" fmla="*/ 152402 h 1516973"/>
                <a:gd name="connsiteX67" fmla="*/ 1053302 w 1511813"/>
                <a:gd name="connsiteY67" fmla="*/ 206580 h 1516973"/>
                <a:gd name="connsiteX68" fmla="*/ 1060010 w 1511813"/>
                <a:gd name="connsiteY68" fmla="*/ 228251 h 1516973"/>
                <a:gd name="connsiteX69" fmla="*/ 1118315 w 1511813"/>
                <a:gd name="connsiteY69" fmla="*/ 265917 h 1516973"/>
                <a:gd name="connsiteX70" fmla="*/ 1136374 w 1511813"/>
                <a:gd name="connsiteY70" fmla="*/ 262821 h 1516973"/>
                <a:gd name="connsiteX71" fmla="*/ 1232346 w 1511813"/>
                <a:gd name="connsiteY71" fmla="*/ 174589 h 1516973"/>
                <a:gd name="connsiteX72" fmla="*/ 1247825 w 1511813"/>
                <a:gd name="connsiteY72" fmla="*/ 175621 h 1516973"/>
                <a:gd name="connsiteX73" fmla="*/ 1384559 w 1511813"/>
                <a:gd name="connsiteY73" fmla="*/ 325770 h 1516973"/>
                <a:gd name="connsiteX74" fmla="*/ 1384043 w 1511813"/>
                <a:gd name="connsiteY74" fmla="*/ 342798 h 1516973"/>
                <a:gd name="connsiteX75" fmla="*/ 1336057 w 1511813"/>
                <a:gd name="connsiteY75" fmla="*/ 396975 h 1516973"/>
                <a:gd name="connsiteX76" fmla="*/ 1291167 w 1511813"/>
                <a:gd name="connsiteY76" fmla="*/ 426902 h 1516973"/>
                <a:gd name="connsiteX77" fmla="*/ 1284976 w 1511813"/>
                <a:gd name="connsiteY77" fmla="*/ 451153 h 1516973"/>
                <a:gd name="connsiteX78" fmla="*/ 1316450 w 1511813"/>
                <a:gd name="connsiteY78" fmla="*/ 513070 h 1516973"/>
                <a:gd name="connsiteX79" fmla="*/ 1330898 w 1511813"/>
                <a:gd name="connsiteY79" fmla="*/ 519262 h 1516973"/>
                <a:gd name="connsiteX80" fmla="*/ 1447509 w 1511813"/>
                <a:gd name="connsiteY80" fmla="*/ 491399 h 1516973"/>
                <a:gd name="connsiteX81" fmla="*/ 1458860 w 1511813"/>
                <a:gd name="connsiteY81" fmla="*/ 489851 h 1516973"/>
                <a:gd name="connsiteX82" fmla="*/ 1473307 w 1511813"/>
                <a:gd name="connsiteY82" fmla="*/ 499139 h 1516973"/>
                <a:gd name="connsiteX83" fmla="*/ 1513554 w 1511813"/>
                <a:gd name="connsiteY83" fmla="*/ 675603 h 1516973"/>
                <a:gd name="connsiteX84" fmla="*/ 1514070 w 1511813"/>
                <a:gd name="connsiteY84" fmla="*/ 679215 h 1516973"/>
                <a:gd name="connsiteX85" fmla="*/ 1490335 w 1511813"/>
                <a:gd name="connsiteY85" fmla="*/ 717397 h 1516973"/>
                <a:gd name="connsiteX86" fmla="*/ 1379916 w 1511813"/>
                <a:gd name="connsiteY86" fmla="*/ 738036 h 1516973"/>
                <a:gd name="connsiteX87" fmla="*/ 1367532 w 1511813"/>
                <a:gd name="connsiteY87" fmla="*/ 749904 h 1516973"/>
                <a:gd name="connsiteX88" fmla="*/ 1363920 w 1511813"/>
                <a:gd name="connsiteY88" fmla="*/ 822141 h 1516973"/>
                <a:gd name="connsiteX89" fmla="*/ 1375788 w 1511813"/>
                <a:gd name="connsiteY89" fmla="*/ 838136 h 1516973"/>
                <a:gd name="connsiteX90" fmla="*/ 1498590 w 1511813"/>
                <a:gd name="connsiteY90" fmla="*/ 876834 h 1516973"/>
                <a:gd name="connsiteX91" fmla="*/ 1506330 w 1511813"/>
                <a:gd name="connsiteY91" fmla="*/ 891798 h 1516973"/>
                <a:gd name="connsiteX92" fmla="*/ 1444413 w 1511813"/>
                <a:gd name="connsiteY92" fmla="*/ 1085289 h 1516973"/>
                <a:gd name="connsiteX93" fmla="*/ 1429449 w 1511813"/>
                <a:gd name="connsiteY93" fmla="*/ 1093029 h 1516973"/>
                <a:gd name="connsiteX94" fmla="*/ 1306647 w 1511813"/>
                <a:gd name="connsiteY94" fmla="*/ 1052783 h 1516973"/>
                <a:gd name="connsiteX95" fmla="*/ 1287556 w 1511813"/>
                <a:gd name="connsiteY95" fmla="*/ 1057942 h 1516973"/>
                <a:gd name="connsiteX96" fmla="*/ 1248857 w 1511813"/>
                <a:gd name="connsiteY96" fmla="*/ 1118828 h 1516973"/>
                <a:gd name="connsiteX97" fmla="*/ 1250405 w 1511813"/>
                <a:gd name="connsiteY97" fmla="*/ 1135339 h 1516973"/>
                <a:gd name="connsiteX98" fmla="*/ 1339153 w 1511813"/>
                <a:gd name="connsiteY98" fmla="*/ 1230795 h 1516973"/>
                <a:gd name="connsiteX99" fmla="*/ 1337605 w 1511813"/>
                <a:gd name="connsiteY99" fmla="*/ 1249370 h 1516973"/>
                <a:gd name="connsiteX100" fmla="*/ 1189004 w 1511813"/>
                <a:gd name="connsiteY100" fmla="*/ 1384040 h 1516973"/>
                <a:gd name="connsiteX101" fmla="*/ 1170945 w 1511813"/>
                <a:gd name="connsiteY101" fmla="*/ 1383524 h 1516973"/>
                <a:gd name="connsiteX102" fmla="*/ 1118831 w 1511813"/>
                <a:gd name="connsiteY102" fmla="*/ 1337602 h 1516973"/>
                <a:gd name="connsiteX103" fmla="*/ 1086840 w 1511813"/>
                <a:gd name="connsiteY103" fmla="*/ 1289616 h 1516973"/>
                <a:gd name="connsiteX104" fmla="*/ 1064137 w 1511813"/>
                <a:gd name="connsiteY104" fmla="*/ 1284456 h 1516973"/>
                <a:gd name="connsiteX105" fmla="*/ 1002220 w 1511813"/>
                <a:gd name="connsiteY105" fmla="*/ 1316447 h 1516973"/>
                <a:gd name="connsiteX106" fmla="*/ 996028 w 1511813"/>
                <a:gd name="connsiteY106" fmla="*/ 1332958 h 1516973"/>
                <a:gd name="connsiteX107" fmla="*/ 1022859 w 1511813"/>
                <a:gd name="connsiteY107" fmla="*/ 1446989 h 1516973"/>
                <a:gd name="connsiteX108" fmla="*/ 1024407 w 1511813"/>
                <a:gd name="connsiteY108" fmla="*/ 1459889 h 1516973"/>
                <a:gd name="connsiteX109" fmla="*/ 1015636 w 1511813"/>
                <a:gd name="connsiteY109" fmla="*/ 1473304 h 1516973"/>
                <a:gd name="connsiteX110" fmla="*/ 817500 w 1511813"/>
                <a:gd name="connsiteY110" fmla="*/ 1518710 h 1516973"/>
                <a:gd name="connsiteX111" fmla="*/ 758163 w 1511813"/>
                <a:gd name="connsiteY111" fmla="*/ 1148238 h 1516973"/>
                <a:gd name="connsiteX112" fmla="*/ 1145146 w 1511813"/>
                <a:gd name="connsiteY112" fmla="*/ 758675 h 1516973"/>
                <a:gd name="connsiteX113" fmla="*/ 757131 w 1511813"/>
                <a:gd name="connsiteY113" fmla="*/ 371176 h 1516973"/>
                <a:gd name="connsiteX114" fmla="*/ 368600 w 1511813"/>
                <a:gd name="connsiteY114" fmla="*/ 759707 h 1516973"/>
                <a:gd name="connsiteX115" fmla="*/ 758163 w 1511813"/>
                <a:gd name="connsiteY115" fmla="*/ 1148238 h 1516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</a:cxnLst>
              <a:rect l="l" t="t" r="r" b="b"/>
              <a:pathLst>
                <a:path w="1511813" h="1516973">
                  <a:moveTo>
                    <a:pt x="817500" y="1518710"/>
                  </a:moveTo>
                  <a:cubicBezTo>
                    <a:pt x="809245" y="1520774"/>
                    <a:pt x="805633" y="1516130"/>
                    <a:pt x="802537" y="1507875"/>
                  </a:cubicBezTo>
                  <a:cubicBezTo>
                    <a:pt x="795829" y="1486204"/>
                    <a:pt x="788090" y="1464532"/>
                    <a:pt x="780866" y="1442862"/>
                  </a:cubicBezTo>
                  <a:cubicBezTo>
                    <a:pt x="774674" y="1424286"/>
                    <a:pt x="777770" y="1404679"/>
                    <a:pt x="776738" y="1385072"/>
                  </a:cubicBezTo>
                  <a:cubicBezTo>
                    <a:pt x="776222" y="1369593"/>
                    <a:pt x="775706" y="1370109"/>
                    <a:pt x="760227" y="1369593"/>
                  </a:cubicBezTo>
                  <a:cubicBezTo>
                    <a:pt x="738556" y="1369593"/>
                    <a:pt x="716369" y="1368045"/>
                    <a:pt x="694698" y="1366497"/>
                  </a:cubicBezTo>
                  <a:cubicBezTo>
                    <a:pt x="683346" y="1365465"/>
                    <a:pt x="676638" y="1365981"/>
                    <a:pt x="676638" y="1379912"/>
                  </a:cubicBezTo>
                  <a:cubicBezTo>
                    <a:pt x="676638" y="1424286"/>
                    <a:pt x="655483" y="1462469"/>
                    <a:pt x="637940" y="1501683"/>
                  </a:cubicBezTo>
                  <a:cubicBezTo>
                    <a:pt x="634844" y="1508907"/>
                    <a:pt x="630716" y="1510454"/>
                    <a:pt x="622977" y="1508907"/>
                  </a:cubicBezTo>
                  <a:cubicBezTo>
                    <a:pt x="556416" y="1496523"/>
                    <a:pt x="492434" y="1475368"/>
                    <a:pt x="430517" y="1447505"/>
                  </a:cubicBezTo>
                  <a:cubicBezTo>
                    <a:pt x="423294" y="1443893"/>
                    <a:pt x="420198" y="1440282"/>
                    <a:pt x="422262" y="1431510"/>
                  </a:cubicBezTo>
                  <a:cubicBezTo>
                    <a:pt x="427421" y="1409323"/>
                    <a:pt x="431033" y="1386620"/>
                    <a:pt x="435677" y="1364433"/>
                  </a:cubicBezTo>
                  <a:cubicBezTo>
                    <a:pt x="439805" y="1344310"/>
                    <a:pt x="452704" y="1327798"/>
                    <a:pt x="461992" y="1310255"/>
                  </a:cubicBezTo>
                  <a:cubicBezTo>
                    <a:pt x="467152" y="1300452"/>
                    <a:pt x="466120" y="1295808"/>
                    <a:pt x="456316" y="1290132"/>
                  </a:cubicBezTo>
                  <a:cubicBezTo>
                    <a:pt x="435677" y="1278265"/>
                    <a:pt x="415554" y="1264849"/>
                    <a:pt x="395431" y="1251434"/>
                  </a:cubicBezTo>
                  <a:cubicBezTo>
                    <a:pt x="388207" y="1246274"/>
                    <a:pt x="383563" y="1246274"/>
                    <a:pt x="378919" y="1254014"/>
                  </a:cubicBezTo>
                  <a:cubicBezTo>
                    <a:pt x="356216" y="1293228"/>
                    <a:pt x="319066" y="1317479"/>
                    <a:pt x="283464" y="1342246"/>
                  </a:cubicBezTo>
                  <a:cubicBezTo>
                    <a:pt x="276240" y="1346890"/>
                    <a:pt x="272112" y="1346374"/>
                    <a:pt x="265920" y="1341214"/>
                  </a:cubicBezTo>
                  <a:cubicBezTo>
                    <a:pt x="214323" y="1297356"/>
                    <a:pt x="169433" y="1246790"/>
                    <a:pt x="130218" y="1191580"/>
                  </a:cubicBezTo>
                  <a:cubicBezTo>
                    <a:pt x="125575" y="1185389"/>
                    <a:pt x="125059" y="1180745"/>
                    <a:pt x="130734" y="1174553"/>
                  </a:cubicBezTo>
                  <a:cubicBezTo>
                    <a:pt x="146730" y="1157010"/>
                    <a:pt x="161177" y="1138435"/>
                    <a:pt x="177688" y="1121408"/>
                  </a:cubicBezTo>
                  <a:cubicBezTo>
                    <a:pt x="191104" y="1107476"/>
                    <a:pt x="209163" y="1099221"/>
                    <a:pt x="225674" y="1089417"/>
                  </a:cubicBezTo>
                  <a:cubicBezTo>
                    <a:pt x="236510" y="1083225"/>
                    <a:pt x="237026" y="1078065"/>
                    <a:pt x="230834" y="1067230"/>
                  </a:cubicBezTo>
                  <a:cubicBezTo>
                    <a:pt x="218967" y="1047107"/>
                    <a:pt x="208647" y="1025436"/>
                    <a:pt x="198327" y="1004281"/>
                  </a:cubicBezTo>
                  <a:cubicBezTo>
                    <a:pt x="194716" y="997057"/>
                    <a:pt x="192136" y="993445"/>
                    <a:pt x="183880" y="998089"/>
                  </a:cubicBezTo>
                  <a:cubicBezTo>
                    <a:pt x="147246" y="1017180"/>
                    <a:pt x="108031" y="1024920"/>
                    <a:pt x="67269" y="1025952"/>
                  </a:cubicBezTo>
                  <a:cubicBezTo>
                    <a:pt x="63657" y="1025952"/>
                    <a:pt x="59529" y="1026984"/>
                    <a:pt x="55918" y="1027500"/>
                  </a:cubicBezTo>
                  <a:cubicBezTo>
                    <a:pt x="48694" y="1028532"/>
                    <a:pt x="44050" y="1025952"/>
                    <a:pt x="41470" y="1018212"/>
                  </a:cubicBezTo>
                  <a:cubicBezTo>
                    <a:pt x="21347" y="960939"/>
                    <a:pt x="6384" y="902117"/>
                    <a:pt x="1224" y="841748"/>
                  </a:cubicBezTo>
                  <a:cubicBezTo>
                    <a:pt x="-1872" y="808725"/>
                    <a:pt x="-1356" y="809241"/>
                    <a:pt x="30635" y="797374"/>
                  </a:cubicBezTo>
                  <a:cubicBezTo>
                    <a:pt x="64173" y="784474"/>
                    <a:pt x="98744" y="775703"/>
                    <a:pt x="134862" y="778799"/>
                  </a:cubicBezTo>
                  <a:cubicBezTo>
                    <a:pt x="144150" y="779315"/>
                    <a:pt x="147246" y="775187"/>
                    <a:pt x="147246" y="765899"/>
                  </a:cubicBezTo>
                  <a:cubicBezTo>
                    <a:pt x="147246" y="742680"/>
                    <a:pt x="148278" y="719461"/>
                    <a:pt x="150342" y="696242"/>
                  </a:cubicBezTo>
                  <a:cubicBezTo>
                    <a:pt x="151373" y="685923"/>
                    <a:pt x="150858" y="678699"/>
                    <a:pt x="137442" y="678699"/>
                  </a:cubicBezTo>
                  <a:cubicBezTo>
                    <a:pt x="92552" y="678699"/>
                    <a:pt x="53854" y="657544"/>
                    <a:pt x="14639" y="639485"/>
                  </a:cubicBezTo>
                  <a:cubicBezTo>
                    <a:pt x="7932" y="636389"/>
                    <a:pt x="6384" y="632261"/>
                    <a:pt x="7932" y="625037"/>
                  </a:cubicBezTo>
                  <a:cubicBezTo>
                    <a:pt x="20315" y="558476"/>
                    <a:pt x="40954" y="494495"/>
                    <a:pt x="69333" y="432578"/>
                  </a:cubicBezTo>
                  <a:cubicBezTo>
                    <a:pt x="72945" y="424838"/>
                    <a:pt x="77073" y="421742"/>
                    <a:pt x="86360" y="423806"/>
                  </a:cubicBezTo>
                  <a:cubicBezTo>
                    <a:pt x="107515" y="428450"/>
                    <a:pt x="129186" y="432578"/>
                    <a:pt x="150858" y="436706"/>
                  </a:cubicBezTo>
                  <a:cubicBezTo>
                    <a:pt x="171497" y="440833"/>
                    <a:pt x="188008" y="453733"/>
                    <a:pt x="206583" y="463536"/>
                  </a:cubicBezTo>
                  <a:cubicBezTo>
                    <a:pt x="216903" y="468696"/>
                    <a:pt x="221546" y="467664"/>
                    <a:pt x="227738" y="457345"/>
                  </a:cubicBezTo>
                  <a:cubicBezTo>
                    <a:pt x="239606" y="436706"/>
                    <a:pt x="253021" y="416582"/>
                    <a:pt x="266952" y="396459"/>
                  </a:cubicBezTo>
                  <a:cubicBezTo>
                    <a:pt x="271596" y="389752"/>
                    <a:pt x="271596" y="385108"/>
                    <a:pt x="264373" y="380980"/>
                  </a:cubicBezTo>
                  <a:cubicBezTo>
                    <a:pt x="225158" y="357761"/>
                    <a:pt x="200391" y="320611"/>
                    <a:pt x="175108" y="284492"/>
                  </a:cubicBezTo>
                  <a:cubicBezTo>
                    <a:pt x="170465" y="277785"/>
                    <a:pt x="170981" y="273657"/>
                    <a:pt x="176140" y="267981"/>
                  </a:cubicBezTo>
                  <a:cubicBezTo>
                    <a:pt x="219998" y="216383"/>
                    <a:pt x="270048" y="171493"/>
                    <a:pt x="325258" y="132279"/>
                  </a:cubicBezTo>
                  <a:cubicBezTo>
                    <a:pt x="331966" y="127635"/>
                    <a:pt x="336609" y="126603"/>
                    <a:pt x="343317" y="132795"/>
                  </a:cubicBezTo>
                  <a:cubicBezTo>
                    <a:pt x="360344" y="148274"/>
                    <a:pt x="378404" y="162722"/>
                    <a:pt x="395431" y="178717"/>
                  </a:cubicBezTo>
                  <a:cubicBezTo>
                    <a:pt x="409362" y="191616"/>
                    <a:pt x="416070" y="209160"/>
                    <a:pt x="426389" y="224639"/>
                  </a:cubicBezTo>
                  <a:cubicBezTo>
                    <a:pt x="437741" y="241666"/>
                    <a:pt x="435161" y="240634"/>
                    <a:pt x="451156" y="231347"/>
                  </a:cubicBezTo>
                  <a:cubicBezTo>
                    <a:pt x="470763" y="219995"/>
                    <a:pt x="491403" y="209676"/>
                    <a:pt x="512042" y="200388"/>
                  </a:cubicBezTo>
                  <a:cubicBezTo>
                    <a:pt x="521329" y="196260"/>
                    <a:pt x="522361" y="192132"/>
                    <a:pt x="518233" y="183877"/>
                  </a:cubicBezTo>
                  <a:cubicBezTo>
                    <a:pt x="499142" y="148274"/>
                    <a:pt x="492434" y="109576"/>
                    <a:pt x="491403" y="69846"/>
                  </a:cubicBezTo>
                  <a:cubicBezTo>
                    <a:pt x="491403" y="66234"/>
                    <a:pt x="490371" y="62106"/>
                    <a:pt x="489855" y="58494"/>
                  </a:cubicBezTo>
                  <a:cubicBezTo>
                    <a:pt x="488307" y="50239"/>
                    <a:pt x="491403" y="46111"/>
                    <a:pt x="499658" y="43015"/>
                  </a:cubicBezTo>
                  <a:cubicBezTo>
                    <a:pt x="563123" y="20312"/>
                    <a:pt x="628653" y="6380"/>
                    <a:pt x="695730" y="189"/>
                  </a:cubicBezTo>
                  <a:cubicBezTo>
                    <a:pt x="706049" y="-843"/>
                    <a:pt x="710693" y="2253"/>
                    <a:pt x="713273" y="12056"/>
                  </a:cubicBezTo>
                  <a:cubicBezTo>
                    <a:pt x="715337" y="19796"/>
                    <a:pt x="717917" y="27536"/>
                    <a:pt x="721012" y="35275"/>
                  </a:cubicBezTo>
                  <a:cubicBezTo>
                    <a:pt x="734428" y="67266"/>
                    <a:pt x="741136" y="99772"/>
                    <a:pt x="738556" y="134343"/>
                  </a:cubicBezTo>
                  <a:cubicBezTo>
                    <a:pt x="737524" y="145694"/>
                    <a:pt x="742168" y="148790"/>
                    <a:pt x="753519" y="148790"/>
                  </a:cubicBezTo>
                  <a:cubicBezTo>
                    <a:pt x="775706" y="148274"/>
                    <a:pt x="797893" y="149822"/>
                    <a:pt x="820596" y="151886"/>
                  </a:cubicBezTo>
                  <a:cubicBezTo>
                    <a:pt x="831948" y="152918"/>
                    <a:pt x="838655" y="152402"/>
                    <a:pt x="838655" y="138471"/>
                  </a:cubicBezTo>
                  <a:cubicBezTo>
                    <a:pt x="838655" y="94097"/>
                    <a:pt x="859810" y="55914"/>
                    <a:pt x="877354" y="16700"/>
                  </a:cubicBezTo>
                  <a:cubicBezTo>
                    <a:pt x="880449" y="9476"/>
                    <a:pt x="885093" y="7928"/>
                    <a:pt x="892317" y="9476"/>
                  </a:cubicBezTo>
                  <a:cubicBezTo>
                    <a:pt x="958878" y="21860"/>
                    <a:pt x="1022859" y="42499"/>
                    <a:pt x="1084777" y="70878"/>
                  </a:cubicBezTo>
                  <a:cubicBezTo>
                    <a:pt x="1092000" y="74489"/>
                    <a:pt x="1095096" y="78617"/>
                    <a:pt x="1093032" y="86873"/>
                  </a:cubicBezTo>
                  <a:cubicBezTo>
                    <a:pt x="1088388" y="108544"/>
                    <a:pt x="1084261" y="130731"/>
                    <a:pt x="1079617" y="152402"/>
                  </a:cubicBezTo>
                  <a:cubicBezTo>
                    <a:pt x="1075489" y="172525"/>
                    <a:pt x="1062590" y="189036"/>
                    <a:pt x="1053302" y="206580"/>
                  </a:cubicBezTo>
                  <a:cubicBezTo>
                    <a:pt x="1047626" y="217415"/>
                    <a:pt x="1048658" y="222575"/>
                    <a:pt x="1060010" y="228251"/>
                  </a:cubicBezTo>
                  <a:cubicBezTo>
                    <a:pt x="1080133" y="239602"/>
                    <a:pt x="1099740" y="252502"/>
                    <a:pt x="1118315" y="265917"/>
                  </a:cubicBezTo>
                  <a:cubicBezTo>
                    <a:pt x="1126571" y="272109"/>
                    <a:pt x="1131214" y="271593"/>
                    <a:pt x="1136374" y="262821"/>
                  </a:cubicBezTo>
                  <a:cubicBezTo>
                    <a:pt x="1159077" y="223607"/>
                    <a:pt x="1196744" y="199872"/>
                    <a:pt x="1232346" y="174589"/>
                  </a:cubicBezTo>
                  <a:cubicBezTo>
                    <a:pt x="1238538" y="170461"/>
                    <a:pt x="1242666" y="170977"/>
                    <a:pt x="1247825" y="175621"/>
                  </a:cubicBezTo>
                  <a:cubicBezTo>
                    <a:pt x="1299939" y="219995"/>
                    <a:pt x="1345345" y="270045"/>
                    <a:pt x="1384559" y="325770"/>
                  </a:cubicBezTo>
                  <a:cubicBezTo>
                    <a:pt x="1389203" y="331962"/>
                    <a:pt x="1389719" y="336606"/>
                    <a:pt x="1384043" y="342798"/>
                  </a:cubicBezTo>
                  <a:cubicBezTo>
                    <a:pt x="1368048" y="360857"/>
                    <a:pt x="1352569" y="379432"/>
                    <a:pt x="1336057" y="396975"/>
                  </a:cubicBezTo>
                  <a:cubicBezTo>
                    <a:pt x="1323674" y="409875"/>
                    <a:pt x="1306131" y="417098"/>
                    <a:pt x="1291167" y="426902"/>
                  </a:cubicBezTo>
                  <a:cubicBezTo>
                    <a:pt x="1276720" y="436706"/>
                    <a:pt x="1276720" y="436190"/>
                    <a:pt x="1284976" y="451153"/>
                  </a:cubicBezTo>
                  <a:cubicBezTo>
                    <a:pt x="1295811" y="471792"/>
                    <a:pt x="1306647" y="492431"/>
                    <a:pt x="1316450" y="513070"/>
                  </a:cubicBezTo>
                  <a:cubicBezTo>
                    <a:pt x="1320062" y="520294"/>
                    <a:pt x="1323158" y="523390"/>
                    <a:pt x="1330898" y="519262"/>
                  </a:cubicBezTo>
                  <a:cubicBezTo>
                    <a:pt x="1367532" y="500171"/>
                    <a:pt x="1406746" y="492431"/>
                    <a:pt x="1447509" y="491399"/>
                  </a:cubicBezTo>
                  <a:cubicBezTo>
                    <a:pt x="1451120" y="491399"/>
                    <a:pt x="1455248" y="490367"/>
                    <a:pt x="1458860" y="489851"/>
                  </a:cubicBezTo>
                  <a:cubicBezTo>
                    <a:pt x="1466600" y="488819"/>
                    <a:pt x="1470728" y="491399"/>
                    <a:pt x="1473307" y="499139"/>
                  </a:cubicBezTo>
                  <a:cubicBezTo>
                    <a:pt x="1493431" y="556412"/>
                    <a:pt x="1508394" y="615234"/>
                    <a:pt x="1513554" y="675603"/>
                  </a:cubicBezTo>
                  <a:cubicBezTo>
                    <a:pt x="1513554" y="676635"/>
                    <a:pt x="1513554" y="678183"/>
                    <a:pt x="1514070" y="679215"/>
                  </a:cubicBezTo>
                  <a:cubicBezTo>
                    <a:pt x="1518713" y="714301"/>
                    <a:pt x="1519745" y="706046"/>
                    <a:pt x="1490335" y="717397"/>
                  </a:cubicBezTo>
                  <a:cubicBezTo>
                    <a:pt x="1454732" y="730813"/>
                    <a:pt x="1418614" y="741648"/>
                    <a:pt x="1379916" y="738036"/>
                  </a:cubicBezTo>
                  <a:cubicBezTo>
                    <a:pt x="1371144" y="737004"/>
                    <a:pt x="1368048" y="740616"/>
                    <a:pt x="1367532" y="749904"/>
                  </a:cubicBezTo>
                  <a:cubicBezTo>
                    <a:pt x="1367016" y="774155"/>
                    <a:pt x="1365984" y="797890"/>
                    <a:pt x="1363920" y="822141"/>
                  </a:cubicBezTo>
                  <a:cubicBezTo>
                    <a:pt x="1363404" y="831944"/>
                    <a:pt x="1363920" y="838136"/>
                    <a:pt x="1375788" y="838136"/>
                  </a:cubicBezTo>
                  <a:cubicBezTo>
                    <a:pt x="1420678" y="838136"/>
                    <a:pt x="1459376" y="858775"/>
                    <a:pt x="1498590" y="876834"/>
                  </a:cubicBezTo>
                  <a:cubicBezTo>
                    <a:pt x="1505298" y="879930"/>
                    <a:pt x="1507878" y="883542"/>
                    <a:pt x="1506330" y="891798"/>
                  </a:cubicBezTo>
                  <a:cubicBezTo>
                    <a:pt x="1493947" y="958875"/>
                    <a:pt x="1472791" y="1023372"/>
                    <a:pt x="1444413" y="1085289"/>
                  </a:cubicBezTo>
                  <a:cubicBezTo>
                    <a:pt x="1441317" y="1092513"/>
                    <a:pt x="1437189" y="1094577"/>
                    <a:pt x="1429449" y="1093029"/>
                  </a:cubicBezTo>
                  <a:cubicBezTo>
                    <a:pt x="1386623" y="1085289"/>
                    <a:pt x="1343797" y="1078581"/>
                    <a:pt x="1306647" y="1052783"/>
                  </a:cubicBezTo>
                  <a:cubicBezTo>
                    <a:pt x="1297875" y="1046591"/>
                    <a:pt x="1293231" y="1048655"/>
                    <a:pt x="1287556" y="1057942"/>
                  </a:cubicBezTo>
                  <a:cubicBezTo>
                    <a:pt x="1275688" y="1078581"/>
                    <a:pt x="1262273" y="1098705"/>
                    <a:pt x="1248857" y="1118828"/>
                  </a:cubicBezTo>
                  <a:cubicBezTo>
                    <a:pt x="1244214" y="1125535"/>
                    <a:pt x="1242150" y="1130179"/>
                    <a:pt x="1250405" y="1135339"/>
                  </a:cubicBezTo>
                  <a:cubicBezTo>
                    <a:pt x="1289620" y="1158558"/>
                    <a:pt x="1313871" y="1194676"/>
                    <a:pt x="1339153" y="1230795"/>
                  </a:cubicBezTo>
                  <a:cubicBezTo>
                    <a:pt x="1344313" y="1238018"/>
                    <a:pt x="1343797" y="1242662"/>
                    <a:pt x="1337605" y="1249370"/>
                  </a:cubicBezTo>
                  <a:cubicBezTo>
                    <a:pt x="1293747" y="1300968"/>
                    <a:pt x="1244214" y="1345342"/>
                    <a:pt x="1189004" y="1384040"/>
                  </a:cubicBezTo>
                  <a:cubicBezTo>
                    <a:pt x="1182296" y="1388684"/>
                    <a:pt x="1177652" y="1389716"/>
                    <a:pt x="1170945" y="1383524"/>
                  </a:cubicBezTo>
                  <a:cubicBezTo>
                    <a:pt x="1153918" y="1368045"/>
                    <a:pt x="1135858" y="1353597"/>
                    <a:pt x="1118831" y="1337602"/>
                  </a:cubicBezTo>
                  <a:cubicBezTo>
                    <a:pt x="1104384" y="1324187"/>
                    <a:pt x="1096644" y="1306128"/>
                    <a:pt x="1086840" y="1289616"/>
                  </a:cubicBezTo>
                  <a:cubicBezTo>
                    <a:pt x="1080133" y="1278265"/>
                    <a:pt x="1074973" y="1277749"/>
                    <a:pt x="1064137" y="1284456"/>
                  </a:cubicBezTo>
                  <a:cubicBezTo>
                    <a:pt x="1044530" y="1296324"/>
                    <a:pt x="1023375" y="1306643"/>
                    <a:pt x="1002220" y="1316447"/>
                  </a:cubicBezTo>
                  <a:cubicBezTo>
                    <a:pt x="993449" y="1320575"/>
                    <a:pt x="991385" y="1324703"/>
                    <a:pt x="996028" y="1332958"/>
                  </a:cubicBezTo>
                  <a:cubicBezTo>
                    <a:pt x="1015120" y="1368561"/>
                    <a:pt x="1021827" y="1407259"/>
                    <a:pt x="1022859" y="1446989"/>
                  </a:cubicBezTo>
                  <a:cubicBezTo>
                    <a:pt x="1022859" y="1451117"/>
                    <a:pt x="1023891" y="1455245"/>
                    <a:pt x="1024407" y="1459889"/>
                  </a:cubicBezTo>
                  <a:cubicBezTo>
                    <a:pt x="1025439" y="1466596"/>
                    <a:pt x="1022859" y="1470724"/>
                    <a:pt x="1015636" y="1473304"/>
                  </a:cubicBezTo>
                  <a:cubicBezTo>
                    <a:pt x="970745" y="1493943"/>
                    <a:pt x="870646" y="1516130"/>
                    <a:pt x="817500" y="1518710"/>
                  </a:cubicBezTo>
                  <a:close/>
                  <a:moveTo>
                    <a:pt x="758163" y="1148238"/>
                  </a:moveTo>
                  <a:cubicBezTo>
                    <a:pt x="974357" y="1144627"/>
                    <a:pt x="1145146" y="976418"/>
                    <a:pt x="1145146" y="758675"/>
                  </a:cubicBezTo>
                  <a:cubicBezTo>
                    <a:pt x="1145146" y="542481"/>
                    <a:pt x="974357" y="371176"/>
                    <a:pt x="757131" y="371176"/>
                  </a:cubicBezTo>
                  <a:cubicBezTo>
                    <a:pt x="539904" y="371176"/>
                    <a:pt x="368600" y="542481"/>
                    <a:pt x="368600" y="759707"/>
                  </a:cubicBezTo>
                  <a:cubicBezTo>
                    <a:pt x="369116" y="977966"/>
                    <a:pt x="541452" y="1145659"/>
                    <a:pt x="758163" y="1148238"/>
                  </a:cubicBezTo>
                  <a:close/>
                </a:path>
              </a:pathLst>
            </a:custGeom>
            <a:grpFill/>
            <a:ln w="51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6B6371E7-8DBE-4426-B808-11EE3562F156}"/>
                </a:ext>
              </a:extLst>
            </p:cNvPr>
            <p:cNvGrpSpPr/>
            <p:nvPr/>
          </p:nvGrpSpPr>
          <p:grpSpPr>
            <a:xfrm>
              <a:off x="3563163" y="3556278"/>
              <a:ext cx="1218879" cy="1218879"/>
              <a:chOff x="3264582" y="1870309"/>
              <a:chExt cx="1774962" cy="1774962"/>
            </a:xfrm>
            <a:grpFill/>
          </p:grpSpPr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6B056C3D-76B0-4443-AB02-45EB5BF3EE13}"/>
                  </a:ext>
                </a:extLst>
              </p:cNvPr>
              <p:cNvSpPr/>
              <p:nvPr/>
            </p:nvSpPr>
            <p:spPr>
              <a:xfrm>
                <a:off x="3264582" y="1870309"/>
                <a:ext cx="1774962" cy="1774962"/>
              </a:xfrm>
              <a:custGeom>
                <a:avLst/>
                <a:gdLst>
                  <a:gd name="connsiteX0" fmla="*/ 894776 w 1774962"/>
                  <a:gd name="connsiteY0" fmla="*/ 1775736 h 1774962"/>
                  <a:gd name="connsiteX1" fmla="*/ 852466 w 1774962"/>
                  <a:gd name="connsiteY1" fmla="*/ 1775736 h 1774962"/>
                  <a:gd name="connsiteX2" fmla="*/ 839567 w 1774962"/>
                  <a:gd name="connsiteY2" fmla="*/ 1764901 h 1774962"/>
                  <a:gd name="connsiteX3" fmla="*/ 819960 w 1774962"/>
                  <a:gd name="connsiteY3" fmla="*/ 1666349 h 1774962"/>
                  <a:gd name="connsiteX4" fmla="*/ 822024 w 1774962"/>
                  <a:gd name="connsiteY4" fmla="*/ 1636938 h 1774962"/>
                  <a:gd name="connsiteX5" fmla="*/ 811704 w 1774962"/>
                  <a:gd name="connsiteY5" fmla="*/ 1623523 h 1774962"/>
                  <a:gd name="connsiteX6" fmla="*/ 695093 w 1774962"/>
                  <a:gd name="connsiteY6" fmla="*/ 1601852 h 1774962"/>
                  <a:gd name="connsiteX7" fmla="*/ 680130 w 1774962"/>
                  <a:gd name="connsiteY7" fmla="*/ 1610623 h 1774962"/>
                  <a:gd name="connsiteX8" fmla="*/ 615116 w 1774962"/>
                  <a:gd name="connsiteY8" fmla="*/ 1727234 h 1774962"/>
                  <a:gd name="connsiteX9" fmla="*/ 603765 w 1774962"/>
                  <a:gd name="connsiteY9" fmla="*/ 1730330 h 1774962"/>
                  <a:gd name="connsiteX10" fmla="*/ 512953 w 1774962"/>
                  <a:gd name="connsiteY10" fmla="*/ 1694212 h 1774962"/>
                  <a:gd name="connsiteX11" fmla="*/ 507277 w 1774962"/>
                  <a:gd name="connsiteY11" fmla="*/ 1681828 h 1774962"/>
                  <a:gd name="connsiteX12" fmla="*/ 527400 w 1774962"/>
                  <a:gd name="connsiteY12" fmla="*/ 1583277 h 1774962"/>
                  <a:gd name="connsiteX13" fmla="*/ 541848 w 1774962"/>
                  <a:gd name="connsiteY13" fmla="*/ 1552834 h 1774962"/>
                  <a:gd name="connsiteX14" fmla="*/ 537720 w 1774962"/>
                  <a:gd name="connsiteY14" fmla="*/ 1539418 h 1774962"/>
                  <a:gd name="connsiteX15" fmla="*/ 435041 w 1774962"/>
                  <a:gd name="connsiteY15" fmla="*/ 1472857 h 1774962"/>
                  <a:gd name="connsiteX16" fmla="*/ 420593 w 1774962"/>
                  <a:gd name="connsiteY16" fmla="*/ 1474921 h 1774962"/>
                  <a:gd name="connsiteX17" fmla="*/ 315334 w 1774962"/>
                  <a:gd name="connsiteY17" fmla="*/ 1559026 h 1774962"/>
                  <a:gd name="connsiteX18" fmla="*/ 302950 w 1774962"/>
                  <a:gd name="connsiteY18" fmla="*/ 1557478 h 1774962"/>
                  <a:gd name="connsiteX19" fmla="*/ 233809 w 1774962"/>
                  <a:gd name="connsiteY19" fmla="*/ 1490401 h 1774962"/>
                  <a:gd name="connsiteX20" fmla="*/ 232777 w 1774962"/>
                  <a:gd name="connsiteY20" fmla="*/ 1476985 h 1774962"/>
                  <a:gd name="connsiteX21" fmla="*/ 289019 w 1774962"/>
                  <a:gd name="connsiteY21" fmla="*/ 1393397 h 1774962"/>
                  <a:gd name="connsiteX22" fmla="*/ 312754 w 1774962"/>
                  <a:gd name="connsiteY22" fmla="*/ 1371726 h 1774962"/>
                  <a:gd name="connsiteX23" fmla="*/ 314818 w 1774962"/>
                  <a:gd name="connsiteY23" fmla="*/ 1355731 h 1774962"/>
                  <a:gd name="connsiteX24" fmla="*/ 246193 w 1774962"/>
                  <a:gd name="connsiteY24" fmla="*/ 1255631 h 1774962"/>
                  <a:gd name="connsiteX25" fmla="*/ 230713 w 1774962"/>
                  <a:gd name="connsiteY25" fmla="*/ 1253051 h 1774962"/>
                  <a:gd name="connsiteX26" fmla="*/ 102751 w 1774962"/>
                  <a:gd name="connsiteY26" fmla="*/ 1289685 h 1774962"/>
                  <a:gd name="connsiteX27" fmla="*/ 91916 w 1774962"/>
                  <a:gd name="connsiteY27" fmla="*/ 1282978 h 1774962"/>
                  <a:gd name="connsiteX28" fmla="*/ 53733 w 1774962"/>
                  <a:gd name="connsiteY28" fmla="*/ 1194230 h 1774962"/>
                  <a:gd name="connsiteX29" fmla="*/ 58377 w 1774962"/>
                  <a:gd name="connsiteY29" fmla="*/ 1181330 h 1774962"/>
                  <a:gd name="connsiteX30" fmla="*/ 142481 w 1774962"/>
                  <a:gd name="connsiteY30" fmla="*/ 1125605 h 1774962"/>
                  <a:gd name="connsiteX31" fmla="*/ 173956 w 1774962"/>
                  <a:gd name="connsiteY31" fmla="*/ 1114253 h 1774962"/>
                  <a:gd name="connsiteX32" fmla="*/ 180664 w 1774962"/>
                  <a:gd name="connsiteY32" fmla="*/ 1101870 h 1774962"/>
                  <a:gd name="connsiteX33" fmla="*/ 154865 w 1774962"/>
                  <a:gd name="connsiteY33" fmla="*/ 981131 h 1774962"/>
                  <a:gd name="connsiteX34" fmla="*/ 144029 w 1774962"/>
                  <a:gd name="connsiteY34" fmla="*/ 973391 h 1774962"/>
                  <a:gd name="connsiteX35" fmla="*/ 10391 w 1774962"/>
                  <a:gd name="connsiteY35" fmla="*/ 958428 h 1774962"/>
                  <a:gd name="connsiteX36" fmla="*/ 2135 w 1774962"/>
                  <a:gd name="connsiteY36" fmla="*/ 948624 h 1774962"/>
                  <a:gd name="connsiteX37" fmla="*/ 588 w 1774962"/>
                  <a:gd name="connsiteY37" fmla="*/ 850589 h 1774962"/>
                  <a:gd name="connsiteX38" fmla="*/ 10391 w 1774962"/>
                  <a:gd name="connsiteY38" fmla="*/ 840785 h 1774962"/>
                  <a:gd name="connsiteX39" fmla="*/ 110491 w 1774962"/>
                  <a:gd name="connsiteY39" fmla="*/ 820662 h 1774962"/>
                  <a:gd name="connsiteX40" fmla="*/ 139901 w 1774962"/>
                  <a:gd name="connsiteY40" fmla="*/ 822726 h 1774962"/>
                  <a:gd name="connsiteX41" fmla="*/ 153317 w 1774962"/>
                  <a:gd name="connsiteY41" fmla="*/ 811890 h 1774962"/>
                  <a:gd name="connsiteX42" fmla="*/ 174472 w 1774962"/>
                  <a:gd name="connsiteY42" fmla="*/ 696827 h 1774962"/>
                  <a:gd name="connsiteX43" fmla="*/ 164152 w 1774962"/>
                  <a:gd name="connsiteY43" fmla="*/ 680316 h 1774962"/>
                  <a:gd name="connsiteX44" fmla="*/ 49090 w 1774962"/>
                  <a:gd name="connsiteY44" fmla="*/ 615819 h 1774962"/>
                  <a:gd name="connsiteX45" fmla="*/ 45993 w 1774962"/>
                  <a:gd name="connsiteY45" fmla="*/ 606015 h 1774962"/>
                  <a:gd name="connsiteX46" fmla="*/ 82628 w 1774962"/>
                  <a:gd name="connsiteY46" fmla="*/ 513655 h 1774962"/>
                  <a:gd name="connsiteX47" fmla="*/ 93979 w 1774962"/>
                  <a:gd name="connsiteY47" fmla="*/ 508496 h 1774962"/>
                  <a:gd name="connsiteX48" fmla="*/ 224006 w 1774962"/>
                  <a:gd name="connsiteY48" fmla="*/ 543066 h 1774962"/>
                  <a:gd name="connsiteX49" fmla="*/ 236905 w 1774962"/>
                  <a:gd name="connsiteY49" fmla="*/ 538938 h 1774962"/>
                  <a:gd name="connsiteX50" fmla="*/ 302434 w 1774962"/>
                  <a:gd name="connsiteY50" fmla="*/ 437291 h 1774962"/>
                  <a:gd name="connsiteX51" fmla="*/ 302950 w 1774962"/>
                  <a:gd name="connsiteY51" fmla="*/ 423359 h 1774962"/>
                  <a:gd name="connsiteX52" fmla="*/ 238453 w 1774962"/>
                  <a:gd name="connsiteY52" fmla="*/ 346995 h 1774962"/>
                  <a:gd name="connsiteX53" fmla="*/ 228650 w 1774962"/>
                  <a:gd name="connsiteY53" fmla="*/ 333063 h 1774962"/>
                  <a:gd name="connsiteX54" fmla="*/ 230713 w 1774962"/>
                  <a:gd name="connsiteY54" fmla="*/ 290237 h 1774962"/>
                  <a:gd name="connsiteX55" fmla="*/ 283859 w 1774962"/>
                  <a:gd name="connsiteY55" fmla="*/ 236060 h 1774962"/>
                  <a:gd name="connsiteX56" fmla="*/ 300370 w 1774962"/>
                  <a:gd name="connsiteY56" fmla="*/ 234512 h 1774962"/>
                  <a:gd name="connsiteX57" fmla="*/ 380863 w 1774962"/>
                  <a:gd name="connsiteY57" fmla="*/ 288173 h 1774962"/>
                  <a:gd name="connsiteX58" fmla="*/ 403050 w 1774962"/>
                  <a:gd name="connsiteY58" fmla="*/ 311392 h 1774962"/>
                  <a:gd name="connsiteX59" fmla="*/ 422141 w 1774962"/>
                  <a:gd name="connsiteY59" fmla="*/ 313972 h 1774962"/>
                  <a:gd name="connsiteX60" fmla="*/ 519661 w 1774962"/>
                  <a:gd name="connsiteY60" fmla="*/ 246895 h 1774962"/>
                  <a:gd name="connsiteX61" fmla="*/ 524820 w 1774962"/>
                  <a:gd name="connsiteY61" fmla="*/ 233996 h 1774962"/>
                  <a:gd name="connsiteX62" fmla="*/ 492314 w 1774962"/>
                  <a:gd name="connsiteY62" fmla="*/ 127704 h 1774962"/>
                  <a:gd name="connsiteX63" fmla="*/ 514501 w 1774962"/>
                  <a:gd name="connsiteY63" fmla="*/ 82298 h 1774962"/>
                  <a:gd name="connsiteX64" fmla="*/ 578482 w 1774962"/>
                  <a:gd name="connsiteY64" fmla="*/ 55468 h 1774962"/>
                  <a:gd name="connsiteX65" fmla="*/ 595509 w 1774962"/>
                  <a:gd name="connsiteY65" fmla="*/ 60111 h 1774962"/>
                  <a:gd name="connsiteX66" fmla="*/ 648655 w 1774962"/>
                  <a:gd name="connsiteY66" fmla="*/ 139572 h 1774962"/>
                  <a:gd name="connsiteX67" fmla="*/ 661039 w 1774962"/>
                  <a:gd name="connsiteY67" fmla="*/ 172078 h 1774962"/>
                  <a:gd name="connsiteX68" fmla="*/ 675486 w 1774962"/>
                  <a:gd name="connsiteY68" fmla="*/ 180334 h 1774962"/>
                  <a:gd name="connsiteX69" fmla="*/ 792613 w 1774962"/>
                  <a:gd name="connsiteY69" fmla="*/ 155567 h 1774962"/>
                  <a:gd name="connsiteX70" fmla="*/ 801900 w 1774962"/>
                  <a:gd name="connsiteY70" fmla="*/ 143700 h 1774962"/>
                  <a:gd name="connsiteX71" fmla="*/ 816864 w 1774962"/>
                  <a:gd name="connsiteY71" fmla="*/ 11094 h 1774962"/>
                  <a:gd name="connsiteX72" fmla="*/ 826151 w 1774962"/>
                  <a:gd name="connsiteY72" fmla="*/ 2322 h 1774962"/>
                  <a:gd name="connsiteX73" fmla="*/ 925219 w 1774962"/>
                  <a:gd name="connsiteY73" fmla="*/ 774 h 1774962"/>
                  <a:gd name="connsiteX74" fmla="*/ 934507 w 1774962"/>
                  <a:gd name="connsiteY74" fmla="*/ 10062 h 1774962"/>
                  <a:gd name="connsiteX75" fmla="*/ 954114 w 1774962"/>
                  <a:gd name="connsiteY75" fmla="*/ 111193 h 1774962"/>
                  <a:gd name="connsiteX76" fmla="*/ 952050 w 1774962"/>
                  <a:gd name="connsiteY76" fmla="*/ 140604 h 1774962"/>
                  <a:gd name="connsiteX77" fmla="*/ 962369 w 1774962"/>
                  <a:gd name="connsiteY77" fmla="*/ 152987 h 1774962"/>
                  <a:gd name="connsiteX78" fmla="*/ 1078980 w 1774962"/>
                  <a:gd name="connsiteY78" fmla="*/ 174658 h 1774962"/>
                  <a:gd name="connsiteX79" fmla="*/ 1093428 w 1774962"/>
                  <a:gd name="connsiteY79" fmla="*/ 168467 h 1774962"/>
                  <a:gd name="connsiteX80" fmla="*/ 1147089 w 1774962"/>
                  <a:gd name="connsiteY80" fmla="*/ 69399 h 1774962"/>
                  <a:gd name="connsiteX81" fmla="*/ 1192495 w 1774962"/>
                  <a:gd name="connsiteY81" fmla="*/ 54436 h 1774962"/>
                  <a:gd name="connsiteX82" fmla="*/ 1258024 w 1774962"/>
                  <a:gd name="connsiteY82" fmla="*/ 81266 h 1774962"/>
                  <a:gd name="connsiteX83" fmla="*/ 1267312 w 1774962"/>
                  <a:gd name="connsiteY83" fmla="*/ 96746 h 1774962"/>
                  <a:gd name="connsiteX84" fmla="*/ 1247705 w 1774962"/>
                  <a:gd name="connsiteY84" fmla="*/ 192718 h 1774962"/>
                  <a:gd name="connsiteX85" fmla="*/ 1233258 w 1774962"/>
                  <a:gd name="connsiteY85" fmla="*/ 224192 h 1774962"/>
                  <a:gd name="connsiteX86" fmla="*/ 1237385 w 1774962"/>
                  <a:gd name="connsiteY86" fmla="*/ 237608 h 1774962"/>
                  <a:gd name="connsiteX87" fmla="*/ 1340065 w 1774962"/>
                  <a:gd name="connsiteY87" fmla="*/ 304169 h 1774962"/>
                  <a:gd name="connsiteX88" fmla="*/ 1354512 w 1774962"/>
                  <a:gd name="connsiteY88" fmla="*/ 302621 h 1774962"/>
                  <a:gd name="connsiteX89" fmla="*/ 1459771 w 1774962"/>
                  <a:gd name="connsiteY89" fmla="*/ 218516 h 1774962"/>
                  <a:gd name="connsiteX90" fmla="*/ 1472155 w 1774962"/>
                  <a:gd name="connsiteY90" fmla="*/ 220064 h 1774962"/>
                  <a:gd name="connsiteX91" fmla="*/ 1541296 w 1774962"/>
                  <a:gd name="connsiteY91" fmla="*/ 287657 h 1774962"/>
                  <a:gd name="connsiteX92" fmla="*/ 1542328 w 1774962"/>
                  <a:gd name="connsiteY92" fmla="*/ 301073 h 1774962"/>
                  <a:gd name="connsiteX93" fmla="*/ 1485570 w 1774962"/>
                  <a:gd name="connsiteY93" fmla="*/ 385693 h 1774962"/>
                  <a:gd name="connsiteX94" fmla="*/ 1462868 w 1774962"/>
                  <a:gd name="connsiteY94" fmla="*/ 406332 h 1774962"/>
                  <a:gd name="connsiteX95" fmla="*/ 1460803 w 1774962"/>
                  <a:gd name="connsiteY95" fmla="*/ 422327 h 1774962"/>
                  <a:gd name="connsiteX96" fmla="*/ 1529428 w 1774962"/>
                  <a:gd name="connsiteY96" fmla="*/ 522427 h 1774962"/>
                  <a:gd name="connsiteX97" fmla="*/ 1544908 w 1774962"/>
                  <a:gd name="connsiteY97" fmla="*/ 525007 h 1774962"/>
                  <a:gd name="connsiteX98" fmla="*/ 1672870 w 1774962"/>
                  <a:gd name="connsiteY98" fmla="*/ 488373 h 1774962"/>
                  <a:gd name="connsiteX99" fmla="*/ 1683706 w 1774962"/>
                  <a:gd name="connsiteY99" fmla="*/ 495080 h 1774962"/>
                  <a:gd name="connsiteX100" fmla="*/ 1721888 w 1774962"/>
                  <a:gd name="connsiteY100" fmla="*/ 583828 h 1774962"/>
                  <a:gd name="connsiteX101" fmla="*/ 1717244 w 1774962"/>
                  <a:gd name="connsiteY101" fmla="*/ 596728 h 1774962"/>
                  <a:gd name="connsiteX102" fmla="*/ 1633140 w 1774962"/>
                  <a:gd name="connsiteY102" fmla="*/ 652453 h 1774962"/>
                  <a:gd name="connsiteX103" fmla="*/ 1601665 w 1774962"/>
                  <a:gd name="connsiteY103" fmla="*/ 663805 h 1774962"/>
                  <a:gd name="connsiteX104" fmla="*/ 1594958 w 1774962"/>
                  <a:gd name="connsiteY104" fmla="*/ 676188 h 1774962"/>
                  <a:gd name="connsiteX105" fmla="*/ 1620241 w 1774962"/>
                  <a:gd name="connsiteY105" fmla="*/ 795895 h 1774962"/>
                  <a:gd name="connsiteX106" fmla="*/ 1631076 w 1774962"/>
                  <a:gd name="connsiteY106" fmla="*/ 804667 h 1774962"/>
                  <a:gd name="connsiteX107" fmla="*/ 1763682 w 1774962"/>
                  <a:gd name="connsiteY107" fmla="*/ 819630 h 1774962"/>
                  <a:gd name="connsiteX108" fmla="*/ 1773486 w 1774962"/>
                  <a:gd name="connsiteY108" fmla="*/ 829950 h 1774962"/>
                  <a:gd name="connsiteX109" fmla="*/ 1775034 w 1774962"/>
                  <a:gd name="connsiteY109" fmla="*/ 927985 h 1774962"/>
                  <a:gd name="connsiteX110" fmla="*/ 1766262 w 1774962"/>
                  <a:gd name="connsiteY110" fmla="*/ 937273 h 1774962"/>
                  <a:gd name="connsiteX111" fmla="*/ 1663583 w 1774962"/>
                  <a:gd name="connsiteY111" fmla="*/ 957396 h 1774962"/>
                  <a:gd name="connsiteX112" fmla="*/ 1636752 w 1774962"/>
                  <a:gd name="connsiteY112" fmla="*/ 955332 h 1774962"/>
                  <a:gd name="connsiteX113" fmla="*/ 1622304 w 1774962"/>
                  <a:gd name="connsiteY113" fmla="*/ 966684 h 1774962"/>
                  <a:gd name="connsiteX114" fmla="*/ 1601149 w 1774962"/>
                  <a:gd name="connsiteY114" fmla="*/ 1081746 h 1774962"/>
                  <a:gd name="connsiteX115" fmla="*/ 1610437 w 1774962"/>
                  <a:gd name="connsiteY115" fmla="*/ 1097742 h 1774962"/>
                  <a:gd name="connsiteX116" fmla="*/ 1726016 w 1774962"/>
                  <a:gd name="connsiteY116" fmla="*/ 1161723 h 1774962"/>
                  <a:gd name="connsiteX117" fmla="*/ 1729112 w 1774962"/>
                  <a:gd name="connsiteY117" fmla="*/ 1174107 h 1774962"/>
                  <a:gd name="connsiteX118" fmla="*/ 1693509 w 1774962"/>
                  <a:gd name="connsiteY118" fmla="*/ 1263887 h 1774962"/>
                  <a:gd name="connsiteX119" fmla="*/ 1681126 w 1774962"/>
                  <a:gd name="connsiteY119" fmla="*/ 1270078 h 1774962"/>
                  <a:gd name="connsiteX120" fmla="*/ 1581542 w 1774962"/>
                  <a:gd name="connsiteY120" fmla="*/ 1249955 h 1774962"/>
                  <a:gd name="connsiteX121" fmla="*/ 1552647 w 1774962"/>
                  <a:gd name="connsiteY121" fmla="*/ 1236024 h 1774962"/>
                  <a:gd name="connsiteX122" fmla="*/ 1538200 w 1774962"/>
                  <a:gd name="connsiteY122" fmla="*/ 1240152 h 1774962"/>
                  <a:gd name="connsiteX123" fmla="*/ 1473187 w 1774962"/>
                  <a:gd name="connsiteY123" fmla="*/ 1340767 h 1774962"/>
                  <a:gd name="connsiteX124" fmla="*/ 1475251 w 1774962"/>
                  <a:gd name="connsiteY124" fmla="*/ 1358310 h 1774962"/>
                  <a:gd name="connsiteX125" fmla="*/ 1535104 w 1774962"/>
                  <a:gd name="connsiteY125" fmla="*/ 1430031 h 1774962"/>
                  <a:gd name="connsiteX126" fmla="*/ 1545424 w 1774962"/>
                  <a:gd name="connsiteY126" fmla="*/ 1444995 h 1774962"/>
                  <a:gd name="connsiteX127" fmla="*/ 1542844 w 1774962"/>
                  <a:gd name="connsiteY127" fmla="*/ 1489885 h 1774962"/>
                  <a:gd name="connsiteX128" fmla="*/ 1491246 w 1774962"/>
                  <a:gd name="connsiteY128" fmla="*/ 1542514 h 1774962"/>
                  <a:gd name="connsiteX129" fmla="*/ 1472155 w 1774962"/>
                  <a:gd name="connsiteY129" fmla="*/ 1544062 h 1774962"/>
                  <a:gd name="connsiteX130" fmla="*/ 1393726 w 1774962"/>
                  <a:gd name="connsiteY130" fmla="*/ 1491948 h 1774962"/>
                  <a:gd name="connsiteX131" fmla="*/ 1369992 w 1774962"/>
                  <a:gd name="connsiteY131" fmla="*/ 1466666 h 1774962"/>
                  <a:gd name="connsiteX132" fmla="*/ 1352964 w 1774962"/>
                  <a:gd name="connsiteY132" fmla="*/ 1464602 h 1774962"/>
                  <a:gd name="connsiteX133" fmla="*/ 1254413 w 1774962"/>
                  <a:gd name="connsiteY133" fmla="*/ 1532711 h 1774962"/>
                  <a:gd name="connsiteX134" fmla="*/ 1248737 w 1774962"/>
                  <a:gd name="connsiteY134" fmla="*/ 1544578 h 1774962"/>
                  <a:gd name="connsiteX135" fmla="*/ 1284339 w 1774962"/>
                  <a:gd name="connsiteY135" fmla="*/ 1662221 h 1774962"/>
                  <a:gd name="connsiteX136" fmla="*/ 1268860 w 1774962"/>
                  <a:gd name="connsiteY136" fmla="*/ 1693180 h 1774962"/>
                  <a:gd name="connsiteX137" fmla="*/ 1195591 w 1774962"/>
                  <a:gd name="connsiteY137" fmla="*/ 1724654 h 1774962"/>
                  <a:gd name="connsiteX138" fmla="*/ 1178564 w 1774962"/>
                  <a:gd name="connsiteY138" fmla="*/ 1719495 h 1774962"/>
                  <a:gd name="connsiteX139" fmla="*/ 1125418 w 1774962"/>
                  <a:gd name="connsiteY139" fmla="*/ 1640034 h 1774962"/>
                  <a:gd name="connsiteX140" fmla="*/ 1113035 w 1774962"/>
                  <a:gd name="connsiteY140" fmla="*/ 1606496 h 1774962"/>
                  <a:gd name="connsiteX141" fmla="*/ 1099619 w 1774962"/>
                  <a:gd name="connsiteY141" fmla="*/ 1599272 h 1774962"/>
                  <a:gd name="connsiteX142" fmla="*/ 979913 w 1774962"/>
                  <a:gd name="connsiteY142" fmla="*/ 1624555 h 1774962"/>
                  <a:gd name="connsiteX143" fmla="*/ 972173 w 1774962"/>
                  <a:gd name="connsiteY143" fmla="*/ 1634874 h 1774962"/>
                  <a:gd name="connsiteX144" fmla="*/ 957726 w 1774962"/>
                  <a:gd name="connsiteY144" fmla="*/ 1767481 h 1774962"/>
                  <a:gd name="connsiteX145" fmla="*/ 945858 w 1774962"/>
                  <a:gd name="connsiteY145" fmla="*/ 1777800 h 1774962"/>
                  <a:gd name="connsiteX146" fmla="*/ 895808 w 1774962"/>
                  <a:gd name="connsiteY146" fmla="*/ 1779864 h 1774962"/>
                  <a:gd name="connsiteX147" fmla="*/ 894776 w 1774962"/>
                  <a:gd name="connsiteY147" fmla="*/ 1775736 h 1774962"/>
                  <a:gd name="connsiteX148" fmla="*/ 890648 w 1774962"/>
                  <a:gd name="connsiteY148" fmla="*/ 1454798 h 1774962"/>
                  <a:gd name="connsiteX149" fmla="*/ 1452548 w 1774962"/>
                  <a:gd name="connsiteY149" fmla="*/ 884127 h 1774962"/>
                  <a:gd name="connsiteX150" fmla="*/ 881361 w 1774962"/>
                  <a:gd name="connsiteY150" fmla="*/ 322228 h 1774962"/>
                  <a:gd name="connsiteX151" fmla="*/ 320494 w 1774962"/>
                  <a:gd name="connsiteY151" fmla="*/ 893415 h 1774962"/>
                  <a:gd name="connsiteX152" fmla="*/ 890648 w 1774962"/>
                  <a:gd name="connsiteY152" fmla="*/ 1454798 h 1774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</a:cxnLst>
                <a:rect l="l" t="t" r="r" b="b"/>
                <a:pathLst>
                  <a:path w="1774962" h="1774962">
                    <a:moveTo>
                      <a:pt x="894776" y="1775736"/>
                    </a:moveTo>
                    <a:cubicBezTo>
                      <a:pt x="880845" y="1775736"/>
                      <a:pt x="866397" y="1775736"/>
                      <a:pt x="852466" y="1775736"/>
                    </a:cubicBezTo>
                    <a:cubicBezTo>
                      <a:pt x="844726" y="1775736"/>
                      <a:pt x="840599" y="1772640"/>
                      <a:pt x="839567" y="1764901"/>
                    </a:cubicBezTo>
                    <a:cubicBezTo>
                      <a:pt x="833375" y="1731878"/>
                      <a:pt x="826151" y="1699371"/>
                      <a:pt x="819960" y="1666349"/>
                    </a:cubicBezTo>
                    <a:cubicBezTo>
                      <a:pt x="817896" y="1656545"/>
                      <a:pt x="820992" y="1646742"/>
                      <a:pt x="822024" y="1636938"/>
                    </a:cubicBezTo>
                    <a:cubicBezTo>
                      <a:pt x="823056" y="1628682"/>
                      <a:pt x="820992" y="1624555"/>
                      <a:pt x="811704" y="1623523"/>
                    </a:cubicBezTo>
                    <a:cubicBezTo>
                      <a:pt x="772490" y="1619395"/>
                      <a:pt x="733275" y="1612171"/>
                      <a:pt x="695093" y="1601852"/>
                    </a:cubicBezTo>
                    <a:cubicBezTo>
                      <a:pt x="686837" y="1599788"/>
                      <a:pt x="682194" y="1602368"/>
                      <a:pt x="680130" y="1610623"/>
                    </a:cubicBezTo>
                    <a:cubicBezTo>
                      <a:pt x="669294" y="1655513"/>
                      <a:pt x="636788" y="1688020"/>
                      <a:pt x="615116" y="1727234"/>
                    </a:cubicBezTo>
                    <a:cubicBezTo>
                      <a:pt x="612537" y="1731878"/>
                      <a:pt x="608409" y="1731878"/>
                      <a:pt x="603765" y="1730330"/>
                    </a:cubicBezTo>
                    <a:cubicBezTo>
                      <a:pt x="572807" y="1720011"/>
                      <a:pt x="542364" y="1707627"/>
                      <a:pt x="512953" y="1694212"/>
                    </a:cubicBezTo>
                    <a:cubicBezTo>
                      <a:pt x="506761" y="1691632"/>
                      <a:pt x="506245" y="1686988"/>
                      <a:pt x="507277" y="1681828"/>
                    </a:cubicBezTo>
                    <a:cubicBezTo>
                      <a:pt x="513985" y="1648806"/>
                      <a:pt x="519661" y="1615783"/>
                      <a:pt x="527400" y="1583277"/>
                    </a:cubicBezTo>
                    <a:cubicBezTo>
                      <a:pt x="529980" y="1572441"/>
                      <a:pt x="536172" y="1562637"/>
                      <a:pt x="541848" y="1552834"/>
                    </a:cubicBezTo>
                    <a:cubicBezTo>
                      <a:pt x="545460" y="1546642"/>
                      <a:pt x="544428" y="1543030"/>
                      <a:pt x="537720" y="1539418"/>
                    </a:cubicBezTo>
                    <a:cubicBezTo>
                      <a:pt x="501601" y="1520327"/>
                      <a:pt x="467547" y="1497624"/>
                      <a:pt x="435041" y="1472857"/>
                    </a:cubicBezTo>
                    <a:cubicBezTo>
                      <a:pt x="429365" y="1468214"/>
                      <a:pt x="425237" y="1468214"/>
                      <a:pt x="420593" y="1474921"/>
                    </a:cubicBezTo>
                    <a:cubicBezTo>
                      <a:pt x="393762" y="1512588"/>
                      <a:pt x="350936" y="1531163"/>
                      <a:pt x="315334" y="1559026"/>
                    </a:cubicBezTo>
                    <a:cubicBezTo>
                      <a:pt x="310690" y="1562637"/>
                      <a:pt x="307078" y="1561090"/>
                      <a:pt x="302950" y="1557478"/>
                    </a:cubicBezTo>
                    <a:cubicBezTo>
                      <a:pt x="278699" y="1536323"/>
                      <a:pt x="255996" y="1513104"/>
                      <a:pt x="233809" y="1490401"/>
                    </a:cubicBezTo>
                    <a:cubicBezTo>
                      <a:pt x="229682" y="1485757"/>
                      <a:pt x="229165" y="1482145"/>
                      <a:pt x="232777" y="1476985"/>
                    </a:cubicBezTo>
                    <a:cubicBezTo>
                      <a:pt x="251352" y="1449122"/>
                      <a:pt x="269928" y="1421260"/>
                      <a:pt x="289019" y="1393397"/>
                    </a:cubicBezTo>
                    <a:cubicBezTo>
                      <a:pt x="295210" y="1384625"/>
                      <a:pt x="304498" y="1378949"/>
                      <a:pt x="312754" y="1371726"/>
                    </a:cubicBezTo>
                    <a:cubicBezTo>
                      <a:pt x="318946" y="1366566"/>
                      <a:pt x="319978" y="1361922"/>
                      <a:pt x="314818" y="1355731"/>
                    </a:cubicBezTo>
                    <a:cubicBezTo>
                      <a:pt x="289535" y="1324256"/>
                      <a:pt x="266316" y="1291233"/>
                      <a:pt x="246193" y="1255631"/>
                    </a:cubicBezTo>
                    <a:cubicBezTo>
                      <a:pt x="241549" y="1247375"/>
                      <a:pt x="236905" y="1248923"/>
                      <a:pt x="230713" y="1253051"/>
                    </a:cubicBezTo>
                    <a:cubicBezTo>
                      <a:pt x="191499" y="1277302"/>
                      <a:pt x="145577" y="1277818"/>
                      <a:pt x="102751" y="1289685"/>
                    </a:cubicBezTo>
                    <a:cubicBezTo>
                      <a:pt x="97075" y="1291233"/>
                      <a:pt x="93979" y="1288137"/>
                      <a:pt x="91916" y="1282978"/>
                    </a:cubicBezTo>
                    <a:cubicBezTo>
                      <a:pt x="77984" y="1254083"/>
                      <a:pt x="65085" y="1224156"/>
                      <a:pt x="53733" y="1194230"/>
                    </a:cubicBezTo>
                    <a:cubicBezTo>
                      <a:pt x="51669" y="1188038"/>
                      <a:pt x="53217" y="1184426"/>
                      <a:pt x="58377" y="1181330"/>
                    </a:cubicBezTo>
                    <a:cubicBezTo>
                      <a:pt x="86240" y="1162755"/>
                      <a:pt x="113587" y="1143664"/>
                      <a:pt x="142481" y="1125605"/>
                    </a:cubicBezTo>
                    <a:cubicBezTo>
                      <a:pt x="151769" y="1119929"/>
                      <a:pt x="163120" y="1117349"/>
                      <a:pt x="173956" y="1114253"/>
                    </a:cubicBezTo>
                    <a:cubicBezTo>
                      <a:pt x="180664" y="1112189"/>
                      <a:pt x="182727" y="1109093"/>
                      <a:pt x="180664" y="1101870"/>
                    </a:cubicBezTo>
                    <a:cubicBezTo>
                      <a:pt x="168796" y="1062139"/>
                      <a:pt x="160541" y="1021893"/>
                      <a:pt x="154865" y="981131"/>
                    </a:cubicBezTo>
                    <a:cubicBezTo>
                      <a:pt x="153833" y="974423"/>
                      <a:pt x="150737" y="972359"/>
                      <a:pt x="144029" y="973391"/>
                    </a:cubicBezTo>
                    <a:cubicBezTo>
                      <a:pt x="98107" y="981131"/>
                      <a:pt x="54765" y="963588"/>
                      <a:pt x="10391" y="958428"/>
                    </a:cubicBezTo>
                    <a:cubicBezTo>
                      <a:pt x="4715" y="957912"/>
                      <a:pt x="2652" y="954300"/>
                      <a:pt x="2135" y="948624"/>
                    </a:cubicBezTo>
                    <a:cubicBezTo>
                      <a:pt x="-960" y="916118"/>
                      <a:pt x="72" y="883611"/>
                      <a:pt x="588" y="850589"/>
                    </a:cubicBezTo>
                    <a:cubicBezTo>
                      <a:pt x="588" y="844397"/>
                      <a:pt x="4715" y="841817"/>
                      <a:pt x="10391" y="840785"/>
                    </a:cubicBezTo>
                    <a:cubicBezTo>
                      <a:pt x="43930" y="834077"/>
                      <a:pt x="76952" y="827370"/>
                      <a:pt x="110491" y="820662"/>
                    </a:cubicBezTo>
                    <a:cubicBezTo>
                      <a:pt x="120294" y="818598"/>
                      <a:pt x="130098" y="821694"/>
                      <a:pt x="139901" y="822726"/>
                    </a:cubicBezTo>
                    <a:cubicBezTo>
                      <a:pt x="148157" y="823758"/>
                      <a:pt x="152285" y="820662"/>
                      <a:pt x="153317" y="811890"/>
                    </a:cubicBezTo>
                    <a:cubicBezTo>
                      <a:pt x="157445" y="773192"/>
                      <a:pt x="164668" y="734494"/>
                      <a:pt x="174472" y="696827"/>
                    </a:cubicBezTo>
                    <a:cubicBezTo>
                      <a:pt x="177052" y="687024"/>
                      <a:pt x="173440" y="682380"/>
                      <a:pt x="164152" y="680316"/>
                    </a:cubicBezTo>
                    <a:cubicBezTo>
                      <a:pt x="120294" y="668965"/>
                      <a:pt x="87272" y="636974"/>
                      <a:pt x="49090" y="615819"/>
                    </a:cubicBezTo>
                    <a:cubicBezTo>
                      <a:pt x="44961" y="613755"/>
                      <a:pt x="44961" y="610143"/>
                      <a:pt x="45993" y="606015"/>
                    </a:cubicBezTo>
                    <a:cubicBezTo>
                      <a:pt x="56313" y="574541"/>
                      <a:pt x="69212" y="544098"/>
                      <a:pt x="82628" y="513655"/>
                    </a:cubicBezTo>
                    <a:cubicBezTo>
                      <a:pt x="85208" y="507980"/>
                      <a:pt x="89336" y="506948"/>
                      <a:pt x="93979" y="508496"/>
                    </a:cubicBezTo>
                    <a:cubicBezTo>
                      <a:pt x="137322" y="519847"/>
                      <a:pt x="183760" y="518815"/>
                      <a:pt x="224006" y="543066"/>
                    </a:cubicBezTo>
                    <a:cubicBezTo>
                      <a:pt x="230713" y="547194"/>
                      <a:pt x="233809" y="544614"/>
                      <a:pt x="236905" y="538938"/>
                    </a:cubicBezTo>
                    <a:cubicBezTo>
                      <a:pt x="255996" y="503336"/>
                      <a:pt x="278183" y="469281"/>
                      <a:pt x="302434" y="437291"/>
                    </a:cubicBezTo>
                    <a:cubicBezTo>
                      <a:pt x="305530" y="433163"/>
                      <a:pt x="310690" y="428519"/>
                      <a:pt x="302950" y="423359"/>
                    </a:cubicBezTo>
                    <a:cubicBezTo>
                      <a:pt x="273540" y="404268"/>
                      <a:pt x="258576" y="373826"/>
                      <a:pt x="238453" y="346995"/>
                    </a:cubicBezTo>
                    <a:cubicBezTo>
                      <a:pt x="234841" y="342351"/>
                      <a:pt x="232262" y="337707"/>
                      <a:pt x="228650" y="333063"/>
                    </a:cubicBezTo>
                    <a:cubicBezTo>
                      <a:pt x="212654" y="310360"/>
                      <a:pt x="212138" y="309844"/>
                      <a:pt x="230713" y="290237"/>
                    </a:cubicBezTo>
                    <a:cubicBezTo>
                      <a:pt x="248257" y="271662"/>
                      <a:pt x="266316" y="254119"/>
                      <a:pt x="283859" y="236060"/>
                    </a:cubicBezTo>
                    <a:cubicBezTo>
                      <a:pt x="289535" y="230384"/>
                      <a:pt x="294179" y="229868"/>
                      <a:pt x="300370" y="234512"/>
                    </a:cubicBezTo>
                    <a:cubicBezTo>
                      <a:pt x="327201" y="252571"/>
                      <a:pt x="354032" y="270114"/>
                      <a:pt x="380863" y="288173"/>
                    </a:cubicBezTo>
                    <a:cubicBezTo>
                      <a:pt x="390150" y="294365"/>
                      <a:pt x="396342" y="303137"/>
                      <a:pt x="403050" y="311392"/>
                    </a:cubicBezTo>
                    <a:cubicBezTo>
                      <a:pt x="408726" y="319132"/>
                      <a:pt x="413885" y="320680"/>
                      <a:pt x="422141" y="313972"/>
                    </a:cubicBezTo>
                    <a:cubicBezTo>
                      <a:pt x="452584" y="288689"/>
                      <a:pt x="485606" y="266502"/>
                      <a:pt x="519661" y="246895"/>
                    </a:cubicBezTo>
                    <a:cubicBezTo>
                      <a:pt x="524820" y="243799"/>
                      <a:pt x="529464" y="240703"/>
                      <a:pt x="524820" y="233996"/>
                    </a:cubicBezTo>
                    <a:cubicBezTo>
                      <a:pt x="502633" y="202005"/>
                      <a:pt x="501086" y="163823"/>
                      <a:pt x="492314" y="127704"/>
                    </a:cubicBezTo>
                    <a:cubicBezTo>
                      <a:pt x="484574" y="96230"/>
                      <a:pt x="485606" y="96746"/>
                      <a:pt x="514501" y="82298"/>
                    </a:cubicBezTo>
                    <a:cubicBezTo>
                      <a:pt x="535140" y="71979"/>
                      <a:pt x="557327" y="64239"/>
                      <a:pt x="578482" y="55468"/>
                    </a:cubicBezTo>
                    <a:cubicBezTo>
                      <a:pt x="586222" y="52372"/>
                      <a:pt x="590866" y="52888"/>
                      <a:pt x="595509" y="60111"/>
                    </a:cubicBezTo>
                    <a:cubicBezTo>
                      <a:pt x="613053" y="86942"/>
                      <a:pt x="630596" y="113257"/>
                      <a:pt x="648655" y="139572"/>
                    </a:cubicBezTo>
                    <a:cubicBezTo>
                      <a:pt x="655363" y="149375"/>
                      <a:pt x="657427" y="160727"/>
                      <a:pt x="661039" y="172078"/>
                    </a:cubicBezTo>
                    <a:cubicBezTo>
                      <a:pt x="663618" y="180334"/>
                      <a:pt x="667230" y="182914"/>
                      <a:pt x="675486" y="180334"/>
                    </a:cubicBezTo>
                    <a:cubicBezTo>
                      <a:pt x="713668" y="168983"/>
                      <a:pt x="752882" y="160727"/>
                      <a:pt x="792613" y="155567"/>
                    </a:cubicBezTo>
                    <a:cubicBezTo>
                      <a:pt x="800352" y="154535"/>
                      <a:pt x="802932" y="151439"/>
                      <a:pt x="801900" y="143700"/>
                    </a:cubicBezTo>
                    <a:cubicBezTo>
                      <a:pt x="795193" y="98294"/>
                      <a:pt x="811704" y="55468"/>
                      <a:pt x="816864" y="11094"/>
                    </a:cubicBezTo>
                    <a:cubicBezTo>
                      <a:pt x="817380" y="5934"/>
                      <a:pt x="820476" y="2838"/>
                      <a:pt x="826151" y="2322"/>
                    </a:cubicBezTo>
                    <a:cubicBezTo>
                      <a:pt x="859174" y="-1290"/>
                      <a:pt x="892196" y="258"/>
                      <a:pt x="925219" y="774"/>
                    </a:cubicBezTo>
                    <a:cubicBezTo>
                      <a:pt x="930895" y="774"/>
                      <a:pt x="933475" y="4902"/>
                      <a:pt x="934507" y="10062"/>
                    </a:cubicBezTo>
                    <a:cubicBezTo>
                      <a:pt x="941214" y="43600"/>
                      <a:pt x="948438" y="77139"/>
                      <a:pt x="954114" y="111193"/>
                    </a:cubicBezTo>
                    <a:cubicBezTo>
                      <a:pt x="955662" y="120481"/>
                      <a:pt x="953082" y="130800"/>
                      <a:pt x="952050" y="140604"/>
                    </a:cubicBezTo>
                    <a:cubicBezTo>
                      <a:pt x="951018" y="148343"/>
                      <a:pt x="954114" y="151955"/>
                      <a:pt x="962369" y="152987"/>
                    </a:cubicBezTo>
                    <a:cubicBezTo>
                      <a:pt x="1001584" y="157115"/>
                      <a:pt x="1040798" y="164339"/>
                      <a:pt x="1078980" y="174658"/>
                    </a:cubicBezTo>
                    <a:cubicBezTo>
                      <a:pt x="1085172" y="176206"/>
                      <a:pt x="1091364" y="176722"/>
                      <a:pt x="1093428" y="168467"/>
                    </a:cubicBezTo>
                    <a:cubicBezTo>
                      <a:pt x="1101683" y="130284"/>
                      <a:pt x="1127482" y="101390"/>
                      <a:pt x="1147089" y="69399"/>
                    </a:cubicBezTo>
                    <a:cubicBezTo>
                      <a:pt x="1162569" y="43084"/>
                      <a:pt x="1163601" y="43600"/>
                      <a:pt x="1192495" y="54436"/>
                    </a:cubicBezTo>
                    <a:cubicBezTo>
                      <a:pt x="1214682" y="62691"/>
                      <a:pt x="1236353" y="71979"/>
                      <a:pt x="1258024" y="81266"/>
                    </a:cubicBezTo>
                    <a:cubicBezTo>
                      <a:pt x="1265764" y="84362"/>
                      <a:pt x="1268860" y="88490"/>
                      <a:pt x="1267312" y="96746"/>
                    </a:cubicBezTo>
                    <a:cubicBezTo>
                      <a:pt x="1260604" y="128736"/>
                      <a:pt x="1254928" y="160727"/>
                      <a:pt x="1247705" y="192718"/>
                    </a:cubicBezTo>
                    <a:cubicBezTo>
                      <a:pt x="1245125" y="203553"/>
                      <a:pt x="1238417" y="213873"/>
                      <a:pt x="1233258" y="224192"/>
                    </a:cubicBezTo>
                    <a:cubicBezTo>
                      <a:pt x="1229646" y="230384"/>
                      <a:pt x="1230678" y="233996"/>
                      <a:pt x="1237385" y="237608"/>
                    </a:cubicBezTo>
                    <a:cubicBezTo>
                      <a:pt x="1273504" y="256699"/>
                      <a:pt x="1307558" y="279402"/>
                      <a:pt x="1340065" y="304169"/>
                    </a:cubicBezTo>
                    <a:cubicBezTo>
                      <a:pt x="1345741" y="308812"/>
                      <a:pt x="1349868" y="309328"/>
                      <a:pt x="1354512" y="302621"/>
                    </a:cubicBezTo>
                    <a:cubicBezTo>
                      <a:pt x="1381343" y="264954"/>
                      <a:pt x="1424169" y="246379"/>
                      <a:pt x="1459771" y="218516"/>
                    </a:cubicBezTo>
                    <a:cubicBezTo>
                      <a:pt x="1464415" y="214905"/>
                      <a:pt x="1468027" y="216452"/>
                      <a:pt x="1472155" y="220064"/>
                    </a:cubicBezTo>
                    <a:cubicBezTo>
                      <a:pt x="1496406" y="241219"/>
                      <a:pt x="1519109" y="264438"/>
                      <a:pt x="1541296" y="287657"/>
                    </a:cubicBezTo>
                    <a:cubicBezTo>
                      <a:pt x="1545424" y="292301"/>
                      <a:pt x="1545940" y="296429"/>
                      <a:pt x="1542328" y="301073"/>
                    </a:cubicBezTo>
                    <a:cubicBezTo>
                      <a:pt x="1523237" y="329452"/>
                      <a:pt x="1505177" y="357830"/>
                      <a:pt x="1485570" y="385693"/>
                    </a:cubicBezTo>
                    <a:cubicBezTo>
                      <a:pt x="1479895" y="393949"/>
                      <a:pt x="1470607" y="400140"/>
                      <a:pt x="1462868" y="406332"/>
                    </a:cubicBezTo>
                    <a:cubicBezTo>
                      <a:pt x="1456676" y="411492"/>
                      <a:pt x="1455644" y="416136"/>
                      <a:pt x="1460803" y="422327"/>
                    </a:cubicBezTo>
                    <a:cubicBezTo>
                      <a:pt x="1486086" y="453802"/>
                      <a:pt x="1509305" y="487341"/>
                      <a:pt x="1529428" y="522427"/>
                    </a:cubicBezTo>
                    <a:cubicBezTo>
                      <a:pt x="1534072" y="530167"/>
                      <a:pt x="1538716" y="529135"/>
                      <a:pt x="1544908" y="525007"/>
                    </a:cubicBezTo>
                    <a:cubicBezTo>
                      <a:pt x="1584122" y="500756"/>
                      <a:pt x="1630044" y="500240"/>
                      <a:pt x="1672870" y="488373"/>
                    </a:cubicBezTo>
                    <a:cubicBezTo>
                      <a:pt x="1678546" y="486825"/>
                      <a:pt x="1681642" y="489921"/>
                      <a:pt x="1683706" y="495080"/>
                    </a:cubicBezTo>
                    <a:cubicBezTo>
                      <a:pt x="1697637" y="523975"/>
                      <a:pt x="1710537" y="553902"/>
                      <a:pt x="1721888" y="583828"/>
                    </a:cubicBezTo>
                    <a:cubicBezTo>
                      <a:pt x="1723952" y="590020"/>
                      <a:pt x="1722404" y="593632"/>
                      <a:pt x="1717244" y="596728"/>
                    </a:cubicBezTo>
                    <a:cubicBezTo>
                      <a:pt x="1689381" y="615303"/>
                      <a:pt x="1662035" y="634394"/>
                      <a:pt x="1633140" y="652453"/>
                    </a:cubicBezTo>
                    <a:cubicBezTo>
                      <a:pt x="1623852" y="658129"/>
                      <a:pt x="1612501" y="660709"/>
                      <a:pt x="1601665" y="663805"/>
                    </a:cubicBezTo>
                    <a:cubicBezTo>
                      <a:pt x="1594958" y="665869"/>
                      <a:pt x="1592894" y="668965"/>
                      <a:pt x="1594958" y="676188"/>
                    </a:cubicBezTo>
                    <a:cubicBezTo>
                      <a:pt x="1606309" y="715403"/>
                      <a:pt x="1615081" y="755133"/>
                      <a:pt x="1620241" y="795895"/>
                    </a:cubicBezTo>
                    <a:cubicBezTo>
                      <a:pt x="1621272" y="803119"/>
                      <a:pt x="1624368" y="805699"/>
                      <a:pt x="1631076" y="804667"/>
                    </a:cubicBezTo>
                    <a:cubicBezTo>
                      <a:pt x="1676482" y="797959"/>
                      <a:pt x="1719308" y="814470"/>
                      <a:pt x="1763682" y="819630"/>
                    </a:cubicBezTo>
                    <a:cubicBezTo>
                      <a:pt x="1769874" y="820146"/>
                      <a:pt x="1772454" y="823758"/>
                      <a:pt x="1773486" y="829950"/>
                    </a:cubicBezTo>
                    <a:cubicBezTo>
                      <a:pt x="1776582" y="862456"/>
                      <a:pt x="1775034" y="895479"/>
                      <a:pt x="1775034" y="927985"/>
                    </a:cubicBezTo>
                    <a:cubicBezTo>
                      <a:pt x="1775034" y="933661"/>
                      <a:pt x="1771422" y="936241"/>
                      <a:pt x="1766262" y="937273"/>
                    </a:cubicBezTo>
                    <a:cubicBezTo>
                      <a:pt x="1732207" y="943981"/>
                      <a:pt x="1698153" y="951204"/>
                      <a:pt x="1663583" y="957396"/>
                    </a:cubicBezTo>
                    <a:cubicBezTo>
                      <a:pt x="1654811" y="958944"/>
                      <a:pt x="1645523" y="956364"/>
                      <a:pt x="1636752" y="955332"/>
                    </a:cubicBezTo>
                    <a:cubicBezTo>
                      <a:pt x="1627980" y="954300"/>
                      <a:pt x="1623336" y="956364"/>
                      <a:pt x="1622304" y="966684"/>
                    </a:cubicBezTo>
                    <a:cubicBezTo>
                      <a:pt x="1618177" y="1005382"/>
                      <a:pt x="1610953" y="1044080"/>
                      <a:pt x="1601149" y="1081746"/>
                    </a:cubicBezTo>
                    <a:cubicBezTo>
                      <a:pt x="1598569" y="1091034"/>
                      <a:pt x="1601665" y="1095678"/>
                      <a:pt x="1610437" y="1097742"/>
                    </a:cubicBezTo>
                    <a:cubicBezTo>
                      <a:pt x="1654811" y="1108577"/>
                      <a:pt x="1687318" y="1140568"/>
                      <a:pt x="1726016" y="1161723"/>
                    </a:cubicBezTo>
                    <a:cubicBezTo>
                      <a:pt x="1731176" y="1164819"/>
                      <a:pt x="1731176" y="1168947"/>
                      <a:pt x="1729112" y="1174107"/>
                    </a:cubicBezTo>
                    <a:cubicBezTo>
                      <a:pt x="1718792" y="1204549"/>
                      <a:pt x="1706409" y="1234476"/>
                      <a:pt x="1693509" y="1263887"/>
                    </a:cubicBezTo>
                    <a:cubicBezTo>
                      <a:pt x="1690929" y="1269562"/>
                      <a:pt x="1687318" y="1271626"/>
                      <a:pt x="1681126" y="1270078"/>
                    </a:cubicBezTo>
                    <a:cubicBezTo>
                      <a:pt x="1648103" y="1263371"/>
                      <a:pt x="1614565" y="1257179"/>
                      <a:pt x="1581542" y="1249955"/>
                    </a:cubicBezTo>
                    <a:cubicBezTo>
                      <a:pt x="1571223" y="1247375"/>
                      <a:pt x="1561935" y="1241184"/>
                      <a:pt x="1552647" y="1236024"/>
                    </a:cubicBezTo>
                    <a:cubicBezTo>
                      <a:pt x="1545940" y="1232412"/>
                      <a:pt x="1542328" y="1232928"/>
                      <a:pt x="1538200" y="1240152"/>
                    </a:cubicBezTo>
                    <a:cubicBezTo>
                      <a:pt x="1519109" y="1275238"/>
                      <a:pt x="1497954" y="1309293"/>
                      <a:pt x="1473187" y="1340767"/>
                    </a:cubicBezTo>
                    <a:cubicBezTo>
                      <a:pt x="1467511" y="1347991"/>
                      <a:pt x="1466479" y="1352635"/>
                      <a:pt x="1475251" y="1358310"/>
                    </a:cubicBezTo>
                    <a:cubicBezTo>
                      <a:pt x="1502598" y="1375854"/>
                      <a:pt x="1516013" y="1405264"/>
                      <a:pt x="1535104" y="1430031"/>
                    </a:cubicBezTo>
                    <a:cubicBezTo>
                      <a:pt x="1538716" y="1434675"/>
                      <a:pt x="1541812" y="1439835"/>
                      <a:pt x="1545424" y="1444995"/>
                    </a:cubicBezTo>
                    <a:cubicBezTo>
                      <a:pt x="1566063" y="1474921"/>
                      <a:pt x="1565031" y="1464602"/>
                      <a:pt x="1542844" y="1489885"/>
                    </a:cubicBezTo>
                    <a:cubicBezTo>
                      <a:pt x="1526849" y="1508460"/>
                      <a:pt x="1508273" y="1524971"/>
                      <a:pt x="1491246" y="1542514"/>
                    </a:cubicBezTo>
                    <a:cubicBezTo>
                      <a:pt x="1485054" y="1549222"/>
                      <a:pt x="1479895" y="1549222"/>
                      <a:pt x="1472155" y="1544062"/>
                    </a:cubicBezTo>
                    <a:cubicBezTo>
                      <a:pt x="1446356" y="1526519"/>
                      <a:pt x="1420041" y="1508976"/>
                      <a:pt x="1393726" y="1491948"/>
                    </a:cubicBezTo>
                    <a:cubicBezTo>
                      <a:pt x="1383923" y="1485241"/>
                      <a:pt x="1377215" y="1475437"/>
                      <a:pt x="1369992" y="1466666"/>
                    </a:cubicBezTo>
                    <a:cubicBezTo>
                      <a:pt x="1364316" y="1459958"/>
                      <a:pt x="1359672" y="1458926"/>
                      <a:pt x="1352964" y="1464602"/>
                    </a:cubicBezTo>
                    <a:cubicBezTo>
                      <a:pt x="1322005" y="1489885"/>
                      <a:pt x="1288983" y="1512588"/>
                      <a:pt x="1254413" y="1532711"/>
                    </a:cubicBezTo>
                    <a:cubicBezTo>
                      <a:pt x="1249769" y="1535291"/>
                      <a:pt x="1244609" y="1537871"/>
                      <a:pt x="1248737" y="1544578"/>
                    </a:cubicBezTo>
                    <a:cubicBezTo>
                      <a:pt x="1272472" y="1580181"/>
                      <a:pt x="1274020" y="1622491"/>
                      <a:pt x="1284339" y="1662221"/>
                    </a:cubicBezTo>
                    <a:cubicBezTo>
                      <a:pt x="1290531" y="1685440"/>
                      <a:pt x="1292079" y="1682344"/>
                      <a:pt x="1268860" y="1693180"/>
                    </a:cubicBezTo>
                    <a:cubicBezTo>
                      <a:pt x="1244609" y="1704531"/>
                      <a:pt x="1219842" y="1714335"/>
                      <a:pt x="1195591" y="1724654"/>
                    </a:cubicBezTo>
                    <a:cubicBezTo>
                      <a:pt x="1187851" y="1727750"/>
                      <a:pt x="1183208" y="1726718"/>
                      <a:pt x="1178564" y="1719495"/>
                    </a:cubicBezTo>
                    <a:cubicBezTo>
                      <a:pt x="1161021" y="1692664"/>
                      <a:pt x="1142962" y="1666865"/>
                      <a:pt x="1125418" y="1640034"/>
                    </a:cubicBezTo>
                    <a:cubicBezTo>
                      <a:pt x="1118711" y="1629715"/>
                      <a:pt x="1116131" y="1617847"/>
                      <a:pt x="1113035" y="1606496"/>
                    </a:cubicBezTo>
                    <a:cubicBezTo>
                      <a:pt x="1110971" y="1599272"/>
                      <a:pt x="1107359" y="1597208"/>
                      <a:pt x="1099619" y="1599272"/>
                    </a:cubicBezTo>
                    <a:cubicBezTo>
                      <a:pt x="1060405" y="1611139"/>
                      <a:pt x="1020675" y="1619395"/>
                      <a:pt x="979913" y="1624555"/>
                    </a:cubicBezTo>
                    <a:cubicBezTo>
                      <a:pt x="973205" y="1625587"/>
                      <a:pt x="971141" y="1628682"/>
                      <a:pt x="972173" y="1634874"/>
                    </a:cubicBezTo>
                    <a:cubicBezTo>
                      <a:pt x="979397" y="1680280"/>
                      <a:pt x="962885" y="1723106"/>
                      <a:pt x="957726" y="1767481"/>
                    </a:cubicBezTo>
                    <a:cubicBezTo>
                      <a:pt x="956694" y="1775220"/>
                      <a:pt x="952566" y="1777800"/>
                      <a:pt x="945858" y="1777800"/>
                    </a:cubicBezTo>
                    <a:cubicBezTo>
                      <a:pt x="929347" y="1778316"/>
                      <a:pt x="912320" y="1779348"/>
                      <a:pt x="895808" y="1779864"/>
                    </a:cubicBezTo>
                    <a:cubicBezTo>
                      <a:pt x="894776" y="1776252"/>
                      <a:pt x="894776" y="1776252"/>
                      <a:pt x="894776" y="1775736"/>
                    </a:cubicBezTo>
                    <a:close/>
                    <a:moveTo>
                      <a:pt x="890648" y="1454798"/>
                    </a:moveTo>
                    <a:cubicBezTo>
                      <a:pt x="1199203" y="1449638"/>
                      <a:pt x="1454096" y="1207645"/>
                      <a:pt x="1452548" y="884127"/>
                    </a:cubicBezTo>
                    <a:cubicBezTo>
                      <a:pt x="1451516" y="575057"/>
                      <a:pt x="1205395" y="320164"/>
                      <a:pt x="881361" y="322228"/>
                    </a:cubicBezTo>
                    <a:cubicBezTo>
                      <a:pt x="571775" y="324292"/>
                      <a:pt x="318429" y="570929"/>
                      <a:pt x="320494" y="893415"/>
                    </a:cubicBezTo>
                    <a:cubicBezTo>
                      <a:pt x="323073" y="1202485"/>
                      <a:pt x="569195" y="1452218"/>
                      <a:pt x="890648" y="1454798"/>
                    </a:cubicBezTo>
                    <a:close/>
                  </a:path>
                </a:pathLst>
              </a:custGeom>
              <a:grpFill/>
              <a:ln w="51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07089887-82B9-4AAD-94F6-87BE88D57333}"/>
                  </a:ext>
                </a:extLst>
              </p:cNvPr>
              <p:cNvSpPr/>
              <p:nvPr/>
            </p:nvSpPr>
            <p:spPr>
              <a:xfrm>
                <a:off x="3733675" y="2339591"/>
                <a:ext cx="835883" cy="835883"/>
              </a:xfrm>
              <a:custGeom>
                <a:avLst/>
                <a:gdLst>
                  <a:gd name="connsiteX0" fmla="*/ 836916 w 835883"/>
                  <a:gd name="connsiteY0" fmla="*/ 418458 h 835883"/>
                  <a:gd name="connsiteX1" fmla="*/ 418459 w 835883"/>
                  <a:gd name="connsiteY1" fmla="*/ 836399 h 835883"/>
                  <a:gd name="connsiteX2" fmla="*/ 1 w 835883"/>
                  <a:gd name="connsiteY2" fmla="*/ 417426 h 835883"/>
                  <a:gd name="connsiteX3" fmla="*/ 418975 w 835883"/>
                  <a:gd name="connsiteY3" fmla="*/ 0 h 835883"/>
                  <a:gd name="connsiteX4" fmla="*/ 836916 w 835883"/>
                  <a:gd name="connsiteY4" fmla="*/ 418458 h 835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5883" h="835883">
                    <a:moveTo>
                      <a:pt x="836916" y="418458"/>
                    </a:moveTo>
                    <a:cubicBezTo>
                      <a:pt x="833821" y="651679"/>
                      <a:pt x="651165" y="836915"/>
                      <a:pt x="418459" y="836399"/>
                    </a:cubicBezTo>
                    <a:cubicBezTo>
                      <a:pt x="182657" y="836399"/>
                      <a:pt x="-515" y="649615"/>
                      <a:pt x="1" y="417426"/>
                    </a:cubicBezTo>
                    <a:cubicBezTo>
                      <a:pt x="517" y="181624"/>
                      <a:pt x="187301" y="0"/>
                      <a:pt x="418975" y="0"/>
                    </a:cubicBezTo>
                    <a:cubicBezTo>
                      <a:pt x="651680" y="516"/>
                      <a:pt x="833821" y="186268"/>
                      <a:pt x="836916" y="418458"/>
                    </a:cubicBezTo>
                    <a:close/>
                  </a:path>
                </a:pathLst>
              </a:custGeom>
              <a:grpFill/>
              <a:ln w="51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B558D77-924C-4DCC-BFF7-E4B3731F5DA2}"/>
              </a:ext>
            </a:extLst>
          </p:cNvPr>
          <p:cNvGrpSpPr/>
          <p:nvPr/>
        </p:nvGrpSpPr>
        <p:grpSpPr>
          <a:xfrm>
            <a:off x="218787" y="4076953"/>
            <a:ext cx="2745260" cy="2471860"/>
            <a:chOff x="6486650" y="2648852"/>
            <a:chExt cx="2745260" cy="2471860"/>
          </a:xfrm>
          <a:solidFill>
            <a:schemeClr val="bg1">
              <a:alpha val="5000"/>
            </a:schemeClr>
          </a:solidFill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89ABFBE-0792-4BCE-A56B-CA7BFD894F8B}"/>
                </a:ext>
              </a:extLst>
            </p:cNvPr>
            <p:cNvSpPr/>
            <p:nvPr/>
          </p:nvSpPr>
          <p:spPr>
            <a:xfrm>
              <a:off x="6486650" y="3806165"/>
              <a:ext cx="1318090" cy="1314547"/>
            </a:xfrm>
            <a:custGeom>
              <a:avLst/>
              <a:gdLst>
                <a:gd name="connsiteX0" fmla="*/ 0 w 1919435"/>
                <a:gd name="connsiteY0" fmla="*/ 987194 h 1914275"/>
                <a:gd name="connsiteX1" fmla="*/ 37667 w 1919435"/>
                <a:gd name="connsiteY1" fmla="*/ 959846 h 1914275"/>
                <a:gd name="connsiteX2" fmla="*/ 169757 w 1919435"/>
                <a:gd name="connsiteY2" fmla="*/ 922696 h 1914275"/>
                <a:gd name="connsiteX3" fmla="*/ 215163 w 1919435"/>
                <a:gd name="connsiteY3" fmla="*/ 872130 h 1914275"/>
                <a:gd name="connsiteX4" fmla="*/ 217743 w 1919435"/>
                <a:gd name="connsiteY4" fmla="*/ 850459 h 1914275"/>
                <a:gd name="connsiteX5" fmla="*/ 189364 w 1919435"/>
                <a:gd name="connsiteY5" fmla="*/ 797830 h 1914275"/>
                <a:gd name="connsiteX6" fmla="*/ 69657 w 1919435"/>
                <a:gd name="connsiteY6" fmla="*/ 727657 h 1914275"/>
                <a:gd name="connsiteX7" fmla="*/ 43858 w 1919435"/>
                <a:gd name="connsiteY7" fmla="*/ 664708 h 1914275"/>
                <a:gd name="connsiteX8" fmla="*/ 46438 w 1919435"/>
                <a:gd name="connsiteY8" fmla="*/ 655936 h 1914275"/>
                <a:gd name="connsiteX9" fmla="*/ 114547 w 1919435"/>
                <a:gd name="connsiteY9" fmla="*/ 608982 h 1914275"/>
                <a:gd name="connsiteX10" fmla="*/ 241478 w 1919435"/>
                <a:gd name="connsiteY10" fmla="*/ 623429 h 1914275"/>
                <a:gd name="connsiteX11" fmla="*/ 306491 w 1919435"/>
                <a:gd name="connsiteY11" fmla="*/ 593503 h 1914275"/>
                <a:gd name="connsiteX12" fmla="*/ 301331 w 1919435"/>
                <a:gd name="connsiteY12" fmla="*/ 505271 h 1914275"/>
                <a:gd name="connsiteX13" fmla="*/ 222386 w 1919435"/>
                <a:gd name="connsiteY13" fmla="*/ 400527 h 1914275"/>
                <a:gd name="connsiteX14" fmla="*/ 222386 w 1919435"/>
                <a:gd name="connsiteY14" fmla="*/ 342222 h 1914275"/>
                <a:gd name="connsiteX15" fmla="*/ 248185 w 1919435"/>
                <a:gd name="connsiteY15" fmla="*/ 313327 h 1914275"/>
                <a:gd name="connsiteX16" fmla="*/ 303395 w 1919435"/>
                <a:gd name="connsiteY16" fmla="*/ 307135 h 1914275"/>
                <a:gd name="connsiteX17" fmla="*/ 420522 w 1919435"/>
                <a:gd name="connsiteY17" fmla="*/ 373180 h 1914275"/>
                <a:gd name="connsiteX18" fmla="*/ 525265 w 1919435"/>
                <a:gd name="connsiteY18" fmla="*/ 343770 h 1914275"/>
                <a:gd name="connsiteX19" fmla="*/ 527845 w 1919435"/>
                <a:gd name="connsiteY19" fmla="*/ 298364 h 1914275"/>
                <a:gd name="connsiteX20" fmla="*/ 493791 w 1919435"/>
                <a:gd name="connsiteY20" fmla="*/ 166789 h 1914275"/>
                <a:gd name="connsiteX21" fmla="*/ 518557 w 1919435"/>
                <a:gd name="connsiteY21" fmla="*/ 105904 h 1914275"/>
                <a:gd name="connsiteX22" fmla="*/ 537649 w 1919435"/>
                <a:gd name="connsiteY22" fmla="*/ 95585 h 1914275"/>
                <a:gd name="connsiteX23" fmla="*/ 608853 w 1919435"/>
                <a:gd name="connsiteY23" fmla="*/ 113128 h 1914275"/>
                <a:gd name="connsiteX24" fmla="*/ 690894 w 1919435"/>
                <a:gd name="connsiteY24" fmla="*/ 217355 h 1914275"/>
                <a:gd name="connsiteX25" fmla="*/ 802861 w 1919435"/>
                <a:gd name="connsiteY25" fmla="*/ 216839 h 1914275"/>
                <a:gd name="connsiteX26" fmla="*/ 816277 w 1919435"/>
                <a:gd name="connsiteY26" fmla="*/ 169369 h 1914275"/>
                <a:gd name="connsiteX27" fmla="*/ 832788 w 1919435"/>
                <a:gd name="connsiteY27" fmla="*/ 48631 h 1914275"/>
                <a:gd name="connsiteX28" fmla="*/ 877677 w 1919435"/>
                <a:gd name="connsiteY28" fmla="*/ 2193 h 1914275"/>
                <a:gd name="connsiteX29" fmla="*/ 917924 w 1919435"/>
                <a:gd name="connsiteY29" fmla="*/ 645 h 1914275"/>
                <a:gd name="connsiteX30" fmla="*/ 956106 w 1919435"/>
                <a:gd name="connsiteY30" fmla="*/ 31603 h 1914275"/>
                <a:gd name="connsiteX31" fmla="*/ 993772 w 1919435"/>
                <a:gd name="connsiteY31" fmla="*/ 163693 h 1914275"/>
                <a:gd name="connsiteX32" fmla="*/ 1089745 w 1919435"/>
                <a:gd name="connsiteY32" fmla="*/ 217871 h 1914275"/>
                <a:gd name="connsiteX33" fmla="*/ 1120703 w 1919435"/>
                <a:gd name="connsiteY33" fmla="*/ 191040 h 1914275"/>
                <a:gd name="connsiteX34" fmla="*/ 1192940 w 1919435"/>
                <a:gd name="connsiteY34" fmla="*/ 68754 h 1914275"/>
                <a:gd name="connsiteX35" fmla="*/ 1251245 w 1919435"/>
                <a:gd name="connsiteY35" fmla="*/ 44503 h 1914275"/>
                <a:gd name="connsiteX36" fmla="*/ 1309035 w 1919435"/>
                <a:gd name="connsiteY36" fmla="*/ 137895 h 1914275"/>
                <a:gd name="connsiteX37" fmla="*/ 1294587 w 1919435"/>
                <a:gd name="connsiteY37" fmla="*/ 255538 h 1914275"/>
                <a:gd name="connsiteX38" fmla="*/ 1294587 w 1919435"/>
                <a:gd name="connsiteY38" fmla="*/ 267921 h 1914275"/>
                <a:gd name="connsiteX39" fmla="*/ 1399331 w 1919435"/>
                <a:gd name="connsiteY39" fmla="*/ 314359 h 1914275"/>
                <a:gd name="connsiteX40" fmla="*/ 1514394 w 1919435"/>
                <a:gd name="connsiteY40" fmla="*/ 228191 h 1914275"/>
                <a:gd name="connsiteX41" fmla="*/ 1584050 w 1919435"/>
                <a:gd name="connsiteY41" fmla="*/ 229223 h 1914275"/>
                <a:gd name="connsiteX42" fmla="*/ 1594886 w 1919435"/>
                <a:gd name="connsiteY42" fmla="*/ 238510 h 1914275"/>
                <a:gd name="connsiteX43" fmla="*/ 1606754 w 1919435"/>
                <a:gd name="connsiteY43" fmla="*/ 317971 h 1914275"/>
                <a:gd name="connsiteX44" fmla="*/ 1543288 w 1919435"/>
                <a:gd name="connsiteY44" fmla="*/ 430970 h 1914275"/>
                <a:gd name="connsiteX45" fmla="*/ 1552060 w 1919435"/>
                <a:gd name="connsiteY45" fmla="*/ 504239 h 1914275"/>
                <a:gd name="connsiteX46" fmla="*/ 1619137 w 1919435"/>
                <a:gd name="connsiteY46" fmla="*/ 531069 h 1914275"/>
                <a:gd name="connsiteX47" fmla="*/ 1754839 w 1919435"/>
                <a:gd name="connsiteY47" fmla="*/ 495467 h 1914275"/>
                <a:gd name="connsiteX48" fmla="*/ 1812629 w 1919435"/>
                <a:gd name="connsiteY48" fmla="*/ 517654 h 1914275"/>
                <a:gd name="connsiteX49" fmla="*/ 1830172 w 1919435"/>
                <a:gd name="connsiteY49" fmla="*/ 552225 h 1914275"/>
                <a:gd name="connsiteX50" fmla="*/ 1815724 w 1919435"/>
                <a:gd name="connsiteY50" fmla="*/ 603306 h 1914275"/>
                <a:gd name="connsiteX51" fmla="*/ 1699630 w 1919435"/>
                <a:gd name="connsiteY51" fmla="*/ 695666 h 1914275"/>
                <a:gd name="connsiteX52" fmla="*/ 1678990 w 1919435"/>
                <a:gd name="connsiteY52" fmla="*/ 751908 h 1914275"/>
                <a:gd name="connsiteX53" fmla="*/ 1685182 w 1919435"/>
                <a:gd name="connsiteY53" fmla="*/ 774611 h 1914275"/>
                <a:gd name="connsiteX54" fmla="*/ 1732652 w 1919435"/>
                <a:gd name="connsiteY54" fmla="*/ 815373 h 1914275"/>
                <a:gd name="connsiteX55" fmla="*/ 1872998 w 1919435"/>
                <a:gd name="connsiteY55" fmla="*/ 834464 h 1914275"/>
                <a:gd name="connsiteX56" fmla="*/ 1918404 w 1919435"/>
                <a:gd name="connsiteY56" fmla="*/ 879354 h 1914275"/>
                <a:gd name="connsiteX57" fmla="*/ 1919952 w 1919435"/>
                <a:gd name="connsiteY57" fmla="*/ 919600 h 1914275"/>
                <a:gd name="connsiteX58" fmla="*/ 1886930 w 1919435"/>
                <a:gd name="connsiteY58" fmla="*/ 958299 h 1914275"/>
                <a:gd name="connsiteX59" fmla="*/ 1754839 w 1919435"/>
                <a:gd name="connsiteY59" fmla="*/ 995965 h 1914275"/>
                <a:gd name="connsiteX60" fmla="*/ 1701178 w 1919435"/>
                <a:gd name="connsiteY60" fmla="*/ 1085229 h 1914275"/>
                <a:gd name="connsiteX61" fmla="*/ 1728524 w 1919435"/>
                <a:gd name="connsiteY61" fmla="*/ 1121348 h 1914275"/>
                <a:gd name="connsiteX62" fmla="*/ 1849779 w 1919435"/>
                <a:gd name="connsiteY62" fmla="*/ 1192552 h 1914275"/>
                <a:gd name="connsiteX63" fmla="*/ 1876094 w 1919435"/>
                <a:gd name="connsiteY63" fmla="*/ 1253954 h 1914275"/>
                <a:gd name="connsiteX64" fmla="*/ 1875062 w 1919435"/>
                <a:gd name="connsiteY64" fmla="*/ 1260145 h 1914275"/>
                <a:gd name="connsiteX65" fmla="*/ 1802309 w 1919435"/>
                <a:gd name="connsiteY65" fmla="*/ 1312259 h 1914275"/>
                <a:gd name="connsiteX66" fmla="*/ 1675379 w 1919435"/>
                <a:gd name="connsiteY66" fmla="*/ 1296264 h 1914275"/>
                <a:gd name="connsiteX67" fmla="*/ 1611398 w 1919435"/>
                <a:gd name="connsiteY67" fmla="*/ 1329286 h 1914275"/>
                <a:gd name="connsiteX68" fmla="*/ 1610365 w 1919435"/>
                <a:gd name="connsiteY68" fmla="*/ 1405651 h 1914275"/>
                <a:gd name="connsiteX69" fmla="*/ 1692406 w 1919435"/>
                <a:gd name="connsiteY69" fmla="*/ 1514006 h 1914275"/>
                <a:gd name="connsiteX70" fmla="*/ 1692406 w 1919435"/>
                <a:gd name="connsiteY70" fmla="*/ 1584695 h 1914275"/>
                <a:gd name="connsiteX71" fmla="*/ 1689310 w 1919435"/>
                <a:gd name="connsiteY71" fmla="*/ 1588307 h 1914275"/>
                <a:gd name="connsiteX72" fmla="*/ 1600562 w 1919435"/>
                <a:gd name="connsiteY72" fmla="*/ 1605850 h 1914275"/>
                <a:gd name="connsiteX73" fmla="*/ 1490659 w 1919435"/>
                <a:gd name="connsiteY73" fmla="*/ 1543933 h 1914275"/>
                <a:gd name="connsiteX74" fmla="*/ 1415326 w 1919435"/>
                <a:gd name="connsiteY74" fmla="*/ 1554769 h 1914275"/>
                <a:gd name="connsiteX75" fmla="*/ 1391075 w 1919435"/>
                <a:gd name="connsiteY75" fmla="*/ 1622877 h 1914275"/>
                <a:gd name="connsiteX76" fmla="*/ 1426677 w 1919435"/>
                <a:gd name="connsiteY76" fmla="*/ 1760128 h 1914275"/>
                <a:gd name="connsiteX77" fmla="*/ 1406554 w 1919435"/>
                <a:gd name="connsiteY77" fmla="*/ 1811725 h 1914275"/>
                <a:gd name="connsiteX78" fmla="*/ 1370436 w 1919435"/>
                <a:gd name="connsiteY78" fmla="*/ 1830300 h 1914275"/>
                <a:gd name="connsiteX79" fmla="*/ 1316258 w 1919435"/>
                <a:gd name="connsiteY79" fmla="*/ 1815337 h 1914275"/>
                <a:gd name="connsiteX80" fmla="*/ 1231122 w 1919435"/>
                <a:gd name="connsiteY80" fmla="*/ 1707498 h 1914275"/>
                <a:gd name="connsiteX81" fmla="*/ 1121219 w 1919435"/>
                <a:gd name="connsiteY81" fmla="*/ 1698210 h 1914275"/>
                <a:gd name="connsiteX82" fmla="*/ 1106771 w 1919435"/>
                <a:gd name="connsiteY82" fmla="*/ 1727105 h 1914275"/>
                <a:gd name="connsiteX83" fmla="*/ 1087165 w 1919435"/>
                <a:gd name="connsiteY83" fmla="*/ 1868999 h 1914275"/>
                <a:gd name="connsiteX84" fmla="*/ 1050014 w 1919435"/>
                <a:gd name="connsiteY84" fmla="*/ 1919049 h 1914275"/>
                <a:gd name="connsiteX85" fmla="*/ 987581 w 1919435"/>
                <a:gd name="connsiteY85" fmla="*/ 1919049 h 1914275"/>
                <a:gd name="connsiteX86" fmla="*/ 960234 w 1919435"/>
                <a:gd name="connsiteY86" fmla="*/ 1880866 h 1914275"/>
                <a:gd name="connsiteX87" fmla="*/ 921535 w 1919435"/>
                <a:gd name="connsiteY87" fmla="*/ 1744132 h 1914275"/>
                <a:gd name="connsiteX88" fmla="*/ 875614 w 1919435"/>
                <a:gd name="connsiteY88" fmla="*/ 1703886 h 1914275"/>
                <a:gd name="connsiteX89" fmla="*/ 847751 w 1919435"/>
                <a:gd name="connsiteY89" fmla="*/ 1700790 h 1914275"/>
                <a:gd name="connsiteX90" fmla="*/ 800281 w 1919435"/>
                <a:gd name="connsiteY90" fmla="*/ 1727105 h 1914275"/>
                <a:gd name="connsiteX91" fmla="*/ 788414 w 1919435"/>
                <a:gd name="connsiteY91" fmla="*/ 1747228 h 1914275"/>
                <a:gd name="connsiteX92" fmla="*/ 723401 w 1919435"/>
                <a:gd name="connsiteY92" fmla="*/ 1857131 h 1914275"/>
                <a:gd name="connsiteX93" fmla="*/ 674383 w 1919435"/>
                <a:gd name="connsiteY93" fmla="*/ 1877254 h 1914275"/>
                <a:gd name="connsiteX94" fmla="*/ 634652 w 1919435"/>
                <a:gd name="connsiteY94" fmla="*/ 1863839 h 1914275"/>
                <a:gd name="connsiteX95" fmla="*/ 607822 w 1919435"/>
                <a:gd name="connsiteY95" fmla="*/ 1813789 h 1914275"/>
                <a:gd name="connsiteX96" fmla="*/ 624848 w 1919435"/>
                <a:gd name="connsiteY96" fmla="*/ 1672927 h 1914275"/>
                <a:gd name="connsiteX97" fmla="*/ 586150 w 1919435"/>
                <a:gd name="connsiteY97" fmla="*/ 1607398 h 1914275"/>
                <a:gd name="connsiteX98" fmla="*/ 514430 w 1919435"/>
                <a:gd name="connsiteY98" fmla="*/ 1611010 h 1914275"/>
                <a:gd name="connsiteX99" fmla="*/ 413814 w 1919435"/>
                <a:gd name="connsiteY99" fmla="*/ 1687375 h 1914275"/>
                <a:gd name="connsiteX100" fmla="*/ 324550 w 1919435"/>
                <a:gd name="connsiteY100" fmla="*/ 1682215 h 1914275"/>
                <a:gd name="connsiteX101" fmla="*/ 316810 w 1919435"/>
                <a:gd name="connsiteY101" fmla="*/ 1674475 h 1914275"/>
                <a:gd name="connsiteX102" fmla="*/ 309071 w 1919435"/>
                <a:gd name="connsiteY102" fmla="*/ 1612558 h 1914275"/>
                <a:gd name="connsiteX103" fmla="*/ 376148 w 1919435"/>
                <a:gd name="connsiteY103" fmla="*/ 1492851 h 1914275"/>
                <a:gd name="connsiteX104" fmla="*/ 387499 w 1919435"/>
                <a:gd name="connsiteY104" fmla="*/ 1456217 h 1914275"/>
                <a:gd name="connsiteX105" fmla="*/ 297203 w 1919435"/>
                <a:gd name="connsiteY105" fmla="*/ 1391720 h 1914275"/>
                <a:gd name="connsiteX106" fmla="*/ 158405 w 1919435"/>
                <a:gd name="connsiteY106" fmla="*/ 1427838 h 1914275"/>
                <a:gd name="connsiteX107" fmla="*/ 114031 w 1919435"/>
                <a:gd name="connsiteY107" fmla="*/ 1412875 h 1914275"/>
                <a:gd name="connsiteX108" fmla="*/ 91844 w 1919435"/>
                <a:gd name="connsiteY108" fmla="*/ 1373660 h 1914275"/>
                <a:gd name="connsiteX109" fmla="*/ 106808 w 1919435"/>
                <a:gd name="connsiteY109" fmla="*/ 1315871 h 1914275"/>
                <a:gd name="connsiteX110" fmla="*/ 209487 w 1919435"/>
                <a:gd name="connsiteY110" fmla="*/ 1234347 h 1914275"/>
                <a:gd name="connsiteX111" fmla="*/ 236834 w 1919435"/>
                <a:gd name="connsiteY111" fmla="*/ 1151274 h 1914275"/>
                <a:gd name="connsiteX112" fmla="*/ 181624 w 1919435"/>
                <a:gd name="connsiteY112" fmla="*/ 1104836 h 1914275"/>
                <a:gd name="connsiteX113" fmla="*/ 52114 w 1919435"/>
                <a:gd name="connsiteY113" fmla="*/ 1087293 h 1914275"/>
                <a:gd name="connsiteX114" fmla="*/ 1032 w 1919435"/>
                <a:gd name="connsiteY114" fmla="*/ 1051175 h 1914275"/>
                <a:gd name="connsiteX115" fmla="*/ 0 w 1919435"/>
                <a:gd name="connsiteY115" fmla="*/ 987194 h 1914275"/>
                <a:gd name="connsiteX116" fmla="*/ 1198616 w 1919435"/>
                <a:gd name="connsiteY116" fmla="*/ 960879 h 1914275"/>
                <a:gd name="connsiteX117" fmla="*/ 958686 w 1919435"/>
                <a:gd name="connsiteY117" fmla="*/ 720949 h 1914275"/>
                <a:gd name="connsiteX118" fmla="*/ 720304 w 1919435"/>
                <a:gd name="connsiteY118" fmla="*/ 959331 h 1914275"/>
                <a:gd name="connsiteX119" fmla="*/ 957654 w 1919435"/>
                <a:gd name="connsiteY119" fmla="*/ 1198744 h 1914275"/>
                <a:gd name="connsiteX120" fmla="*/ 1198616 w 1919435"/>
                <a:gd name="connsiteY120" fmla="*/ 960879 h 1914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1919435" h="1914275">
                  <a:moveTo>
                    <a:pt x="0" y="987194"/>
                  </a:moveTo>
                  <a:cubicBezTo>
                    <a:pt x="8256" y="971714"/>
                    <a:pt x="21155" y="963975"/>
                    <a:pt x="37667" y="959846"/>
                  </a:cubicBezTo>
                  <a:cubicBezTo>
                    <a:pt x="82041" y="947979"/>
                    <a:pt x="125383" y="934564"/>
                    <a:pt x="169757" y="922696"/>
                  </a:cubicBezTo>
                  <a:cubicBezTo>
                    <a:pt x="196587" y="915473"/>
                    <a:pt x="212583" y="900509"/>
                    <a:pt x="215163" y="872130"/>
                  </a:cubicBezTo>
                  <a:cubicBezTo>
                    <a:pt x="215679" y="864907"/>
                    <a:pt x="216710" y="857683"/>
                    <a:pt x="217743" y="850459"/>
                  </a:cubicBezTo>
                  <a:cubicBezTo>
                    <a:pt x="220323" y="826209"/>
                    <a:pt x="209487" y="809697"/>
                    <a:pt x="189364" y="797830"/>
                  </a:cubicBezTo>
                  <a:cubicBezTo>
                    <a:pt x="149118" y="774611"/>
                    <a:pt x="109388" y="750876"/>
                    <a:pt x="69657" y="727657"/>
                  </a:cubicBezTo>
                  <a:cubicBezTo>
                    <a:pt x="40246" y="710629"/>
                    <a:pt x="35087" y="697730"/>
                    <a:pt x="43858" y="664708"/>
                  </a:cubicBezTo>
                  <a:cubicBezTo>
                    <a:pt x="44890" y="661612"/>
                    <a:pt x="45406" y="658516"/>
                    <a:pt x="46438" y="655936"/>
                  </a:cubicBezTo>
                  <a:cubicBezTo>
                    <a:pt x="59337" y="613110"/>
                    <a:pt x="70689" y="604854"/>
                    <a:pt x="114547" y="608982"/>
                  </a:cubicBezTo>
                  <a:cubicBezTo>
                    <a:pt x="156857" y="613110"/>
                    <a:pt x="199167" y="617754"/>
                    <a:pt x="241478" y="623429"/>
                  </a:cubicBezTo>
                  <a:cubicBezTo>
                    <a:pt x="275016" y="627557"/>
                    <a:pt x="289463" y="621881"/>
                    <a:pt x="306491" y="593503"/>
                  </a:cubicBezTo>
                  <a:cubicBezTo>
                    <a:pt x="330741" y="554288"/>
                    <a:pt x="329710" y="541905"/>
                    <a:pt x="301331" y="505271"/>
                  </a:cubicBezTo>
                  <a:cubicBezTo>
                    <a:pt x="274500" y="470700"/>
                    <a:pt x="248185" y="435614"/>
                    <a:pt x="222386" y="400527"/>
                  </a:cubicBezTo>
                  <a:cubicBezTo>
                    <a:pt x="206907" y="379888"/>
                    <a:pt x="206907" y="362861"/>
                    <a:pt x="222386" y="342222"/>
                  </a:cubicBezTo>
                  <a:cubicBezTo>
                    <a:pt x="230126" y="331902"/>
                    <a:pt x="238382" y="321583"/>
                    <a:pt x="248185" y="313327"/>
                  </a:cubicBezTo>
                  <a:cubicBezTo>
                    <a:pt x="267792" y="296816"/>
                    <a:pt x="281208" y="294752"/>
                    <a:pt x="303395" y="307135"/>
                  </a:cubicBezTo>
                  <a:cubicBezTo>
                    <a:pt x="342609" y="328806"/>
                    <a:pt x="382856" y="348929"/>
                    <a:pt x="420522" y="373180"/>
                  </a:cubicBezTo>
                  <a:cubicBezTo>
                    <a:pt x="463864" y="401043"/>
                    <a:pt x="493791" y="382468"/>
                    <a:pt x="525265" y="343770"/>
                  </a:cubicBezTo>
                  <a:cubicBezTo>
                    <a:pt x="535585" y="330870"/>
                    <a:pt x="531973" y="313843"/>
                    <a:pt x="527845" y="298364"/>
                  </a:cubicBezTo>
                  <a:cubicBezTo>
                    <a:pt x="516493" y="254506"/>
                    <a:pt x="505142" y="210647"/>
                    <a:pt x="493791" y="166789"/>
                  </a:cubicBezTo>
                  <a:cubicBezTo>
                    <a:pt x="485535" y="135315"/>
                    <a:pt x="490694" y="122415"/>
                    <a:pt x="518557" y="105904"/>
                  </a:cubicBezTo>
                  <a:cubicBezTo>
                    <a:pt x="524749" y="102292"/>
                    <a:pt x="530941" y="98680"/>
                    <a:pt x="537649" y="95585"/>
                  </a:cubicBezTo>
                  <a:cubicBezTo>
                    <a:pt x="571187" y="80105"/>
                    <a:pt x="586150" y="83717"/>
                    <a:pt x="608853" y="113128"/>
                  </a:cubicBezTo>
                  <a:cubicBezTo>
                    <a:pt x="636200" y="147698"/>
                    <a:pt x="663547" y="182785"/>
                    <a:pt x="690894" y="217355"/>
                  </a:cubicBezTo>
                  <a:cubicBezTo>
                    <a:pt x="716693" y="249346"/>
                    <a:pt x="777062" y="249346"/>
                    <a:pt x="802861" y="216839"/>
                  </a:cubicBezTo>
                  <a:cubicBezTo>
                    <a:pt x="813697" y="202908"/>
                    <a:pt x="813697" y="185365"/>
                    <a:pt x="816277" y="169369"/>
                  </a:cubicBezTo>
                  <a:cubicBezTo>
                    <a:pt x="822468" y="129123"/>
                    <a:pt x="827628" y="88877"/>
                    <a:pt x="832788" y="48631"/>
                  </a:cubicBezTo>
                  <a:cubicBezTo>
                    <a:pt x="836916" y="16640"/>
                    <a:pt x="845687" y="7868"/>
                    <a:pt x="877677" y="2193"/>
                  </a:cubicBezTo>
                  <a:cubicBezTo>
                    <a:pt x="891093" y="-387"/>
                    <a:pt x="904509" y="-387"/>
                    <a:pt x="917924" y="645"/>
                  </a:cubicBezTo>
                  <a:cubicBezTo>
                    <a:pt x="937531" y="1677"/>
                    <a:pt x="950947" y="11996"/>
                    <a:pt x="956106" y="31603"/>
                  </a:cubicBezTo>
                  <a:cubicBezTo>
                    <a:pt x="968490" y="75461"/>
                    <a:pt x="981389" y="119835"/>
                    <a:pt x="993772" y="163693"/>
                  </a:cubicBezTo>
                  <a:cubicBezTo>
                    <a:pt x="1006672" y="208584"/>
                    <a:pt x="1043822" y="229739"/>
                    <a:pt x="1089745" y="217871"/>
                  </a:cubicBezTo>
                  <a:cubicBezTo>
                    <a:pt x="1104707" y="214259"/>
                    <a:pt x="1113479" y="203424"/>
                    <a:pt x="1120703" y="191040"/>
                  </a:cubicBezTo>
                  <a:cubicBezTo>
                    <a:pt x="1144438" y="150278"/>
                    <a:pt x="1168689" y="109516"/>
                    <a:pt x="1192940" y="68754"/>
                  </a:cubicBezTo>
                  <a:cubicBezTo>
                    <a:pt x="1208419" y="42439"/>
                    <a:pt x="1221835" y="36763"/>
                    <a:pt x="1251245" y="44503"/>
                  </a:cubicBezTo>
                  <a:cubicBezTo>
                    <a:pt x="1310067" y="59466"/>
                    <a:pt x="1317806" y="72366"/>
                    <a:pt x="1309035" y="137895"/>
                  </a:cubicBezTo>
                  <a:cubicBezTo>
                    <a:pt x="1303875" y="177109"/>
                    <a:pt x="1299231" y="216323"/>
                    <a:pt x="1294587" y="255538"/>
                  </a:cubicBezTo>
                  <a:cubicBezTo>
                    <a:pt x="1294071" y="259665"/>
                    <a:pt x="1294071" y="263793"/>
                    <a:pt x="1294587" y="267921"/>
                  </a:cubicBezTo>
                  <a:cubicBezTo>
                    <a:pt x="1301295" y="309715"/>
                    <a:pt x="1364760" y="338610"/>
                    <a:pt x="1399331" y="314359"/>
                  </a:cubicBezTo>
                  <a:cubicBezTo>
                    <a:pt x="1438545" y="286496"/>
                    <a:pt x="1476211" y="257085"/>
                    <a:pt x="1514394" y="228191"/>
                  </a:cubicBezTo>
                  <a:cubicBezTo>
                    <a:pt x="1542256" y="207036"/>
                    <a:pt x="1556188" y="207552"/>
                    <a:pt x="1584050" y="229223"/>
                  </a:cubicBezTo>
                  <a:cubicBezTo>
                    <a:pt x="1587663" y="232319"/>
                    <a:pt x="1591274" y="234898"/>
                    <a:pt x="1594886" y="238510"/>
                  </a:cubicBezTo>
                  <a:cubicBezTo>
                    <a:pt x="1627393" y="269469"/>
                    <a:pt x="1628941" y="278757"/>
                    <a:pt x="1606754" y="317971"/>
                  </a:cubicBezTo>
                  <a:cubicBezTo>
                    <a:pt x="1585599" y="355637"/>
                    <a:pt x="1565475" y="393819"/>
                    <a:pt x="1543288" y="430970"/>
                  </a:cubicBezTo>
                  <a:cubicBezTo>
                    <a:pt x="1527293" y="458317"/>
                    <a:pt x="1534517" y="481020"/>
                    <a:pt x="1552060" y="504239"/>
                  </a:cubicBezTo>
                  <a:cubicBezTo>
                    <a:pt x="1569604" y="527458"/>
                    <a:pt x="1589726" y="538809"/>
                    <a:pt x="1619137" y="531069"/>
                  </a:cubicBezTo>
                  <a:cubicBezTo>
                    <a:pt x="1664543" y="519202"/>
                    <a:pt x="1709949" y="507850"/>
                    <a:pt x="1754839" y="495467"/>
                  </a:cubicBezTo>
                  <a:cubicBezTo>
                    <a:pt x="1783734" y="487727"/>
                    <a:pt x="1796634" y="492371"/>
                    <a:pt x="1812629" y="517654"/>
                  </a:cubicBezTo>
                  <a:cubicBezTo>
                    <a:pt x="1819853" y="528490"/>
                    <a:pt x="1826044" y="539841"/>
                    <a:pt x="1830172" y="552225"/>
                  </a:cubicBezTo>
                  <a:cubicBezTo>
                    <a:pt x="1837912" y="574412"/>
                    <a:pt x="1834299" y="588343"/>
                    <a:pt x="1815724" y="603306"/>
                  </a:cubicBezTo>
                  <a:cubicBezTo>
                    <a:pt x="1777026" y="634265"/>
                    <a:pt x="1738844" y="665224"/>
                    <a:pt x="1699630" y="695666"/>
                  </a:cubicBezTo>
                  <a:cubicBezTo>
                    <a:pt x="1680022" y="710629"/>
                    <a:pt x="1674862" y="729205"/>
                    <a:pt x="1678990" y="751908"/>
                  </a:cubicBezTo>
                  <a:cubicBezTo>
                    <a:pt x="1680539" y="759647"/>
                    <a:pt x="1683119" y="766871"/>
                    <a:pt x="1685182" y="774611"/>
                  </a:cubicBezTo>
                  <a:cubicBezTo>
                    <a:pt x="1691890" y="798862"/>
                    <a:pt x="1707885" y="812277"/>
                    <a:pt x="1732652" y="815373"/>
                  </a:cubicBezTo>
                  <a:cubicBezTo>
                    <a:pt x="1779606" y="821565"/>
                    <a:pt x="1826560" y="828272"/>
                    <a:pt x="1872998" y="834464"/>
                  </a:cubicBezTo>
                  <a:cubicBezTo>
                    <a:pt x="1900861" y="838076"/>
                    <a:pt x="1915308" y="851491"/>
                    <a:pt x="1918404" y="879354"/>
                  </a:cubicBezTo>
                  <a:cubicBezTo>
                    <a:pt x="1919952" y="892770"/>
                    <a:pt x="1921500" y="906185"/>
                    <a:pt x="1919952" y="919600"/>
                  </a:cubicBezTo>
                  <a:cubicBezTo>
                    <a:pt x="1917372" y="940755"/>
                    <a:pt x="1906536" y="952623"/>
                    <a:pt x="1886930" y="958299"/>
                  </a:cubicBezTo>
                  <a:cubicBezTo>
                    <a:pt x="1843071" y="970682"/>
                    <a:pt x="1798697" y="983065"/>
                    <a:pt x="1754839" y="995965"/>
                  </a:cubicBezTo>
                  <a:cubicBezTo>
                    <a:pt x="1712013" y="1008348"/>
                    <a:pt x="1692406" y="1040855"/>
                    <a:pt x="1701178" y="1085229"/>
                  </a:cubicBezTo>
                  <a:cubicBezTo>
                    <a:pt x="1704273" y="1102256"/>
                    <a:pt x="1714077" y="1113092"/>
                    <a:pt x="1728524" y="1121348"/>
                  </a:cubicBezTo>
                  <a:cubicBezTo>
                    <a:pt x="1768771" y="1145083"/>
                    <a:pt x="1809016" y="1168817"/>
                    <a:pt x="1849779" y="1192552"/>
                  </a:cubicBezTo>
                  <a:cubicBezTo>
                    <a:pt x="1879706" y="1210096"/>
                    <a:pt x="1884350" y="1220415"/>
                    <a:pt x="1876094" y="1253954"/>
                  </a:cubicBezTo>
                  <a:cubicBezTo>
                    <a:pt x="1875578" y="1256018"/>
                    <a:pt x="1875578" y="1258082"/>
                    <a:pt x="1875062" y="1260145"/>
                  </a:cubicBezTo>
                  <a:cubicBezTo>
                    <a:pt x="1862678" y="1300908"/>
                    <a:pt x="1848747" y="1321031"/>
                    <a:pt x="1802309" y="1312259"/>
                  </a:cubicBezTo>
                  <a:cubicBezTo>
                    <a:pt x="1760515" y="1304003"/>
                    <a:pt x="1717689" y="1302456"/>
                    <a:pt x="1675379" y="1296264"/>
                  </a:cubicBezTo>
                  <a:cubicBezTo>
                    <a:pt x="1645452" y="1292136"/>
                    <a:pt x="1625845" y="1304003"/>
                    <a:pt x="1611398" y="1329286"/>
                  </a:cubicBezTo>
                  <a:cubicBezTo>
                    <a:pt x="1596434" y="1355085"/>
                    <a:pt x="1589726" y="1379336"/>
                    <a:pt x="1610365" y="1405651"/>
                  </a:cubicBezTo>
                  <a:cubicBezTo>
                    <a:pt x="1638228" y="1441254"/>
                    <a:pt x="1665059" y="1477888"/>
                    <a:pt x="1692406" y="1514006"/>
                  </a:cubicBezTo>
                  <a:cubicBezTo>
                    <a:pt x="1715109" y="1543417"/>
                    <a:pt x="1715109" y="1555285"/>
                    <a:pt x="1692406" y="1584695"/>
                  </a:cubicBezTo>
                  <a:cubicBezTo>
                    <a:pt x="1691374" y="1585727"/>
                    <a:pt x="1690342" y="1587275"/>
                    <a:pt x="1689310" y="1588307"/>
                  </a:cubicBezTo>
                  <a:cubicBezTo>
                    <a:pt x="1659383" y="1620298"/>
                    <a:pt x="1647516" y="1634229"/>
                    <a:pt x="1600562" y="1605850"/>
                  </a:cubicBezTo>
                  <a:cubicBezTo>
                    <a:pt x="1564444" y="1584179"/>
                    <a:pt x="1526261" y="1565604"/>
                    <a:pt x="1490659" y="1543933"/>
                  </a:cubicBezTo>
                  <a:cubicBezTo>
                    <a:pt x="1461248" y="1526390"/>
                    <a:pt x="1438545" y="1536709"/>
                    <a:pt x="1415326" y="1554769"/>
                  </a:cubicBezTo>
                  <a:cubicBezTo>
                    <a:pt x="1392107" y="1572312"/>
                    <a:pt x="1382819" y="1593467"/>
                    <a:pt x="1391075" y="1622877"/>
                  </a:cubicBezTo>
                  <a:cubicBezTo>
                    <a:pt x="1403974" y="1668284"/>
                    <a:pt x="1415326" y="1714205"/>
                    <a:pt x="1426677" y="1760128"/>
                  </a:cubicBezTo>
                  <a:cubicBezTo>
                    <a:pt x="1432870" y="1784894"/>
                    <a:pt x="1427710" y="1798310"/>
                    <a:pt x="1406554" y="1811725"/>
                  </a:cubicBezTo>
                  <a:cubicBezTo>
                    <a:pt x="1395203" y="1818949"/>
                    <a:pt x="1383335" y="1825657"/>
                    <a:pt x="1370436" y="1830300"/>
                  </a:cubicBezTo>
                  <a:cubicBezTo>
                    <a:pt x="1347733" y="1838556"/>
                    <a:pt x="1331222" y="1834428"/>
                    <a:pt x="1316258" y="1815337"/>
                  </a:cubicBezTo>
                  <a:cubicBezTo>
                    <a:pt x="1287879" y="1779735"/>
                    <a:pt x="1259501" y="1743616"/>
                    <a:pt x="1231122" y="1707498"/>
                  </a:cubicBezTo>
                  <a:cubicBezTo>
                    <a:pt x="1203775" y="1673443"/>
                    <a:pt x="1154242" y="1668800"/>
                    <a:pt x="1121219" y="1698210"/>
                  </a:cubicBezTo>
                  <a:cubicBezTo>
                    <a:pt x="1112447" y="1705950"/>
                    <a:pt x="1108320" y="1715753"/>
                    <a:pt x="1106771" y="1727105"/>
                  </a:cubicBezTo>
                  <a:cubicBezTo>
                    <a:pt x="1100064" y="1774575"/>
                    <a:pt x="1092324" y="1821529"/>
                    <a:pt x="1087165" y="1868999"/>
                  </a:cubicBezTo>
                  <a:cubicBezTo>
                    <a:pt x="1084068" y="1893766"/>
                    <a:pt x="1074265" y="1911309"/>
                    <a:pt x="1050014" y="1919049"/>
                  </a:cubicBezTo>
                  <a:cubicBezTo>
                    <a:pt x="1029375" y="1919049"/>
                    <a:pt x="1008220" y="1919049"/>
                    <a:pt x="987581" y="1919049"/>
                  </a:cubicBezTo>
                  <a:cubicBezTo>
                    <a:pt x="973133" y="1910277"/>
                    <a:pt x="964878" y="1897377"/>
                    <a:pt x="960234" y="1880866"/>
                  </a:cubicBezTo>
                  <a:cubicBezTo>
                    <a:pt x="947851" y="1835460"/>
                    <a:pt x="933919" y="1790054"/>
                    <a:pt x="921535" y="1744132"/>
                  </a:cubicBezTo>
                  <a:cubicBezTo>
                    <a:pt x="914828" y="1719881"/>
                    <a:pt x="899865" y="1706982"/>
                    <a:pt x="875614" y="1703886"/>
                  </a:cubicBezTo>
                  <a:cubicBezTo>
                    <a:pt x="866326" y="1702854"/>
                    <a:pt x="857038" y="1701306"/>
                    <a:pt x="847751" y="1700790"/>
                  </a:cubicBezTo>
                  <a:cubicBezTo>
                    <a:pt x="826080" y="1699242"/>
                    <a:pt x="811117" y="1709046"/>
                    <a:pt x="800281" y="1727105"/>
                  </a:cubicBezTo>
                  <a:cubicBezTo>
                    <a:pt x="796153" y="1733813"/>
                    <a:pt x="792541" y="1740520"/>
                    <a:pt x="788414" y="1747228"/>
                  </a:cubicBezTo>
                  <a:cubicBezTo>
                    <a:pt x="766742" y="1783862"/>
                    <a:pt x="745587" y="1821013"/>
                    <a:pt x="723401" y="1857131"/>
                  </a:cubicBezTo>
                  <a:cubicBezTo>
                    <a:pt x="711533" y="1877254"/>
                    <a:pt x="697085" y="1882414"/>
                    <a:pt x="674383" y="1877254"/>
                  </a:cubicBezTo>
                  <a:cubicBezTo>
                    <a:pt x="660451" y="1874158"/>
                    <a:pt x="647552" y="1869515"/>
                    <a:pt x="634652" y="1863839"/>
                  </a:cubicBezTo>
                  <a:cubicBezTo>
                    <a:pt x="611949" y="1853003"/>
                    <a:pt x="604726" y="1839072"/>
                    <a:pt x="607822" y="1813789"/>
                  </a:cubicBezTo>
                  <a:cubicBezTo>
                    <a:pt x="613497" y="1766835"/>
                    <a:pt x="618141" y="1719881"/>
                    <a:pt x="624848" y="1672927"/>
                  </a:cubicBezTo>
                  <a:cubicBezTo>
                    <a:pt x="629492" y="1639905"/>
                    <a:pt x="611949" y="1621846"/>
                    <a:pt x="586150" y="1607398"/>
                  </a:cubicBezTo>
                  <a:cubicBezTo>
                    <a:pt x="560868" y="1593467"/>
                    <a:pt x="538165" y="1591403"/>
                    <a:pt x="514430" y="1611010"/>
                  </a:cubicBezTo>
                  <a:cubicBezTo>
                    <a:pt x="481407" y="1637325"/>
                    <a:pt x="446836" y="1661576"/>
                    <a:pt x="413814" y="1687375"/>
                  </a:cubicBezTo>
                  <a:cubicBezTo>
                    <a:pt x="380276" y="1713690"/>
                    <a:pt x="365828" y="1719365"/>
                    <a:pt x="324550" y="1682215"/>
                  </a:cubicBezTo>
                  <a:cubicBezTo>
                    <a:pt x="321970" y="1679635"/>
                    <a:pt x="319390" y="1677055"/>
                    <a:pt x="316810" y="1674475"/>
                  </a:cubicBezTo>
                  <a:cubicBezTo>
                    <a:pt x="296687" y="1653836"/>
                    <a:pt x="294623" y="1637841"/>
                    <a:pt x="309071" y="1612558"/>
                  </a:cubicBezTo>
                  <a:cubicBezTo>
                    <a:pt x="331258" y="1572828"/>
                    <a:pt x="353960" y="1532581"/>
                    <a:pt x="376148" y="1492851"/>
                  </a:cubicBezTo>
                  <a:cubicBezTo>
                    <a:pt x="382339" y="1481500"/>
                    <a:pt x="389047" y="1470148"/>
                    <a:pt x="387499" y="1456217"/>
                  </a:cubicBezTo>
                  <a:cubicBezTo>
                    <a:pt x="383887" y="1414423"/>
                    <a:pt x="337449" y="1381400"/>
                    <a:pt x="297203" y="1391720"/>
                  </a:cubicBezTo>
                  <a:cubicBezTo>
                    <a:pt x="250765" y="1403587"/>
                    <a:pt x="204327" y="1415455"/>
                    <a:pt x="158405" y="1427838"/>
                  </a:cubicBezTo>
                  <a:cubicBezTo>
                    <a:pt x="139830" y="1432998"/>
                    <a:pt x="125899" y="1427322"/>
                    <a:pt x="114031" y="1412875"/>
                  </a:cubicBezTo>
                  <a:cubicBezTo>
                    <a:pt x="104228" y="1401007"/>
                    <a:pt x="98036" y="1387592"/>
                    <a:pt x="91844" y="1373660"/>
                  </a:cubicBezTo>
                  <a:cubicBezTo>
                    <a:pt x="81525" y="1349409"/>
                    <a:pt x="86169" y="1331866"/>
                    <a:pt x="106808" y="1315871"/>
                  </a:cubicBezTo>
                  <a:cubicBezTo>
                    <a:pt x="140862" y="1288524"/>
                    <a:pt x="175432" y="1261693"/>
                    <a:pt x="209487" y="1234347"/>
                  </a:cubicBezTo>
                  <a:cubicBezTo>
                    <a:pt x="245605" y="1206484"/>
                    <a:pt x="248701" y="1194616"/>
                    <a:pt x="236834" y="1151274"/>
                  </a:cubicBezTo>
                  <a:cubicBezTo>
                    <a:pt x="228578" y="1122896"/>
                    <a:pt x="211551" y="1107932"/>
                    <a:pt x="181624" y="1104836"/>
                  </a:cubicBezTo>
                  <a:cubicBezTo>
                    <a:pt x="138282" y="1100192"/>
                    <a:pt x="95456" y="1091937"/>
                    <a:pt x="52114" y="1087293"/>
                  </a:cubicBezTo>
                  <a:cubicBezTo>
                    <a:pt x="27347" y="1084713"/>
                    <a:pt x="9804" y="1074910"/>
                    <a:pt x="1032" y="1051175"/>
                  </a:cubicBezTo>
                  <a:cubicBezTo>
                    <a:pt x="0" y="1028988"/>
                    <a:pt x="0" y="1008348"/>
                    <a:pt x="0" y="987194"/>
                  </a:cubicBezTo>
                  <a:close/>
                  <a:moveTo>
                    <a:pt x="1198616" y="960879"/>
                  </a:moveTo>
                  <a:cubicBezTo>
                    <a:pt x="1200163" y="838592"/>
                    <a:pt x="1104192" y="720433"/>
                    <a:pt x="958686" y="720949"/>
                  </a:cubicBezTo>
                  <a:cubicBezTo>
                    <a:pt x="824016" y="721465"/>
                    <a:pt x="720821" y="824145"/>
                    <a:pt x="720304" y="959331"/>
                  </a:cubicBezTo>
                  <a:cubicBezTo>
                    <a:pt x="719788" y="1096581"/>
                    <a:pt x="827628" y="1197712"/>
                    <a:pt x="957654" y="1198744"/>
                  </a:cubicBezTo>
                  <a:cubicBezTo>
                    <a:pt x="1090776" y="1199776"/>
                    <a:pt x="1198100" y="1092969"/>
                    <a:pt x="1198616" y="960879"/>
                  </a:cubicBezTo>
                  <a:close/>
                </a:path>
              </a:pathLst>
            </a:custGeom>
            <a:grpFill/>
            <a:ln w="51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3CB55807-BD22-4048-954D-034035693AB1}"/>
                </a:ext>
              </a:extLst>
            </p:cNvPr>
            <p:cNvGrpSpPr/>
            <p:nvPr/>
          </p:nvGrpSpPr>
          <p:grpSpPr>
            <a:xfrm>
              <a:off x="7392963" y="2648852"/>
              <a:ext cx="1838947" cy="1835405"/>
              <a:chOff x="7167947" y="1624190"/>
              <a:chExt cx="2677922" cy="2672763"/>
            </a:xfrm>
            <a:grpFill/>
          </p:grpSpPr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B604511B-5CCB-4401-AD66-43DC945D0707}"/>
                  </a:ext>
                </a:extLst>
              </p:cNvPr>
              <p:cNvSpPr/>
              <p:nvPr/>
            </p:nvSpPr>
            <p:spPr>
              <a:xfrm>
                <a:off x="7167947" y="1624190"/>
                <a:ext cx="2677922" cy="2672763"/>
              </a:xfrm>
              <a:custGeom>
                <a:avLst/>
                <a:gdLst>
                  <a:gd name="connsiteX0" fmla="*/ 2538684 w 2677922"/>
                  <a:gd name="connsiteY0" fmla="*/ 1897505 h 2672762"/>
                  <a:gd name="connsiteX1" fmla="*/ 2456643 w 2677922"/>
                  <a:gd name="connsiteY1" fmla="*/ 1879446 h 2672762"/>
                  <a:gd name="connsiteX2" fmla="*/ 2389566 w 2677922"/>
                  <a:gd name="connsiteY2" fmla="*/ 1863966 h 2672762"/>
                  <a:gd name="connsiteX3" fmla="*/ 2354479 w 2677922"/>
                  <a:gd name="connsiteY3" fmla="*/ 1874802 h 2672762"/>
                  <a:gd name="connsiteX4" fmla="*/ 2312170 w 2677922"/>
                  <a:gd name="connsiteY4" fmla="*/ 1950651 h 2672762"/>
                  <a:gd name="connsiteX5" fmla="*/ 2322489 w 2677922"/>
                  <a:gd name="connsiteY5" fmla="*/ 1983157 h 2672762"/>
                  <a:gd name="connsiteX6" fmla="*/ 2412785 w 2677922"/>
                  <a:gd name="connsiteY6" fmla="*/ 2080161 h 2672762"/>
                  <a:gd name="connsiteX7" fmla="*/ 2418461 w 2677922"/>
                  <a:gd name="connsiteY7" fmla="*/ 2146722 h 2672762"/>
                  <a:gd name="connsiteX8" fmla="*/ 2414849 w 2677922"/>
                  <a:gd name="connsiteY8" fmla="*/ 2151882 h 2672762"/>
                  <a:gd name="connsiteX9" fmla="*/ 2324037 w 2677922"/>
                  <a:gd name="connsiteY9" fmla="*/ 2174585 h 2672762"/>
                  <a:gd name="connsiteX10" fmla="*/ 2219294 w 2677922"/>
                  <a:gd name="connsiteY10" fmla="*/ 2118859 h 2672762"/>
                  <a:gd name="connsiteX11" fmla="*/ 2178531 w 2677922"/>
                  <a:gd name="connsiteY11" fmla="*/ 2120407 h 2672762"/>
                  <a:gd name="connsiteX12" fmla="*/ 2125386 w 2677922"/>
                  <a:gd name="connsiteY12" fmla="*/ 2172521 h 2672762"/>
                  <a:gd name="connsiteX13" fmla="*/ 2122806 w 2677922"/>
                  <a:gd name="connsiteY13" fmla="*/ 2217411 h 2672762"/>
                  <a:gd name="connsiteX14" fmla="*/ 2184723 w 2677922"/>
                  <a:gd name="connsiteY14" fmla="*/ 2334538 h 2672762"/>
                  <a:gd name="connsiteX15" fmla="*/ 2174404 w 2677922"/>
                  <a:gd name="connsiteY15" fmla="*/ 2395423 h 2672762"/>
                  <a:gd name="connsiteX16" fmla="*/ 2164084 w 2677922"/>
                  <a:gd name="connsiteY16" fmla="*/ 2404711 h 2672762"/>
                  <a:gd name="connsiteX17" fmla="*/ 2075336 w 2677922"/>
                  <a:gd name="connsiteY17" fmla="*/ 2401615 h 2672762"/>
                  <a:gd name="connsiteX18" fmla="*/ 1988652 w 2677922"/>
                  <a:gd name="connsiteY18" fmla="*/ 2320606 h 2672762"/>
                  <a:gd name="connsiteX19" fmla="*/ 1944277 w 2677922"/>
                  <a:gd name="connsiteY19" fmla="*/ 2311835 h 2672762"/>
                  <a:gd name="connsiteX20" fmla="*/ 1883392 w 2677922"/>
                  <a:gd name="connsiteY20" fmla="*/ 2346405 h 2672762"/>
                  <a:gd name="connsiteX21" fmla="*/ 1868429 w 2677922"/>
                  <a:gd name="connsiteY21" fmla="*/ 2391811 h 2672762"/>
                  <a:gd name="connsiteX22" fmla="*/ 1899388 w 2677922"/>
                  <a:gd name="connsiteY22" fmla="*/ 2526997 h 2672762"/>
                  <a:gd name="connsiteX23" fmla="*/ 1879264 w 2677922"/>
                  <a:gd name="connsiteY23" fmla="*/ 2571887 h 2672762"/>
                  <a:gd name="connsiteX24" fmla="*/ 1841082 w 2677922"/>
                  <a:gd name="connsiteY24" fmla="*/ 2588915 h 2672762"/>
                  <a:gd name="connsiteX25" fmla="*/ 1782777 w 2677922"/>
                  <a:gd name="connsiteY25" fmla="*/ 2568276 h 2672762"/>
                  <a:gd name="connsiteX26" fmla="*/ 1715184 w 2677922"/>
                  <a:gd name="connsiteY26" fmla="*/ 2459404 h 2672762"/>
                  <a:gd name="connsiteX27" fmla="*/ 1664618 w 2677922"/>
                  <a:gd name="connsiteY27" fmla="*/ 2435669 h 2672762"/>
                  <a:gd name="connsiteX28" fmla="*/ 1610440 w 2677922"/>
                  <a:gd name="connsiteY28" fmla="*/ 2450117 h 2672762"/>
                  <a:gd name="connsiteX29" fmla="*/ 1577418 w 2677922"/>
                  <a:gd name="connsiteY29" fmla="*/ 2495007 h 2672762"/>
                  <a:gd name="connsiteX30" fmla="*/ 1573806 w 2677922"/>
                  <a:gd name="connsiteY30" fmla="*/ 2616777 h 2672762"/>
                  <a:gd name="connsiteX31" fmla="*/ 1526852 w 2677922"/>
                  <a:gd name="connsiteY31" fmla="*/ 2672503 h 2672762"/>
                  <a:gd name="connsiteX32" fmla="*/ 1497441 w 2677922"/>
                  <a:gd name="connsiteY32" fmla="*/ 2676115 h 2672762"/>
                  <a:gd name="connsiteX33" fmla="*/ 1449972 w 2677922"/>
                  <a:gd name="connsiteY33" fmla="*/ 2644124 h 2672762"/>
                  <a:gd name="connsiteX34" fmla="*/ 1410241 w 2677922"/>
                  <a:gd name="connsiteY34" fmla="*/ 2514614 h 2672762"/>
                  <a:gd name="connsiteX35" fmla="*/ 1373091 w 2677922"/>
                  <a:gd name="connsiteY35" fmla="*/ 2482623 h 2672762"/>
                  <a:gd name="connsiteX36" fmla="*/ 1304982 w 2677922"/>
                  <a:gd name="connsiteY36" fmla="*/ 2483139 h 2672762"/>
                  <a:gd name="connsiteX37" fmla="*/ 1271959 w 2677922"/>
                  <a:gd name="connsiteY37" fmla="*/ 2511518 h 2672762"/>
                  <a:gd name="connsiteX38" fmla="*/ 1234293 w 2677922"/>
                  <a:gd name="connsiteY38" fmla="*/ 2633805 h 2672762"/>
                  <a:gd name="connsiteX39" fmla="*/ 1170828 w 2677922"/>
                  <a:gd name="connsiteY39" fmla="*/ 2674567 h 2672762"/>
                  <a:gd name="connsiteX40" fmla="*/ 1106847 w 2677922"/>
                  <a:gd name="connsiteY40" fmla="*/ 2602330 h 2672762"/>
                  <a:gd name="connsiteX41" fmla="*/ 1103751 w 2677922"/>
                  <a:gd name="connsiteY41" fmla="*/ 2491395 h 2672762"/>
                  <a:gd name="connsiteX42" fmla="*/ 1080532 w 2677922"/>
                  <a:gd name="connsiteY42" fmla="*/ 2454244 h 2672762"/>
                  <a:gd name="connsiteX43" fmla="*/ 1005199 w 2677922"/>
                  <a:gd name="connsiteY43" fmla="*/ 2435153 h 2672762"/>
                  <a:gd name="connsiteX44" fmla="*/ 969080 w 2677922"/>
                  <a:gd name="connsiteY44" fmla="*/ 2454244 h 2672762"/>
                  <a:gd name="connsiteX45" fmla="*/ 900456 w 2677922"/>
                  <a:gd name="connsiteY45" fmla="*/ 2564148 h 2672762"/>
                  <a:gd name="connsiteX46" fmla="*/ 836474 w 2677922"/>
                  <a:gd name="connsiteY46" fmla="*/ 2587367 h 2672762"/>
                  <a:gd name="connsiteX47" fmla="*/ 831830 w 2677922"/>
                  <a:gd name="connsiteY47" fmla="*/ 2585819 h 2672762"/>
                  <a:gd name="connsiteX48" fmla="*/ 785392 w 2677922"/>
                  <a:gd name="connsiteY48" fmla="*/ 2504810 h 2672762"/>
                  <a:gd name="connsiteX49" fmla="*/ 811707 w 2677922"/>
                  <a:gd name="connsiteY49" fmla="*/ 2390779 h 2672762"/>
                  <a:gd name="connsiteX50" fmla="*/ 794680 w 2677922"/>
                  <a:gd name="connsiteY50" fmla="*/ 2344341 h 2672762"/>
                  <a:gd name="connsiteX51" fmla="*/ 739470 w 2677922"/>
                  <a:gd name="connsiteY51" fmla="*/ 2312351 h 2672762"/>
                  <a:gd name="connsiteX52" fmla="*/ 689421 w 2677922"/>
                  <a:gd name="connsiteY52" fmla="*/ 2321638 h 2672762"/>
                  <a:gd name="connsiteX53" fmla="*/ 596029 w 2677922"/>
                  <a:gd name="connsiteY53" fmla="*/ 2408838 h 2672762"/>
                  <a:gd name="connsiteX54" fmla="*/ 530500 w 2677922"/>
                  <a:gd name="connsiteY54" fmla="*/ 2415030 h 2672762"/>
                  <a:gd name="connsiteX55" fmla="*/ 521212 w 2677922"/>
                  <a:gd name="connsiteY55" fmla="*/ 2408838 h 2672762"/>
                  <a:gd name="connsiteX56" fmla="*/ 500573 w 2677922"/>
                  <a:gd name="connsiteY56" fmla="*/ 2322670 h 2672762"/>
                  <a:gd name="connsiteX57" fmla="*/ 556298 w 2677922"/>
                  <a:gd name="connsiteY57" fmla="*/ 2217927 h 2672762"/>
                  <a:gd name="connsiteX58" fmla="*/ 552171 w 2677922"/>
                  <a:gd name="connsiteY58" fmla="*/ 2168909 h 2672762"/>
                  <a:gd name="connsiteX59" fmla="*/ 505733 w 2677922"/>
                  <a:gd name="connsiteY59" fmla="*/ 2122987 h 2672762"/>
                  <a:gd name="connsiteX60" fmla="*/ 457747 w 2677922"/>
                  <a:gd name="connsiteY60" fmla="*/ 2119375 h 2672762"/>
                  <a:gd name="connsiteX61" fmla="*/ 341652 w 2677922"/>
                  <a:gd name="connsiteY61" fmla="*/ 2180777 h 2672762"/>
                  <a:gd name="connsiteX62" fmla="*/ 278187 w 2677922"/>
                  <a:gd name="connsiteY62" fmla="*/ 2168909 h 2672762"/>
                  <a:gd name="connsiteX63" fmla="*/ 274059 w 2677922"/>
                  <a:gd name="connsiteY63" fmla="*/ 2164265 h 2672762"/>
                  <a:gd name="connsiteX64" fmla="*/ 276639 w 2677922"/>
                  <a:gd name="connsiteY64" fmla="*/ 2069325 h 2672762"/>
                  <a:gd name="connsiteX65" fmla="*/ 354551 w 2677922"/>
                  <a:gd name="connsiteY65" fmla="*/ 1986253 h 2672762"/>
                  <a:gd name="connsiteX66" fmla="*/ 363839 w 2677922"/>
                  <a:gd name="connsiteY66" fmla="*/ 1940847 h 2672762"/>
                  <a:gd name="connsiteX67" fmla="*/ 328237 w 2677922"/>
                  <a:gd name="connsiteY67" fmla="*/ 1878930 h 2672762"/>
                  <a:gd name="connsiteX68" fmla="*/ 283347 w 2677922"/>
                  <a:gd name="connsiteY68" fmla="*/ 1866030 h 2672762"/>
                  <a:gd name="connsiteX69" fmla="*/ 170864 w 2677922"/>
                  <a:gd name="connsiteY69" fmla="*/ 1891829 h 2672762"/>
                  <a:gd name="connsiteX70" fmla="*/ 155900 w 2677922"/>
                  <a:gd name="connsiteY70" fmla="*/ 1895441 h 2672762"/>
                  <a:gd name="connsiteX71" fmla="*/ 100175 w 2677922"/>
                  <a:gd name="connsiteY71" fmla="*/ 1868094 h 2672762"/>
                  <a:gd name="connsiteX72" fmla="*/ 87275 w 2677922"/>
                  <a:gd name="connsiteY72" fmla="*/ 1838168 h 2672762"/>
                  <a:gd name="connsiteX73" fmla="*/ 107915 w 2677922"/>
                  <a:gd name="connsiteY73" fmla="*/ 1779862 h 2672762"/>
                  <a:gd name="connsiteX74" fmla="*/ 213690 w 2677922"/>
                  <a:gd name="connsiteY74" fmla="*/ 1713817 h 2672762"/>
                  <a:gd name="connsiteX75" fmla="*/ 238972 w 2677922"/>
                  <a:gd name="connsiteY75" fmla="*/ 1654480 h 2672762"/>
                  <a:gd name="connsiteX76" fmla="*/ 222977 w 2677922"/>
                  <a:gd name="connsiteY76" fmla="*/ 1600818 h 2672762"/>
                  <a:gd name="connsiteX77" fmla="*/ 184279 w 2677922"/>
                  <a:gd name="connsiteY77" fmla="*/ 1575019 h 2672762"/>
                  <a:gd name="connsiteX78" fmla="*/ 59413 w 2677922"/>
                  <a:gd name="connsiteY78" fmla="*/ 1571407 h 2672762"/>
                  <a:gd name="connsiteX79" fmla="*/ 3687 w 2677922"/>
                  <a:gd name="connsiteY79" fmla="*/ 1524453 h 2672762"/>
                  <a:gd name="connsiteX80" fmla="*/ 1623 w 2677922"/>
                  <a:gd name="connsiteY80" fmla="*/ 1513618 h 2672762"/>
                  <a:gd name="connsiteX81" fmla="*/ 48577 w 2677922"/>
                  <a:gd name="connsiteY81" fmla="*/ 1442413 h 2672762"/>
                  <a:gd name="connsiteX82" fmla="*/ 160544 w 2677922"/>
                  <a:gd name="connsiteY82" fmla="*/ 1408358 h 2672762"/>
                  <a:gd name="connsiteX83" fmla="*/ 194083 w 2677922"/>
                  <a:gd name="connsiteY83" fmla="*/ 1370692 h 2672762"/>
                  <a:gd name="connsiteX84" fmla="*/ 192534 w 2677922"/>
                  <a:gd name="connsiteY84" fmla="*/ 1298971 h 2672762"/>
                  <a:gd name="connsiteX85" fmla="*/ 166220 w 2677922"/>
                  <a:gd name="connsiteY85" fmla="*/ 1269560 h 2672762"/>
                  <a:gd name="connsiteX86" fmla="*/ 47029 w 2677922"/>
                  <a:gd name="connsiteY86" fmla="*/ 1232926 h 2672762"/>
                  <a:gd name="connsiteX87" fmla="*/ 1623 w 2677922"/>
                  <a:gd name="connsiteY87" fmla="*/ 1166881 h 2672762"/>
                  <a:gd name="connsiteX88" fmla="*/ 6267 w 2677922"/>
                  <a:gd name="connsiteY88" fmla="*/ 1139534 h 2672762"/>
                  <a:gd name="connsiteX89" fmla="*/ 49093 w 2677922"/>
                  <a:gd name="connsiteY89" fmla="*/ 1105480 h 2672762"/>
                  <a:gd name="connsiteX90" fmla="*/ 164672 w 2677922"/>
                  <a:gd name="connsiteY90" fmla="*/ 1101868 h 2672762"/>
                  <a:gd name="connsiteX91" fmla="*/ 181699 w 2677922"/>
                  <a:gd name="connsiteY91" fmla="*/ 1101352 h 2672762"/>
                  <a:gd name="connsiteX92" fmla="*/ 227621 w 2677922"/>
                  <a:gd name="connsiteY92" fmla="*/ 1065233 h 2672762"/>
                  <a:gd name="connsiteX93" fmla="*/ 241036 w 2677922"/>
                  <a:gd name="connsiteY93" fmla="*/ 1014152 h 2672762"/>
                  <a:gd name="connsiteX94" fmla="*/ 219366 w 2677922"/>
                  <a:gd name="connsiteY94" fmla="*/ 965650 h 2672762"/>
                  <a:gd name="connsiteX95" fmla="*/ 113590 w 2677922"/>
                  <a:gd name="connsiteY95" fmla="*/ 899605 h 2672762"/>
                  <a:gd name="connsiteX96" fmla="*/ 89855 w 2677922"/>
                  <a:gd name="connsiteY96" fmla="*/ 832012 h 2672762"/>
                  <a:gd name="connsiteX97" fmla="*/ 104818 w 2677922"/>
                  <a:gd name="connsiteY97" fmla="*/ 799505 h 2672762"/>
                  <a:gd name="connsiteX98" fmla="*/ 151256 w 2677922"/>
                  <a:gd name="connsiteY98" fmla="*/ 779898 h 2672762"/>
                  <a:gd name="connsiteX99" fmla="*/ 283347 w 2677922"/>
                  <a:gd name="connsiteY99" fmla="*/ 810341 h 2672762"/>
                  <a:gd name="connsiteX100" fmla="*/ 331332 w 2677922"/>
                  <a:gd name="connsiteY100" fmla="*/ 794345 h 2672762"/>
                  <a:gd name="connsiteX101" fmla="*/ 363839 w 2677922"/>
                  <a:gd name="connsiteY101" fmla="*/ 737588 h 2672762"/>
                  <a:gd name="connsiteX102" fmla="*/ 354551 w 2677922"/>
                  <a:gd name="connsiteY102" fmla="*/ 689086 h 2672762"/>
                  <a:gd name="connsiteX103" fmla="*/ 266835 w 2677922"/>
                  <a:gd name="connsiteY103" fmla="*/ 595694 h 2672762"/>
                  <a:gd name="connsiteX104" fmla="*/ 261675 w 2677922"/>
                  <a:gd name="connsiteY104" fmla="*/ 529133 h 2672762"/>
                  <a:gd name="connsiteX105" fmla="*/ 270447 w 2677922"/>
                  <a:gd name="connsiteY105" fmla="*/ 516233 h 2672762"/>
                  <a:gd name="connsiteX106" fmla="*/ 349907 w 2677922"/>
                  <a:gd name="connsiteY106" fmla="*/ 498690 h 2672762"/>
                  <a:gd name="connsiteX107" fmla="*/ 457231 w 2677922"/>
                  <a:gd name="connsiteY107" fmla="*/ 555964 h 2672762"/>
                  <a:gd name="connsiteX108" fmla="*/ 507797 w 2677922"/>
                  <a:gd name="connsiteY108" fmla="*/ 551320 h 2672762"/>
                  <a:gd name="connsiteX109" fmla="*/ 551139 w 2677922"/>
                  <a:gd name="connsiteY109" fmla="*/ 508494 h 2672762"/>
                  <a:gd name="connsiteX110" fmla="*/ 556815 w 2677922"/>
                  <a:gd name="connsiteY110" fmla="*/ 456896 h 2672762"/>
                  <a:gd name="connsiteX111" fmla="*/ 494381 w 2677922"/>
                  <a:gd name="connsiteY111" fmla="*/ 339769 h 2672762"/>
                  <a:gd name="connsiteX112" fmla="*/ 505217 w 2677922"/>
                  <a:gd name="connsiteY112" fmla="*/ 280432 h 2672762"/>
                  <a:gd name="connsiteX113" fmla="*/ 537723 w 2677922"/>
                  <a:gd name="connsiteY113" fmla="*/ 256181 h 2672762"/>
                  <a:gd name="connsiteX114" fmla="*/ 590353 w 2677922"/>
                  <a:gd name="connsiteY114" fmla="*/ 261857 h 2672762"/>
                  <a:gd name="connsiteX115" fmla="*/ 679617 w 2677922"/>
                  <a:gd name="connsiteY115" fmla="*/ 344929 h 2672762"/>
                  <a:gd name="connsiteX116" fmla="*/ 754950 w 2677922"/>
                  <a:gd name="connsiteY116" fmla="*/ 355765 h 2672762"/>
                  <a:gd name="connsiteX117" fmla="*/ 797260 w 2677922"/>
                  <a:gd name="connsiteY117" fmla="*/ 329450 h 2672762"/>
                  <a:gd name="connsiteX118" fmla="*/ 811707 w 2677922"/>
                  <a:gd name="connsiteY118" fmla="*/ 285076 h 2672762"/>
                  <a:gd name="connsiteX119" fmla="*/ 781781 w 2677922"/>
                  <a:gd name="connsiteY119" fmla="*/ 156081 h 2672762"/>
                  <a:gd name="connsiteX120" fmla="*/ 807064 w 2677922"/>
                  <a:gd name="connsiteY120" fmla="*/ 100872 h 2672762"/>
                  <a:gd name="connsiteX121" fmla="*/ 841634 w 2677922"/>
                  <a:gd name="connsiteY121" fmla="*/ 86424 h 2672762"/>
                  <a:gd name="connsiteX122" fmla="*/ 896328 w 2677922"/>
                  <a:gd name="connsiteY122" fmla="*/ 106031 h 2672762"/>
                  <a:gd name="connsiteX123" fmla="*/ 965469 w 2677922"/>
                  <a:gd name="connsiteY123" fmla="*/ 217483 h 2672762"/>
                  <a:gd name="connsiteX124" fmla="*/ 1013455 w 2677922"/>
                  <a:gd name="connsiteY124" fmla="*/ 240702 h 2672762"/>
                  <a:gd name="connsiteX125" fmla="*/ 1077952 w 2677922"/>
                  <a:gd name="connsiteY125" fmla="*/ 222642 h 2672762"/>
                  <a:gd name="connsiteX126" fmla="*/ 1101687 w 2677922"/>
                  <a:gd name="connsiteY126" fmla="*/ 188072 h 2672762"/>
                  <a:gd name="connsiteX127" fmla="*/ 1106847 w 2677922"/>
                  <a:gd name="connsiteY127" fmla="*/ 53918 h 2672762"/>
                  <a:gd name="connsiteX128" fmla="*/ 1145029 w 2677922"/>
                  <a:gd name="connsiteY128" fmla="*/ 4900 h 2672762"/>
                  <a:gd name="connsiteX129" fmla="*/ 1158960 w 2677922"/>
                  <a:gd name="connsiteY129" fmla="*/ 1804 h 2672762"/>
                  <a:gd name="connsiteX130" fmla="*/ 1235841 w 2677922"/>
                  <a:gd name="connsiteY130" fmla="*/ 48758 h 2672762"/>
                  <a:gd name="connsiteX131" fmla="*/ 1269895 w 2677922"/>
                  <a:gd name="connsiteY131" fmla="*/ 162273 h 2672762"/>
                  <a:gd name="connsiteX132" fmla="*/ 1303434 w 2677922"/>
                  <a:gd name="connsiteY132" fmla="*/ 192716 h 2672762"/>
                  <a:gd name="connsiteX133" fmla="*/ 1376702 w 2677922"/>
                  <a:gd name="connsiteY133" fmla="*/ 192716 h 2672762"/>
                  <a:gd name="connsiteX134" fmla="*/ 1409209 w 2677922"/>
                  <a:gd name="connsiteY134" fmla="*/ 163305 h 2672762"/>
                  <a:gd name="connsiteX135" fmla="*/ 1447392 w 2677922"/>
                  <a:gd name="connsiteY135" fmla="*/ 37922 h 2672762"/>
                  <a:gd name="connsiteX136" fmla="*/ 1499505 w 2677922"/>
                  <a:gd name="connsiteY136" fmla="*/ 256 h 2672762"/>
                  <a:gd name="connsiteX137" fmla="*/ 1513436 w 2677922"/>
                  <a:gd name="connsiteY137" fmla="*/ 772 h 2672762"/>
                  <a:gd name="connsiteX138" fmla="*/ 1573290 w 2677922"/>
                  <a:gd name="connsiteY138" fmla="*/ 65269 h 2672762"/>
                  <a:gd name="connsiteX139" fmla="*/ 1576902 w 2677922"/>
                  <a:gd name="connsiteY139" fmla="*/ 185492 h 2672762"/>
                  <a:gd name="connsiteX140" fmla="*/ 1598057 w 2677922"/>
                  <a:gd name="connsiteY140" fmla="*/ 220578 h 2672762"/>
                  <a:gd name="connsiteX141" fmla="*/ 1674422 w 2677922"/>
                  <a:gd name="connsiteY141" fmla="*/ 240702 h 2672762"/>
                  <a:gd name="connsiteX142" fmla="*/ 1710540 w 2677922"/>
                  <a:gd name="connsiteY142" fmla="*/ 221610 h 2672762"/>
                  <a:gd name="connsiteX143" fmla="*/ 1779165 w 2677922"/>
                  <a:gd name="connsiteY143" fmla="*/ 111707 h 2672762"/>
                  <a:gd name="connsiteX144" fmla="*/ 1845726 w 2677922"/>
                  <a:gd name="connsiteY144" fmla="*/ 88488 h 2672762"/>
                  <a:gd name="connsiteX145" fmla="*/ 1857594 w 2677922"/>
                  <a:gd name="connsiteY145" fmla="*/ 92616 h 2672762"/>
                  <a:gd name="connsiteX146" fmla="*/ 1895260 w 2677922"/>
                  <a:gd name="connsiteY146" fmla="*/ 166401 h 2672762"/>
                  <a:gd name="connsiteX147" fmla="*/ 1868429 w 2677922"/>
                  <a:gd name="connsiteY147" fmla="*/ 281980 h 2672762"/>
                  <a:gd name="connsiteX148" fmla="*/ 1887004 w 2677922"/>
                  <a:gd name="connsiteY148" fmla="*/ 332030 h 2672762"/>
                  <a:gd name="connsiteX149" fmla="*/ 1946857 w 2677922"/>
                  <a:gd name="connsiteY149" fmla="*/ 365052 h 2672762"/>
                  <a:gd name="connsiteX150" fmla="*/ 1986588 w 2677922"/>
                  <a:gd name="connsiteY150" fmla="*/ 355765 h 2672762"/>
                  <a:gd name="connsiteX151" fmla="*/ 2081528 w 2677922"/>
                  <a:gd name="connsiteY151" fmla="*/ 267532 h 2672762"/>
                  <a:gd name="connsiteX152" fmla="*/ 2151701 w 2677922"/>
                  <a:gd name="connsiteY152" fmla="*/ 261857 h 2672762"/>
                  <a:gd name="connsiteX153" fmla="*/ 2155312 w 2677922"/>
                  <a:gd name="connsiteY153" fmla="*/ 264437 h 2672762"/>
                  <a:gd name="connsiteX154" fmla="*/ 2177500 w 2677922"/>
                  <a:gd name="connsiteY154" fmla="*/ 353701 h 2672762"/>
                  <a:gd name="connsiteX155" fmla="*/ 2122290 w 2677922"/>
                  <a:gd name="connsiteY155" fmla="*/ 456896 h 2672762"/>
                  <a:gd name="connsiteX156" fmla="*/ 2126934 w 2677922"/>
                  <a:gd name="connsiteY156" fmla="*/ 505914 h 2672762"/>
                  <a:gd name="connsiteX157" fmla="*/ 2173372 w 2677922"/>
                  <a:gd name="connsiteY157" fmla="*/ 551836 h 2672762"/>
                  <a:gd name="connsiteX158" fmla="*/ 2219810 w 2677922"/>
                  <a:gd name="connsiteY158" fmla="*/ 555964 h 2672762"/>
                  <a:gd name="connsiteX159" fmla="*/ 2336937 w 2677922"/>
                  <a:gd name="connsiteY159" fmla="*/ 494046 h 2672762"/>
                  <a:gd name="connsiteX160" fmla="*/ 2400917 w 2677922"/>
                  <a:gd name="connsiteY160" fmla="*/ 507462 h 2672762"/>
                  <a:gd name="connsiteX161" fmla="*/ 2420525 w 2677922"/>
                  <a:gd name="connsiteY161" fmla="*/ 533777 h 2672762"/>
                  <a:gd name="connsiteX162" fmla="*/ 2415365 w 2677922"/>
                  <a:gd name="connsiteY162" fmla="*/ 591566 h 2672762"/>
                  <a:gd name="connsiteX163" fmla="*/ 2321973 w 2677922"/>
                  <a:gd name="connsiteY163" fmla="*/ 692182 h 2672762"/>
                  <a:gd name="connsiteX164" fmla="*/ 2313718 w 2677922"/>
                  <a:gd name="connsiteY164" fmla="*/ 733460 h 2672762"/>
                  <a:gd name="connsiteX165" fmla="*/ 2349320 w 2677922"/>
                  <a:gd name="connsiteY165" fmla="*/ 795377 h 2672762"/>
                  <a:gd name="connsiteX166" fmla="*/ 2394726 w 2677922"/>
                  <a:gd name="connsiteY166" fmla="*/ 810341 h 2672762"/>
                  <a:gd name="connsiteX167" fmla="*/ 2526816 w 2677922"/>
                  <a:gd name="connsiteY167" fmla="*/ 780414 h 2672762"/>
                  <a:gd name="connsiteX168" fmla="*/ 2575834 w 2677922"/>
                  <a:gd name="connsiteY168" fmla="*/ 803117 h 2672762"/>
                  <a:gd name="connsiteX169" fmla="*/ 2591313 w 2677922"/>
                  <a:gd name="connsiteY169" fmla="*/ 838719 h 2672762"/>
                  <a:gd name="connsiteX170" fmla="*/ 2570158 w 2677922"/>
                  <a:gd name="connsiteY170" fmla="*/ 896509 h 2672762"/>
                  <a:gd name="connsiteX171" fmla="*/ 2461287 w 2677922"/>
                  <a:gd name="connsiteY171" fmla="*/ 964102 h 2672762"/>
                  <a:gd name="connsiteX172" fmla="*/ 2438068 w 2677922"/>
                  <a:gd name="connsiteY172" fmla="*/ 1014668 h 2672762"/>
                  <a:gd name="connsiteX173" fmla="*/ 2454063 w 2677922"/>
                  <a:gd name="connsiteY173" fmla="*/ 1073489 h 2672762"/>
                  <a:gd name="connsiteX174" fmla="*/ 2492762 w 2677922"/>
                  <a:gd name="connsiteY174" fmla="*/ 1100836 h 2672762"/>
                  <a:gd name="connsiteX175" fmla="*/ 2628464 w 2677922"/>
                  <a:gd name="connsiteY175" fmla="*/ 1105996 h 2672762"/>
                  <a:gd name="connsiteX176" fmla="*/ 2672322 w 2677922"/>
                  <a:gd name="connsiteY176" fmla="*/ 1140566 h 2672762"/>
                  <a:gd name="connsiteX177" fmla="*/ 2677998 w 2677922"/>
                  <a:gd name="connsiteY177" fmla="*/ 1182360 h 2672762"/>
                  <a:gd name="connsiteX178" fmla="*/ 2644459 w 2677922"/>
                  <a:gd name="connsiteY178" fmla="*/ 1229830 h 2672762"/>
                  <a:gd name="connsiteX179" fmla="*/ 2522172 w 2677922"/>
                  <a:gd name="connsiteY179" fmla="*/ 1267497 h 2672762"/>
                  <a:gd name="connsiteX180" fmla="*/ 2483990 w 2677922"/>
                  <a:gd name="connsiteY180" fmla="*/ 1315998 h 2672762"/>
                  <a:gd name="connsiteX181" fmla="*/ 2486570 w 2677922"/>
                  <a:gd name="connsiteY181" fmla="*/ 1379980 h 2672762"/>
                  <a:gd name="connsiteX182" fmla="*/ 2512885 w 2677922"/>
                  <a:gd name="connsiteY182" fmla="*/ 1407842 h 2672762"/>
                  <a:gd name="connsiteX183" fmla="*/ 2641363 w 2677922"/>
                  <a:gd name="connsiteY183" fmla="*/ 1447057 h 2672762"/>
                  <a:gd name="connsiteX184" fmla="*/ 2677998 w 2677922"/>
                  <a:gd name="connsiteY184" fmla="*/ 1498138 h 2672762"/>
                  <a:gd name="connsiteX185" fmla="*/ 2677998 w 2677922"/>
                  <a:gd name="connsiteY185" fmla="*/ 1507426 h 2672762"/>
                  <a:gd name="connsiteX186" fmla="*/ 2611952 w 2677922"/>
                  <a:gd name="connsiteY186" fmla="*/ 1572955 h 2672762"/>
                  <a:gd name="connsiteX187" fmla="*/ 2490182 w 2677922"/>
                  <a:gd name="connsiteY187" fmla="*/ 1576567 h 2672762"/>
                  <a:gd name="connsiteX188" fmla="*/ 2457675 w 2677922"/>
                  <a:gd name="connsiteY188" fmla="*/ 1596690 h 2672762"/>
                  <a:gd name="connsiteX189" fmla="*/ 2437036 w 2677922"/>
                  <a:gd name="connsiteY189" fmla="*/ 1673055 h 2672762"/>
                  <a:gd name="connsiteX190" fmla="*/ 2457159 w 2677922"/>
                  <a:gd name="connsiteY190" fmla="*/ 1710205 h 2672762"/>
                  <a:gd name="connsiteX191" fmla="*/ 2564483 w 2677922"/>
                  <a:gd name="connsiteY191" fmla="*/ 1777282 h 2672762"/>
                  <a:gd name="connsiteX192" fmla="*/ 2588733 w 2677922"/>
                  <a:gd name="connsiteY192" fmla="*/ 1845907 h 2672762"/>
                  <a:gd name="connsiteX193" fmla="*/ 2571706 w 2677922"/>
                  <a:gd name="connsiteY193" fmla="*/ 1880994 h 2672762"/>
                  <a:gd name="connsiteX194" fmla="*/ 2538684 w 2677922"/>
                  <a:gd name="connsiteY194" fmla="*/ 1897505 h 2672762"/>
                  <a:gd name="connsiteX195" fmla="*/ 1338521 w 2677922"/>
                  <a:gd name="connsiteY195" fmla="*/ 2312867 h 2672762"/>
                  <a:gd name="connsiteX196" fmla="*/ 2316814 w 2677922"/>
                  <a:gd name="connsiteY196" fmla="*/ 1335605 h 2672762"/>
                  <a:gd name="connsiteX197" fmla="*/ 1340068 w 2677922"/>
                  <a:gd name="connsiteY197" fmla="*/ 359376 h 2672762"/>
                  <a:gd name="connsiteX198" fmla="*/ 361775 w 2677922"/>
                  <a:gd name="connsiteY198" fmla="*/ 1331994 h 2672762"/>
                  <a:gd name="connsiteX199" fmla="*/ 1338521 w 2677922"/>
                  <a:gd name="connsiteY199" fmla="*/ 2312867 h 2672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</a:cxnLst>
                <a:rect l="l" t="t" r="r" b="b"/>
                <a:pathLst>
                  <a:path w="2677922" h="2672762">
                    <a:moveTo>
                      <a:pt x="2538684" y="1897505"/>
                    </a:moveTo>
                    <a:cubicBezTo>
                      <a:pt x="2511337" y="1891313"/>
                      <a:pt x="2483990" y="1885121"/>
                      <a:pt x="2456643" y="1879446"/>
                    </a:cubicBezTo>
                    <a:cubicBezTo>
                      <a:pt x="2434456" y="1874286"/>
                      <a:pt x="2411753" y="1869642"/>
                      <a:pt x="2389566" y="1863966"/>
                    </a:cubicBezTo>
                    <a:cubicBezTo>
                      <a:pt x="2375119" y="1860354"/>
                      <a:pt x="2363767" y="1864482"/>
                      <a:pt x="2354479" y="1874802"/>
                    </a:cubicBezTo>
                    <a:cubicBezTo>
                      <a:pt x="2335389" y="1896989"/>
                      <a:pt x="2320425" y="1922272"/>
                      <a:pt x="2312170" y="1950651"/>
                    </a:cubicBezTo>
                    <a:cubicBezTo>
                      <a:pt x="2308042" y="1964066"/>
                      <a:pt x="2314234" y="1973869"/>
                      <a:pt x="2322489" y="1983157"/>
                    </a:cubicBezTo>
                    <a:cubicBezTo>
                      <a:pt x="2352416" y="2015664"/>
                      <a:pt x="2382858" y="2048170"/>
                      <a:pt x="2412785" y="2080161"/>
                    </a:cubicBezTo>
                    <a:cubicBezTo>
                      <a:pt x="2435488" y="2104412"/>
                      <a:pt x="2436520" y="2118859"/>
                      <a:pt x="2418461" y="2146722"/>
                    </a:cubicBezTo>
                    <a:cubicBezTo>
                      <a:pt x="2417429" y="2148270"/>
                      <a:pt x="2416397" y="2150334"/>
                      <a:pt x="2414849" y="2151882"/>
                    </a:cubicBezTo>
                    <a:cubicBezTo>
                      <a:pt x="2380795" y="2197804"/>
                      <a:pt x="2365831" y="2198320"/>
                      <a:pt x="2324037" y="2174585"/>
                    </a:cubicBezTo>
                    <a:cubicBezTo>
                      <a:pt x="2289982" y="2154978"/>
                      <a:pt x="2253864" y="2137434"/>
                      <a:pt x="2219294" y="2118859"/>
                    </a:cubicBezTo>
                    <a:cubicBezTo>
                      <a:pt x="2204846" y="2111120"/>
                      <a:pt x="2191431" y="2111120"/>
                      <a:pt x="2178531" y="2120407"/>
                    </a:cubicBezTo>
                    <a:cubicBezTo>
                      <a:pt x="2157892" y="2134855"/>
                      <a:pt x="2140349" y="2152398"/>
                      <a:pt x="2125386" y="2172521"/>
                    </a:cubicBezTo>
                    <a:cubicBezTo>
                      <a:pt x="2114550" y="2186968"/>
                      <a:pt x="2114034" y="2201416"/>
                      <a:pt x="2122806" y="2217411"/>
                    </a:cubicBezTo>
                    <a:cubicBezTo>
                      <a:pt x="2143961" y="2256109"/>
                      <a:pt x="2164600" y="2295323"/>
                      <a:pt x="2184723" y="2334538"/>
                    </a:cubicBezTo>
                    <a:cubicBezTo>
                      <a:pt x="2198655" y="2361885"/>
                      <a:pt x="2196591" y="2374268"/>
                      <a:pt x="2174404" y="2395423"/>
                    </a:cubicBezTo>
                    <a:cubicBezTo>
                      <a:pt x="2170792" y="2398519"/>
                      <a:pt x="2167696" y="2402131"/>
                      <a:pt x="2164084" y="2404711"/>
                    </a:cubicBezTo>
                    <a:cubicBezTo>
                      <a:pt x="2131062" y="2428962"/>
                      <a:pt x="2114034" y="2440829"/>
                      <a:pt x="2075336" y="2401615"/>
                    </a:cubicBezTo>
                    <a:cubicBezTo>
                      <a:pt x="2047473" y="2373236"/>
                      <a:pt x="2017547" y="2347953"/>
                      <a:pt x="1988652" y="2320606"/>
                    </a:cubicBezTo>
                    <a:cubicBezTo>
                      <a:pt x="1975236" y="2307707"/>
                      <a:pt x="1960789" y="2305127"/>
                      <a:pt x="1944277" y="2311835"/>
                    </a:cubicBezTo>
                    <a:cubicBezTo>
                      <a:pt x="1922607" y="2320606"/>
                      <a:pt x="1901968" y="2331958"/>
                      <a:pt x="1883392" y="2346405"/>
                    </a:cubicBezTo>
                    <a:cubicBezTo>
                      <a:pt x="1867913" y="2358273"/>
                      <a:pt x="1863785" y="2373236"/>
                      <a:pt x="1868429" y="2391811"/>
                    </a:cubicBezTo>
                    <a:cubicBezTo>
                      <a:pt x="1879264" y="2436701"/>
                      <a:pt x="1889584" y="2482107"/>
                      <a:pt x="1899388" y="2526997"/>
                    </a:cubicBezTo>
                    <a:cubicBezTo>
                      <a:pt x="1903516" y="2546604"/>
                      <a:pt x="1896808" y="2561568"/>
                      <a:pt x="1879264" y="2571887"/>
                    </a:cubicBezTo>
                    <a:cubicBezTo>
                      <a:pt x="1867397" y="2579111"/>
                      <a:pt x="1854498" y="2584787"/>
                      <a:pt x="1841082" y="2588915"/>
                    </a:cubicBezTo>
                    <a:cubicBezTo>
                      <a:pt x="1813736" y="2597686"/>
                      <a:pt x="1798256" y="2592526"/>
                      <a:pt x="1782777" y="2568276"/>
                    </a:cubicBezTo>
                    <a:cubicBezTo>
                      <a:pt x="1760074" y="2532157"/>
                      <a:pt x="1736855" y="2496555"/>
                      <a:pt x="1715184" y="2459404"/>
                    </a:cubicBezTo>
                    <a:cubicBezTo>
                      <a:pt x="1703316" y="2439281"/>
                      <a:pt x="1687837" y="2431542"/>
                      <a:pt x="1664618" y="2435669"/>
                    </a:cubicBezTo>
                    <a:cubicBezTo>
                      <a:pt x="1646043" y="2439281"/>
                      <a:pt x="1627984" y="2443925"/>
                      <a:pt x="1610440" y="2450117"/>
                    </a:cubicBezTo>
                    <a:cubicBezTo>
                      <a:pt x="1586190" y="2458888"/>
                      <a:pt x="1578450" y="2469208"/>
                      <a:pt x="1577418" y="2495007"/>
                    </a:cubicBezTo>
                    <a:cubicBezTo>
                      <a:pt x="1575870" y="2535769"/>
                      <a:pt x="1574838" y="2576015"/>
                      <a:pt x="1573806" y="2616777"/>
                    </a:cubicBezTo>
                    <a:cubicBezTo>
                      <a:pt x="1572774" y="2653928"/>
                      <a:pt x="1563487" y="2665795"/>
                      <a:pt x="1526852" y="2672503"/>
                    </a:cubicBezTo>
                    <a:cubicBezTo>
                      <a:pt x="1517049" y="2674567"/>
                      <a:pt x="1507245" y="2675599"/>
                      <a:pt x="1497441" y="2676115"/>
                    </a:cubicBezTo>
                    <a:cubicBezTo>
                      <a:pt x="1473191" y="2677663"/>
                      <a:pt x="1457711" y="2667859"/>
                      <a:pt x="1449972" y="2644124"/>
                    </a:cubicBezTo>
                    <a:cubicBezTo>
                      <a:pt x="1436040" y="2600782"/>
                      <a:pt x="1422624" y="2557956"/>
                      <a:pt x="1410241" y="2514614"/>
                    </a:cubicBezTo>
                    <a:cubicBezTo>
                      <a:pt x="1404565" y="2495007"/>
                      <a:pt x="1392698" y="2485719"/>
                      <a:pt x="1373091" y="2482623"/>
                    </a:cubicBezTo>
                    <a:cubicBezTo>
                      <a:pt x="1350388" y="2479527"/>
                      <a:pt x="1327685" y="2479527"/>
                      <a:pt x="1304982" y="2483139"/>
                    </a:cubicBezTo>
                    <a:cubicBezTo>
                      <a:pt x="1287955" y="2485719"/>
                      <a:pt x="1277119" y="2494491"/>
                      <a:pt x="1271959" y="2511518"/>
                    </a:cubicBezTo>
                    <a:cubicBezTo>
                      <a:pt x="1260092" y="2552280"/>
                      <a:pt x="1247192" y="2593042"/>
                      <a:pt x="1234293" y="2633805"/>
                    </a:cubicBezTo>
                    <a:cubicBezTo>
                      <a:pt x="1222941" y="2670439"/>
                      <a:pt x="1208494" y="2679727"/>
                      <a:pt x="1170828" y="2674567"/>
                    </a:cubicBezTo>
                    <a:cubicBezTo>
                      <a:pt x="1114070" y="2666827"/>
                      <a:pt x="1107362" y="2659087"/>
                      <a:pt x="1106847" y="2602330"/>
                    </a:cubicBezTo>
                    <a:cubicBezTo>
                      <a:pt x="1106331" y="2565180"/>
                      <a:pt x="1104783" y="2528545"/>
                      <a:pt x="1103751" y="2491395"/>
                    </a:cubicBezTo>
                    <a:cubicBezTo>
                      <a:pt x="1103234" y="2474368"/>
                      <a:pt x="1096527" y="2460952"/>
                      <a:pt x="1080532" y="2454244"/>
                    </a:cubicBezTo>
                    <a:cubicBezTo>
                      <a:pt x="1056281" y="2443925"/>
                      <a:pt x="1031514" y="2436701"/>
                      <a:pt x="1005199" y="2435153"/>
                    </a:cubicBezTo>
                    <a:cubicBezTo>
                      <a:pt x="989203" y="2434121"/>
                      <a:pt x="977852" y="2440313"/>
                      <a:pt x="969080" y="2454244"/>
                    </a:cubicBezTo>
                    <a:cubicBezTo>
                      <a:pt x="946894" y="2491395"/>
                      <a:pt x="923159" y="2527513"/>
                      <a:pt x="900456" y="2564148"/>
                    </a:cubicBezTo>
                    <a:cubicBezTo>
                      <a:pt x="882396" y="2593042"/>
                      <a:pt x="868465" y="2598202"/>
                      <a:pt x="836474" y="2587367"/>
                    </a:cubicBezTo>
                    <a:cubicBezTo>
                      <a:pt x="834926" y="2586851"/>
                      <a:pt x="833379" y="2586335"/>
                      <a:pt x="831830" y="2585819"/>
                    </a:cubicBezTo>
                    <a:cubicBezTo>
                      <a:pt x="782297" y="2565696"/>
                      <a:pt x="772493" y="2554344"/>
                      <a:pt x="785392" y="2504810"/>
                    </a:cubicBezTo>
                    <a:cubicBezTo>
                      <a:pt x="795196" y="2467144"/>
                      <a:pt x="802420" y="2428962"/>
                      <a:pt x="811707" y="2390779"/>
                    </a:cubicBezTo>
                    <a:cubicBezTo>
                      <a:pt x="816351" y="2371172"/>
                      <a:pt x="811191" y="2356209"/>
                      <a:pt x="794680" y="2344341"/>
                    </a:cubicBezTo>
                    <a:cubicBezTo>
                      <a:pt x="777137" y="2331958"/>
                      <a:pt x="759078" y="2321122"/>
                      <a:pt x="739470" y="2312351"/>
                    </a:cubicBezTo>
                    <a:cubicBezTo>
                      <a:pt x="720895" y="2304095"/>
                      <a:pt x="704900" y="2307191"/>
                      <a:pt x="689421" y="2321638"/>
                    </a:cubicBezTo>
                    <a:cubicBezTo>
                      <a:pt x="658462" y="2351049"/>
                      <a:pt x="626988" y="2379944"/>
                      <a:pt x="596029" y="2408838"/>
                    </a:cubicBezTo>
                    <a:cubicBezTo>
                      <a:pt x="572810" y="2431026"/>
                      <a:pt x="557847" y="2432057"/>
                      <a:pt x="530500" y="2415030"/>
                    </a:cubicBezTo>
                    <a:cubicBezTo>
                      <a:pt x="527404" y="2412966"/>
                      <a:pt x="524308" y="2410902"/>
                      <a:pt x="521212" y="2408838"/>
                    </a:cubicBezTo>
                    <a:cubicBezTo>
                      <a:pt x="481482" y="2380460"/>
                      <a:pt x="477870" y="2365496"/>
                      <a:pt x="500573" y="2322670"/>
                    </a:cubicBezTo>
                    <a:cubicBezTo>
                      <a:pt x="519148" y="2287584"/>
                      <a:pt x="537207" y="2252497"/>
                      <a:pt x="556298" y="2217927"/>
                    </a:cubicBezTo>
                    <a:cubicBezTo>
                      <a:pt x="566102" y="2199868"/>
                      <a:pt x="564555" y="2184388"/>
                      <a:pt x="552171" y="2168909"/>
                    </a:cubicBezTo>
                    <a:cubicBezTo>
                      <a:pt x="538756" y="2151882"/>
                      <a:pt x="523276" y="2136402"/>
                      <a:pt x="505733" y="2122987"/>
                    </a:cubicBezTo>
                    <a:cubicBezTo>
                      <a:pt x="490254" y="2111120"/>
                      <a:pt x="474774" y="2110088"/>
                      <a:pt x="457747" y="2119375"/>
                    </a:cubicBezTo>
                    <a:cubicBezTo>
                      <a:pt x="419564" y="2140014"/>
                      <a:pt x="380866" y="2160653"/>
                      <a:pt x="341652" y="2180777"/>
                    </a:cubicBezTo>
                    <a:cubicBezTo>
                      <a:pt x="314305" y="2195224"/>
                      <a:pt x="298310" y="2191612"/>
                      <a:pt x="278187" y="2168909"/>
                    </a:cubicBezTo>
                    <a:cubicBezTo>
                      <a:pt x="276639" y="2167361"/>
                      <a:pt x="275607" y="2165813"/>
                      <a:pt x="274059" y="2164265"/>
                    </a:cubicBezTo>
                    <a:cubicBezTo>
                      <a:pt x="238456" y="2122987"/>
                      <a:pt x="238972" y="2108540"/>
                      <a:pt x="276639" y="2069325"/>
                    </a:cubicBezTo>
                    <a:cubicBezTo>
                      <a:pt x="302954" y="2041463"/>
                      <a:pt x="327721" y="2013084"/>
                      <a:pt x="354551" y="1986253"/>
                    </a:cubicBezTo>
                    <a:cubicBezTo>
                      <a:pt x="367967" y="1972322"/>
                      <a:pt x="370547" y="1957874"/>
                      <a:pt x="363839" y="1940847"/>
                    </a:cubicBezTo>
                    <a:cubicBezTo>
                      <a:pt x="355067" y="1918660"/>
                      <a:pt x="342684" y="1898021"/>
                      <a:pt x="328237" y="1878930"/>
                    </a:cubicBezTo>
                    <a:cubicBezTo>
                      <a:pt x="316369" y="1863450"/>
                      <a:pt x="300374" y="1861902"/>
                      <a:pt x="283347" y="1866030"/>
                    </a:cubicBezTo>
                    <a:cubicBezTo>
                      <a:pt x="245680" y="1874802"/>
                      <a:pt x="208530" y="1883573"/>
                      <a:pt x="170864" y="1891829"/>
                    </a:cubicBezTo>
                    <a:cubicBezTo>
                      <a:pt x="165704" y="1892861"/>
                      <a:pt x="160544" y="1894409"/>
                      <a:pt x="155900" y="1895441"/>
                    </a:cubicBezTo>
                    <a:cubicBezTo>
                      <a:pt x="127521" y="1900601"/>
                      <a:pt x="113074" y="1893893"/>
                      <a:pt x="100175" y="1868094"/>
                    </a:cubicBezTo>
                    <a:cubicBezTo>
                      <a:pt x="95531" y="1858291"/>
                      <a:pt x="90887" y="1848487"/>
                      <a:pt x="87275" y="1838168"/>
                    </a:cubicBezTo>
                    <a:cubicBezTo>
                      <a:pt x="77988" y="1810821"/>
                      <a:pt x="83147" y="1795341"/>
                      <a:pt x="107915" y="1779862"/>
                    </a:cubicBezTo>
                    <a:cubicBezTo>
                      <a:pt x="143001" y="1757675"/>
                      <a:pt x="178603" y="1735488"/>
                      <a:pt x="213690" y="1713817"/>
                    </a:cubicBezTo>
                    <a:cubicBezTo>
                      <a:pt x="241552" y="1696274"/>
                      <a:pt x="245680" y="1686470"/>
                      <a:pt x="238972" y="1654480"/>
                    </a:cubicBezTo>
                    <a:cubicBezTo>
                      <a:pt x="234845" y="1636420"/>
                      <a:pt x="230201" y="1617845"/>
                      <a:pt x="222977" y="1600818"/>
                    </a:cubicBezTo>
                    <a:cubicBezTo>
                      <a:pt x="215753" y="1583791"/>
                      <a:pt x="203370" y="1575535"/>
                      <a:pt x="184279" y="1575019"/>
                    </a:cubicBezTo>
                    <a:cubicBezTo>
                      <a:pt x="142485" y="1574503"/>
                      <a:pt x="101207" y="1572955"/>
                      <a:pt x="59413" y="1571407"/>
                    </a:cubicBezTo>
                    <a:cubicBezTo>
                      <a:pt x="21746" y="1570375"/>
                      <a:pt x="10395" y="1560572"/>
                      <a:pt x="3687" y="1524453"/>
                    </a:cubicBezTo>
                    <a:cubicBezTo>
                      <a:pt x="3171" y="1520841"/>
                      <a:pt x="2139" y="1517230"/>
                      <a:pt x="1623" y="1513618"/>
                    </a:cubicBezTo>
                    <a:cubicBezTo>
                      <a:pt x="-4053" y="1467696"/>
                      <a:pt x="3687" y="1455828"/>
                      <a:pt x="48577" y="1442413"/>
                    </a:cubicBezTo>
                    <a:cubicBezTo>
                      <a:pt x="85727" y="1431061"/>
                      <a:pt x="122877" y="1418678"/>
                      <a:pt x="160544" y="1408358"/>
                    </a:cubicBezTo>
                    <a:cubicBezTo>
                      <a:pt x="181183" y="1402683"/>
                      <a:pt x="192018" y="1390815"/>
                      <a:pt x="194083" y="1370692"/>
                    </a:cubicBezTo>
                    <a:cubicBezTo>
                      <a:pt x="196147" y="1346957"/>
                      <a:pt x="197178" y="1322706"/>
                      <a:pt x="192534" y="1298971"/>
                    </a:cubicBezTo>
                    <a:cubicBezTo>
                      <a:pt x="189954" y="1283492"/>
                      <a:pt x="181183" y="1274204"/>
                      <a:pt x="166220" y="1269560"/>
                    </a:cubicBezTo>
                    <a:cubicBezTo>
                      <a:pt x="126490" y="1257693"/>
                      <a:pt x="86759" y="1245310"/>
                      <a:pt x="47029" y="1232926"/>
                    </a:cubicBezTo>
                    <a:cubicBezTo>
                      <a:pt x="3687" y="1219511"/>
                      <a:pt x="-957" y="1212287"/>
                      <a:pt x="1623" y="1166881"/>
                    </a:cubicBezTo>
                    <a:cubicBezTo>
                      <a:pt x="2139" y="1157593"/>
                      <a:pt x="4203" y="1148306"/>
                      <a:pt x="6267" y="1139534"/>
                    </a:cubicBezTo>
                    <a:cubicBezTo>
                      <a:pt x="12459" y="1116831"/>
                      <a:pt x="25358" y="1106512"/>
                      <a:pt x="49093" y="1105480"/>
                    </a:cubicBezTo>
                    <a:cubicBezTo>
                      <a:pt x="87791" y="1103932"/>
                      <a:pt x="125974" y="1102900"/>
                      <a:pt x="164672" y="1101868"/>
                    </a:cubicBezTo>
                    <a:cubicBezTo>
                      <a:pt x="170348" y="1101868"/>
                      <a:pt x="176023" y="1101352"/>
                      <a:pt x="181699" y="1101352"/>
                    </a:cubicBezTo>
                    <a:cubicBezTo>
                      <a:pt x="207498" y="1102384"/>
                      <a:pt x="220913" y="1087936"/>
                      <a:pt x="227621" y="1065233"/>
                    </a:cubicBezTo>
                    <a:cubicBezTo>
                      <a:pt x="232781" y="1048206"/>
                      <a:pt x="237425" y="1031179"/>
                      <a:pt x="241036" y="1014152"/>
                    </a:cubicBezTo>
                    <a:cubicBezTo>
                      <a:pt x="245680" y="990417"/>
                      <a:pt x="240005" y="979065"/>
                      <a:pt x="219366" y="965650"/>
                    </a:cubicBezTo>
                    <a:cubicBezTo>
                      <a:pt x="184279" y="943463"/>
                      <a:pt x="148676" y="921276"/>
                      <a:pt x="113590" y="899605"/>
                    </a:cubicBezTo>
                    <a:cubicBezTo>
                      <a:pt x="82116" y="879997"/>
                      <a:pt x="77472" y="867614"/>
                      <a:pt x="89855" y="832012"/>
                    </a:cubicBezTo>
                    <a:cubicBezTo>
                      <a:pt x="93467" y="820660"/>
                      <a:pt x="98111" y="809309"/>
                      <a:pt x="104818" y="799505"/>
                    </a:cubicBezTo>
                    <a:cubicBezTo>
                      <a:pt x="115654" y="782994"/>
                      <a:pt x="130617" y="774738"/>
                      <a:pt x="151256" y="779898"/>
                    </a:cubicBezTo>
                    <a:cubicBezTo>
                      <a:pt x="195114" y="790217"/>
                      <a:pt x="239489" y="799505"/>
                      <a:pt x="283347" y="810341"/>
                    </a:cubicBezTo>
                    <a:cubicBezTo>
                      <a:pt x="303469" y="815500"/>
                      <a:pt x="318949" y="810857"/>
                      <a:pt x="331332" y="794345"/>
                    </a:cubicBezTo>
                    <a:cubicBezTo>
                      <a:pt x="344232" y="776802"/>
                      <a:pt x="355584" y="757711"/>
                      <a:pt x="363839" y="737588"/>
                    </a:cubicBezTo>
                    <a:cubicBezTo>
                      <a:pt x="371063" y="719529"/>
                      <a:pt x="368999" y="704049"/>
                      <a:pt x="354551" y="689086"/>
                    </a:cubicBezTo>
                    <a:cubicBezTo>
                      <a:pt x="324625" y="658643"/>
                      <a:pt x="296246" y="627169"/>
                      <a:pt x="266835" y="595694"/>
                    </a:cubicBezTo>
                    <a:cubicBezTo>
                      <a:pt x="244132" y="570927"/>
                      <a:pt x="243100" y="556996"/>
                      <a:pt x="261675" y="529133"/>
                    </a:cubicBezTo>
                    <a:cubicBezTo>
                      <a:pt x="264771" y="525005"/>
                      <a:pt x="267351" y="520361"/>
                      <a:pt x="270447" y="516233"/>
                    </a:cubicBezTo>
                    <a:cubicBezTo>
                      <a:pt x="296762" y="481663"/>
                      <a:pt x="311209" y="478567"/>
                      <a:pt x="349907" y="498690"/>
                    </a:cubicBezTo>
                    <a:cubicBezTo>
                      <a:pt x="386026" y="517781"/>
                      <a:pt x="422144" y="536357"/>
                      <a:pt x="457231" y="555964"/>
                    </a:cubicBezTo>
                    <a:cubicBezTo>
                      <a:pt x="475806" y="566283"/>
                      <a:pt x="492318" y="564219"/>
                      <a:pt x="507797" y="551320"/>
                    </a:cubicBezTo>
                    <a:cubicBezTo>
                      <a:pt x="523276" y="538421"/>
                      <a:pt x="537723" y="523973"/>
                      <a:pt x="551139" y="508494"/>
                    </a:cubicBezTo>
                    <a:cubicBezTo>
                      <a:pt x="564555" y="492499"/>
                      <a:pt x="567650" y="476503"/>
                      <a:pt x="556815" y="456896"/>
                    </a:cubicBezTo>
                    <a:cubicBezTo>
                      <a:pt x="535143" y="418198"/>
                      <a:pt x="515020" y="378983"/>
                      <a:pt x="494381" y="339769"/>
                    </a:cubicBezTo>
                    <a:cubicBezTo>
                      <a:pt x="480966" y="313970"/>
                      <a:pt x="484062" y="300039"/>
                      <a:pt x="505217" y="280432"/>
                    </a:cubicBezTo>
                    <a:cubicBezTo>
                      <a:pt x="515020" y="271144"/>
                      <a:pt x="525856" y="263405"/>
                      <a:pt x="537723" y="256181"/>
                    </a:cubicBezTo>
                    <a:cubicBezTo>
                      <a:pt x="558362" y="244313"/>
                      <a:pt x="572810" y="245861"/>
                      <a:pt x="590353" y="261857"/>
                    </a:cubicBezTo>
                    <a:cubicBezTo>
                      <a:pt x="620280" y="289203"/>
                      <a:pt x="650207" y="317066"/>
                      <a:pt x="679617" y="344929"/>
                    </a:cubicBezTo>
                    <a:cubicBezTo>
                      <a:pt x="710576" y="374340"/>
                      <a:pt x="717284" y="375372"/>
                      <a:pt x="754950" y="355765"/>
                    </a:cubicBezTo>
                    <a:cubicBezTo>
                      <a:pt x="769913" y="348025"/>
                      <a:pt x="783845" y="339769"/>
                      <a:pt x="797260" y="329450"/>
                    </a:cubicBezTo>
                    <a:cubicBezTo>
                      <a:pt x="811707" y="317582"/>
                      <a:pt x="816351" y="303651"/>
                      <a:pt x="811707" y="285076"/>
                    </a:cubicBezTo>
                    <a:cubicBezTo>
                      <a:pt x="800872" y="242249"/>
                      <a:pt x="791585" y="198907"/>
                      <a:pt x="781781" y="156081"/>
                    </a:cubicBezTo>
                    <a:cubicBezTo>
                      <a:pt x="775589" y="128218"/>
                      <a:pt x="782297" y="114287"/>
                      <a:pt x="807064" y="100872"/>
                    </a:cubicBezTo>
                    <a:cubicBezTo>
                      <a:pt x="818415" y="95196"/>
                      <a:pt x="829766" y="90552"/>
                      <a:pt x="841634" y="86424"/>
                    </a:cubicBezTo>
                    <a:cubicBezTo>
                      <a:pt x="866917" y="78685"/>
                      <a:pt x="881364" y="83328"/>
                      <a:pt x="896328" y="106031"/>
                    </a:cubicBezTo>
                    <a:cubicBezTo>
                      <a:pt x="920062" y="142666"/>
                      <a:pt x="943798" y="179300"/>
                      <a:pt x="965469" y="217483"/>
                    </a:cubicBezTo>
                    <a:cubicBezTo>
                      <a:pt x="976820" y="237090"/>
                      <a:pt x="992299" y="243797"/>
                      <a:pt x="1013455" y="240702"/>
                    </a:cubicBezTo>
                    <a:cubicBezTo>
                      <a:pt x="1035641" y="237090"/>
                      <a:pt x="1057313" y="231414"/>
                      <a:pt x="1077952" y="222642"/>
                    </a:cubicBezTo>
                    <a:cubicBezTo>
                      <a:pt x="1092915" y="215935"/>
                      <a:pt x="1101171" y="205615"/>
                      <a:pt x="1101687" y="188072"/>
                    </a:cubicBezTo>
                    <a:cubicBezTo>
                      <a:pt x="1102719" y="143182"/>
                      <a:pt x="1105298" y="98808"/>
                      <a:pt x="1106847" y="53918"/>
                    </a:cubicBezTo>
                    <a:cubicBezTo>
                      <a:pt x="1107878" y="25023"/>
                      <a:pt x="1117166" y="12640"/>
                      <a:pt x="1145029" y="4900"/>
                    </a:cubicBezTo>
                    <a:cubicBezTo>
                      <a:pt x="1149672" y="3868"/>
                      <a:pt x="1154316" y="2320"/>
                      <a:pt x="1158960" y="1804"/>
                    </a:cubicBezTo>
                    <a:cubicBezTo>
                      <a:pt x="1210042" y="-3872"/>
                      <a:pt x="1222426" y="1804"/>
                      <a:pt x="1235841" y="48758"/>
                    </a:cubicBezTo>
                    <a:cubicBezTo>
                      <a:pt x="1246676" y="86940"/>
                      <a:pt x="1259576" y="124091"/>
                      <a:pt x="1269895" y="162273"/>
                    </a:cubicBezTo>
                    <a:cubicBezTo>
                      <a:pt x="1275055" y="180332"/>
                      <a:pt x="1285890" y="190136"/>
                      <a:pt x="1303434" y="192716"/>
                    </a:cubicBezTo>
                    <a:cubicBezTo>
                      <a:pt x="1327685" y="195812"/>
                      <a:pt x="1352452" y="195812"/>
                      <a:pt x="1376702" y="192716"/>
                    </a:cubicBezTo>
                    <a:cubicBezTo>
                      <a:pt x="1393730" y="190652"/>
                      <a:pt x="1404049" y="180332"/>
                      <a:pt x="1409209" y="163305"/>
                    </a:cubicBezTo>
                    <a:cubicBezTo>
                      <a:pt x="1421593" y="121511"/>
                      <a:pt x="1434492" y="79717"/>
                      <a:pt x="1447392" y="37922"/>
                    </a:cubicBezTo>
                    <a:cubicBezTo>
                      <a:pt x="1457195" y="6964"/>
                      <a:pt x="1466998" y="-260"/>
                      <a:pt x="1499505" y="256"/>
                    </a:cubicBezTo>
                    <a:cubicBezTo>
                      <a:pt x="1504149" y="256"/>
                      <a:pt x="1508793" y="256"/>
                      <a:pt x="1513436" y="772"/>
                    </a:cubicBezTo>
                    <a:cubicBezTo>
                      <a:pt x="1559358" y="5416"/>
                      <a:pt x="1572258" y="19347"/>
                      <a:pt x="1573290" y="65269"/>
                    </a:cubicBezTo>
                    <a:cubicBezTo>
                      <a:pt x="1574322" y="105515"/>
                      <a:pt x="1575870" y="145246"/>
                      <a:pt x="1576902" y="185492"/>
                    </a:cubicBezTo>
                    <a:cubicBezTo>
                      <a:pt x="1577418" y="201487"/>
                      <a:pt x="1583093" y="213871"/>
                      <a:pt x="1598057" y="220578"/>
                    </a:cubicBezTo>
                    <a:cubicBezTo>
                      <a:pt x="1622308" y="231414"/>
                      <a:pt x="1647590" y="238638"/>
                      <a:pt x="1674422" y="240702"/>
                    </a:cubicBezTo>
                    <a:cubicBezTo>
                      <a:pt x="1690933" y="241733"/>
                      <a:pt x="1702285" y="235026"/>
                      <a:pt x="1710540" y="221610"/>
                    </a:cubicBezTo>
                    <a:cubicBezTo>
                      <a:pt x="1733243" y="184976"/>
                      <a:pt x="1756462" y="148342"/>
                      <a:pt x="1779165" y="111707"/>
                    </a:cubicBezTo>
                    <a:cubicBezTo>
                      <a:pt x="1798772" y="80749"/>
                      <a:pt x="1810640" y="76621"/>
                      <a:pt x="1845726" y="88488"/>
                    </a:cubicBezTo>
                    <a:cubicBezTo>
                      <a:pt x="1849854" y="90036"/>
                      <a:pt x="1853466" y="91068"/>
                      <a:pt x="1857594" y="92616"/>
                    </a:cubicBezTo>
                    <a:cubicBezTo>
                      <a:pt x="1898356" y="110159"/>
                      <a:pt x="1905063" y="123059"/>
                      <a:pt x="1895260" y="166401"/>
                    </a:cubicBezTo>
                    <a:cubicBezTo>
                      <a:pt x="1886488" y="205099"/>
                      <a:pt x="1877717" y="243281"/>
                      <a:pt x="1868429" y="281980"/>
                    </a:cubicBezTo>
                    <a:cubicBezTo>
                      <a:pt x="1863269" y="303135"/>
                      <a:pt x="1868429" y="319646"/>
                      <a:pt x="1887004" y="332030"/>
                    </a:cubicBezTo>
                    <a:cubicBezTo>
                      <a:pt x="1906096" y="344929"/>
                      <a:pt x="1925187" y="356796"/>
                      <a:pt x="1946857" y="365052"/>
                    </a:cubicBezTo>
                    <a:cubicBezTo>
                      <a:pt x="1962337" y="370728"/>
                      <a:pt x="1974720" y="367116"/>
                      <a:pt x="1986588" y="355765"/>
                    </a:cubicBezTo>
                    <a:cubicBezTo>
                      <a:pt x="2018062" y="325838"/>
                      <a:pt x="2049537" y="296943"/>
                      <a:pt x="2081528" y="267532"/>
                    </a:cubicBezTo>
                    <a:cubicBezTo>
                      <a:pt x="2107843" y="242765"/>
                      <a:pt x="2122290" y="241733"/>
                      <a:pt x="2151701" y="261857"/>
                    </a:cubicBezTo>
                    <a:cubicBezTo>
                      <a:pt x="2153248" y="262889"/>
                      <a:pt x="2154281" y="263405"/>
                      <a:pt x="2155312" y="264437"/>
                    </a:cubicBezTo>
                    <a:cubicBezTo>
                      <a:pt x="2205363" y="300555"/>
                      <a:pt x="2198139" y="316034"/>
                      <a:pt x="2177500" y="353701"/>
                    </a:cubicBezTo>
                    <a:cubicBezTo>
                      <a:pt x="2158925" y="387755"/>
                      <a:pt x="2141381" y="422842"/>
                      <a:pt x="2122290" y="456896"/>
                    </a:cubicBezTo>
                    <a:cubicBezTo>
                      <a:pt x="2112487" y="474955"/>
                      <a:pt x="2114550" y="490435"/>
                      <a:pt x="2126934" y="505914"/>
                    </a:cubicBezTo>
                    <a:cubicBezTo>
                      <a:pt x="2140865" y="522941"/>
                      <a:pt x="2156345" y="538421"/>
                      <a:pt x="2173372" y="551836"/>
                    </a:cubicBezTo>
                    <a:cubicBezTo>
                      <a:pt x="2187819" y="563187"/>
                      <a:pt x="2202783" y="564735"/>
                      <a:pt x="2219810" y="555964"/>
                    </a:cubicBezTo>
                    <a:cubicBezTo>
                      <a:pt x="2258508" y="534809"/>
                      <a:pt x="2297722" y="514170"/>
                      <a:pt x="2336937" y="494046"/>
                    </a:cubicBezTo>
                    <a:cubicBezTo>
                      <a:pt x="2364799" y="479599"/>
                      <a:pt x="2380795" y="482695"/>
                      <a:pt x="2400917" y="507462"/>
                    </a:cubicBezTo>
                    <a:cubicBezTo>
                      <a:pt x="2408141" y="515717"/>
                      <a:pt x="2414849" y="524489"/>
                      <a:pt x="2420525" y="533777"/>
                    </a:cubicBezTo>
                    <a:cubicBezTo>
                      <a:pt x="2434972" y="556480"/>
                      <a:pt x="2433424" y="571443"/>
                      <a:pt x="2415365" y="591566"/>
                    </a:cubicBezTo>
                    <a:cubicBezTo>
                      <a:pt x="2384406" y="625105"/>
                      <a:pt x="2353448" y="659159"/>
                      <a:pt x="2321973" y="692182"/>
                    </a:cubicBezTo>
                    <a:cubicBezTo>
                      <a:pt x="2310106" y="704565"/>
                      <a:pt x="2307526" y="717981"/>
                      <a:pt x="2313718" y="733460"/>
                    </a:cubicBezTo>
                    <a:cubicBezTo>
                      <a:pt x="2323005" y="755647"/>
                      <a:pt x="2334357" y="776286"/>
                      <a:pt x="2349320" y="795377"/>
                    </a:cubicBezTo>
                    <a:cubicBezTo>
                      <a:pt x="2361187" y="810857"/>
                      <a:pt x="2375635" y="814984"/>
                      <a:pt x="2394726" y="810341"/>
                    </a:cubicBezTo>
                    <a:cubicBezTo>
                      <a:pt x="2438584" y="799505"/>
                      <a:pt x="2482958" y="789701"/>
                      <a:pt x="2526816" y="780414"/>
                    </a:cubicBezTo>
                    <a:cubicBezTo>
                      <a:pt x="2550035" y="775254"/>
                      <a:pt x="2563967" y="781962"/>
                      <a:pt x="2575834" y="803117"/>
                    </a:cubicBezTo>
                    <a:cubicBezTo>
                      <a:pt x="2582026" y="814468"/>
                      <a:pt x="2587186" y="826336"/>
                      <a:pt x="2591313" y="838719"/>
                    </a:cubicBezTo>
                    <a:cubicBezTo>
                      <a:pt x="2600085" y="867098"/>
                      <a:pt x="2595441" y="880514"/>
                      <a:pt x="2570158" y="896509"/>
                    </a:cubicBezTo>
                    <a:cubicBezTo>
                      <a:pt x="2534040" y="919212"/>
                      <a:pt x="2498437" y="942947"/>
                      <a:pt x="2461287" y="964102"/>
                    </a:cubicBezTo>
                    <a:cubicBezTo>
                      <a:pt x="2440132" y="976485"/>
                      <a:pt x="2434456" y="992997"/>
                      <a:pt x="2438068" y="1014668"/>
                    </a:cubicBezTo>
                    <a:cubicBezTo>
                      <a:pt x="2441164" y="1034791"/>
                      <a:pt x="2446840" y="1054398"/>
                      <a:pt x="2454063" y="1073489"/>
                    </a:cubicBezTo>
                    <a:cubicBezTo>
                      <a:pt x="2460771" y="1091032"/>
                      <a:pt x="2472638" y="1100320"/>
                      <a:pt x="2492762" y="1100836"/>
                    </a:cubicBezTo>
                    <a:cubicBezTo>
                      <a:pt x="2538168" y="1101352"/>
                      <a:pt x="2583058" y="1104448"/>
                      <a:pt x="2628464" y="1105996"/>
                    </a:cubicBezTo>
                    <a:cubicBezTo>
                      <a:pt x="2653230" y="1107028"/>
                      <a:pt x="2665614" y="1116831"/>
                      <a:pt x="2672322" y="1140566"/>
                    </a:cubicBezTo>
                    <a:cubicBezTo>
                      <a:pt x="2676449" y="1153982"/>
                      <a:pt x="2677998" y="1167913"/>
                      <a:pt x="2677998" y="1182360"/>
                    </a:cubicBezTo>
                    <a:cubicBezTo>
                      <a:pt x="2677998" y="1210223"/>
                      <a:pt x="2670258" y="1221575"/>
                      <a:pt x="2644459" y="1229830"/>
                    </a:cubicBezTo>
                    <a:cubicBezTo>
                      <a:pt x="2603697" y="1242730"/>
                      <a:pt x="2562934" y="1255113"/>
                      <a:pt x="2522172" y="1267497"/>
                    </a:cubicBezTo>
                    <a:cubicBezTo>
                      <a:pt x="2492762" y="1276268"/>
                      <a:pt x="2485022" y="1285556"/>
                      <a:pt x="2483990" y="1315998"/>
                    </a:cubicBezTo>
                    <a:cubicBezTo>
                      <a:pt x="2483474" y="1337153"/>
                      <a:pt x="2481926" y="1358824"/>
                      <a:pt x="2486570" y="1379980"/>
                    </a:cubicBezTo>
                    <a:cubicBezTo>
                      <a:pt x="2489666" y="1394427"/>
                      <a:pt x="2498437" y="1403199"/>
                      <a:pt x="2512885" y="1407842"/>
                    </a:cubicBezTo>
                    <a:cubicBezTo>
                      <a:pt x="2555711" y="1420742"/>
                      <a:pt x="2598537" y="1433641"/>
                      <a:pt x="2641363" y="1447057"/>
                    </a:cubicBezTo>
                    <a:cubicBezTo>
                      <a:pt x="2671290" y="1456344"/>
                      <a:pt x="2678514" y="1466664"/>
                      <a:pt x="2677998" y="1498138"/>
                    </a:cubicBezTo>
                    <a:cubicBezTo>
                      <a:pt x="2677998" y="1501234"/>
                      <a:pt x="2677998" y="1504330"/>
                      <a:pt x="2677998" y="1507426"/>
                    </a:cubicBezTo>
                    <a:cubicBezTo>
                      <a:pt x="2675934" y="1555928"/>
                      <a:pt x="2660454" y="1571407"/>
                      <a:pt x="2611952" y="1572955"/>
                    </a:cubicBezTo>
                    <a:cubicBezTo>
                      <a:pt x="2571190" y="1573987"/>
                      <a:pt x="2530944" y="1576051"/>
                      <a:pt x="2490182" y="1576567"/>
                    </a:cubicBezTo>
                    <a:cubicBezTo>
                      <a:pt x="2474702" y="1577083"/>
                      <a:pt x="2463867" y="1583791"/>
                      <a:pt x="2457675" y="1596690"/>
                    </a:cubicBezTo>
                    <a:cubicBezTo>
                      <a:pt x="2446324" y="1620941"/>
                      <a:pt x="2439100" y="1646224"/>
                      <a:pt x="2437036" y="1673055"/>
                    </a:cubicBezTo>
                    <a:cubicBezTo>
                      <a:pt x="2435488" y="1690082"/>
                      <a:pt x="2442712" y="1701434"/>
                      <a:pt x="2457159" y="1710205"/>
                    </a:cubicBezTo>
                    <a:cubicBezTo>
                      <a:pt x="2493278" y="1732392"/>
                      <a:pt x="2528880" y="1754579"/>
                      <a:pt x="2564483" y="1777282"/>
                    </a:cubicBezTo>
                    <a:cubicBezTo>
                      <a:pt x="2596989" y="1797405"/>
                      <a:pt x="2601117" y="1809789"/>
                      <a:pt x="2588733" y="1845907"/>
                    </a:cubicBezTo>
                    <a:cubicBezTo>
                      <a:pt x="2584606" y="1858291"/>
                      <a:pt x="2578930" y="1870158"/>
                      <a:pt x="2571706" y="1880994"/>
                    </a:cubicBezTo>
                    <a:cubicBezTo>
                      <a:pt x="2564998" y="1890797"/>
                      <a:pt x="2554163" y="1897505"/>
                      <a:pt x="2538684" y="1897505"/>
                    </a:cubicBezTo>
                    <a:close/>
                    <a:moveTo>
                      <a:pt x="1338521" y="2312867"/>
                    </a:moveTo>
                    <a:cubicBezTo>
                      <a:pt x="1869461" y="2314931"/>
                      <a:pt x="2317329" y="1887701"/>
                      <a:pt x="2316814" y="1335605"/>
                    </a:cubicBezTo>
                    <a:cubicBezTo>
                      <a:pt x="2316298" y="792797"/>
                      <a:pt x="1880813" y="359892"/>
                      <a:pt x="1340068" y="359376"/>
                    </a:cubicBezTo>
                    <a:cubicBezTo>
                      <a:pt x="796228" y="358860"/>
                      <a:pt x="363839" y="794861"/>
                      <a:pt x="361775" y="1331994"/>
                    </a:cubicBezTo>
                    <a:cubicBezTo>
                      <a:pt x="359711" y="1882026"/>
                      <a:pt x="806032" y="2314415"/>
                      <a:pt x="1338521" y="2312867"/>
                    </a:cubicBezTo>
                    <a:close/>
                  </a:path>
                </a:pathLst>
              </a:custGeom>
              <a:grpFill/>
              <a:ln w="51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95779E09-5F7A-4743-A1ED-396B9867C6F6}"/>
                  </a:ext>
                </a:extLst>
              </p:cNvPr>
              <p:cNvSpPr/>
              <p:nvPr/>
            </p:nvSpPr>
            <p:spPr>
              <a:xfrm>
                <a:off x="7558586" y="2011427"/>
                <a:ext cx="1898797" cy="1893637"/>
              </a:xfrm>
              <a:custGeom>
                <a:avLst/>
                <a:gdLst>
                  <a:gd name="connsiteX0" fmla="*/ 30 w 1898796"/>
                  <a:gd name="connsiteY0" fmla="*/ 947852 h 1893636"/>
                  <a:gd name="connsiteX1" fmla="*/ 950461 w 1898796"/>
                  <a:gd name="connsiteY1" fmla="*/ 2 h 1893636"/>
                  <a:gd name="connsiteX2" fmla="*/ 1898827 w 1898796"/>
                  <a:gd name="connsiteY2" fmla="*/ 950948 h 1893636"/>
                  <a:gd name="connsiteX3" fmla="*/ 946849 w 1898796"/>
                  <a:gd name="connsiteY3" fmla="*/ 1898283 h 1893636"/>
                  <a:gd name="connsiteX4" fmla="*/ 30 w 1898796"/>
                  <a:gd name="connsiteY4" fmla="*/ 947852 h 1893636"/>
                  <a:gd name="connsiteX5" fmla="*/ 1187811 w 1898796"/>
                  <a:gd name="connsiteY5" fmla="*/ 949916 h 1893636"/>
                  <a:gd name="connsiteX6" fmla="*/ 949429 w 1898796"/>
                  <a:gd name="connsiteY6" fmla="*/ 710503 h 1893636"/>
                  <a:gd name="connsiteX7" fmla="*/ 710532 w 1898796"/>
                  <a:gd name="connsiteY7" fmla="*/ 948368 h 1893636"/>
                  <a:gd name="connsiteX8" fmla="*/ 948397 w 1898796"/>
                  <a:gd name="connsiteY8" fmla="*/ 1188298 h 1893636"/>
                  <a:gd name="connsiteX9" fmla="*/ 1187811 w 1898796"/>
                  <a:gd name="connsiteY9" fmla="*/ 949916 h 1893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898796" h="1893636">
                    <a:moveTo>
                      <a:pt x="30" y="947852"/>
                    </a:moveTo>
                    <a:cubicBezTo>
                      <a:pt x="-3065" y="428263"/>
                      <a:pt x="426228" y="-1030"/>
                      <a:pt x="950461" y="2"/>
                    </a:cubicBezTo>
                    <a:cubicBezTo>
                      <a:pt x="1472114" y="1034"/>
                      <a:pt x="1899859" y="427747"/>
                      <a:pt x="1898827" y="950948"/>
                    </a:cubicBezTo>
                    <a:cubicBezTo>
                      <a:pt x="1897795" y="1468473"/>
                      <a:pt x="1477790" y="1899315"/>
                      <a:pt x="946849" y="1898283"/>
                    </a:cubicBezTo>
                    <a:cubicBezTo>
                      <a:pt x="411781" y="1896735"/>
                      <a:pt x="-4097" y="1460218"/>
                      <a:pt x="30" y="947852"/>
                    </a:cubicBezTo>
                    <a:close/>
                    <a:moveTo>
                      <a:pt x="1187811" y="949916"/>
                    </a:moveTo>
                    <a:cubicBezTo>
                      <a:pt x="1188327" y="817310"/>
                      <a:pt x="1084099" y="710503"/>
                      <a:pt x="949429" y="710503"/>
                    </a:cubicBezTo>
                    <a:cubicBezTo>
                      <a:pt x="805987" y="710503"/>
                      <a:pt x="710015" y="828146"/>
                      <a:pt x="710532" y="948368"/>
                    </a:cubicBezTo>
                    <a:cubicBezTo>
                      <a:pt x="711048" y="1081490"/>
                      <a:pt x="815791" y="1188298"/>
                      <a:pt x="948397" y="1188298"/>
                    </a:cubicBezTo>
                    <a:cubicBezTo>
                      <a:pt x="1081003" y="1188298"/>
                      <a:pt x="1187294" y="1083038"/>
                      <a:pt x="1187811" y="949916"/>
                    </a:cubicBezTo>
                    <a:close/>
                  </a:path>
                </a:pathLst>
              </a:custGeom>
              <a:grpFill/>
              <a:ln w="51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91A4F8E1-7B8C-4038-8994-541902C4B0AB}"/>
              </a:ext>
            </a:extLst>
          </p:cNvPr>
          <p:cNvSpPr/>
          <p:nvPr/>
        </p:nvSpPr>
        <p:spPr>
          <a:xfrm>
            <a:off x="3839744" y="5541765"/>
            <a:ext cx="936646" cy="931442"/>
          </a:xfrm>
          <a:custGeom>
            <a:avLst/>
            <a:gdLst>
              <a:gd name="connsiteX0" fmla="*/ 959201 w 1857518"/>
              <a:gd name="connsiteY0" fmla="*/ 1852264 h 1847198"/>
              <a:gd name="connsiteX1" fmla="*/ 910700 w 1857518"/>
              <a:gd name="connsiteY1" fmla="*/ 1852264 h 1847198"/>
              <a:gd name="connsiteX2" fmla="*/ 891608 w 1857518"/>
              <a:gd name="connsiteY2" fmla="*/ 1830593 h 1847198"/>
              <a:gd name="connsiteX3" fmla="*/ 838463 w 1857518"/>
              <a:gd name="connsiteY3" fmla="*/ 1669608 h 1847198"/>
              <a:gd name="connsiteX4" fmla="*/ 813180 w 1857518"/>
              <a:gd name="connsiteY4" fmla="*/ 1646905 h 1847198"/>
              <a:gd name="connsiteX5" fmla="*/ 730624 w 1857518"/>
              <a:gd name="connsiteY5" fmla="*/ 1628330 h 1847198"/>
              <a:gd name="connsiteX6" fmla="*/ 693990 w 1857518"/>
              <a:gd name="connsiteY6" fmla="*/ 1639165 h 1847198"/>
              <a:gd name="connsiteX7" fmla="*/ 573251 w 1857518"/>
              <a:gd name="connsiteY7" fmla="*/ 1761452 h 1847198"/>
              <a:gd name="connsiteX8" fmla="*/ 542292 w 1857518"/>
              <a:gd name="connsiteY8" fmla="*/ 1766612 h 1847198"/>
              <a:gd name="connsiteX9" fmla="*/ 412782 w 1857518"/>
              <a:gd name="connsiteY9" fmla="*/ 1693859 h 1847198"/>
              <a:gd name="connsiteX10" fmla="*/ 398334 w 1857518"/>
              <a:gd name="connsiteY10" fmla="*/ 1660836 h 1847198"/>
              <a:gd name="connsiteX11" fmla="*/ 440644 w 1857518"/>
              <a:gd name="connsiteY11" fmla="*/ 1494176 h 1847198"/>
              <a:gd name="connsiteX12" fmla="*/ 432904 w 1857518"/>
              <a:gd name="connsiteY12" fmla="*/ 1462185 h 1847198"/>
              <a:gd name="connsiteX13" fmla="*/ 370471 w 1857518"/>
              <a:gd name="connsiteY13" fmla="*/ 1397172 h 1847198"/>
              <a:gd name="connsiteX14" fmla="*/ 340545 w 1857518"/>
              <a:gd name="connsiteY14" fmla="*/ 1388400 h 1847198"/>
              <a:gd name="connsiteX15" fmla="*/ 310618 w 1857518"/>
              <a:gd name="connsiteY15" fmla="*/ 1395108 h 1847198"/>
              <a:gd name="connsiteX16" fmla="*/ 170273 w 1857518"/>
              <a:gd name="connsiteY16" fmla="*/ 1426583 h 1847198"/>
              <a:gd name="connsiteX17" fmla="*/ 141377 w 1857518"/>
              <a:gd name="connsiteY17" fmla="*/ 1413683 h 1847198"/>
              <a:gd name="connsiteX18" fmla="*/ 70689 w 1857518"/>
              <a:gd name="connsiteY18" fmla="*/ 1276949 h 1847198"/>
              <a:gd name="connsiteX19" fmla="*/ 75848 w 1857518"/>
              <a:gd name="connsiteY19" fmla="*/ 1247539 h 1847198"/>
              <a:gd name="connsiteX20" fmla="*/ 206391 w 1857518"/>
              <a:gd name="connsiteY20" fmla="*/ 1126284 h 1847198"/>
              <a:gd name="connsiteX21" fmla="*/ 216710 w 1857518"/>
              <a:gd name="connsiteY21" fmla="*/ 1096873 h 1847198"/>
              <a:gd name="connsiteX22" fmla="*/ 201231 w 1857518"/>
              <a:gd name="connsiteY22" fmla="*/ 1012769 h 1847198"/>
              <a:gd name="connsiteX23" fmla="*/ 181108 w 1857518"/>
              <a:gd name="connsiteY23" fmla="*/ 989034 h 1847198"/>
              <a:gd name="connsiteX24" fmla="*/ 67077 w 1857518"/>
              <a:gd name="connsiteY24" fmla="*/ 947240 h 1847198"/>
              <a:gd name="connsiteX25" fmla="*/ 0 w 1857518"/>
              <a:gd name="connsiteY25" fmla="*/ 921957 h 1847198"/>
              <a:gd name="connsiteX26" fmla="*/ 0 w 1857518"/>
              <a:gd name="connsiteY26" fmla="*/ 893062 h 1847198"/>
              <a:gd name="connsiteX27" fmla="*/ 4643 w 1857518"/>
              <a:gd name="connsiteY27" fmla="*/ 842496 h 1847198"/>
              <a:gd name="connsiteX28" fmla="*/ 17543 w 1857518"/>
              <a:gd name="connsiteY28" fmla="*/ 743945 h 1847198"/>
              <a:gd name="connsiteX29" fmla="*/ 38182 w 1857518"/>
              <a:gd name="connsiteY29" fmla="*/ 723305 h 1847198"/>
              <a:gd name="connsiteX30" fmla="*/ 214131 w 1857518"/>
              <a:gd name="connsiteY30" fmla="*/ 691315 h 1847198"/>
              <a:gd name="connsiteX31" fmla="*/ 239929 w 1857518"/>
              <a:gd name="connsiteY31" fmla="*/ 671192 h 1847198"/>
              <a:gd name="connsiteX32" fmla="*/ 266760 w 1857518"/>
              <a:gd name="connsiteY32" fmla="*/ 606695 h 1847198"/>
              <a:gd name="connsiteX33" fmla="*/ 262116 w 1857518"/>
              <a:gd name="connsiteY33" fmla="*/ 570060 h 1847198"/>
              <a:gd name="connsiteX34" fmla="*/ 159437 w 1857518"/>
              <a:gd name="connsiteY34" fmla="*/ 434874 h 1847198"/>
              <a:gd name="connsiteX35" fmla="*/ 159953 w 1857518"/>
              <a:gd name="connsiteY35" fmla="*/ 401336 h 1847198"/>
              <a:gd name="connsiteX36" fmla="*/ 259536 w 1857518"/>
              <a:gd name="connsiteY36" fmla="*/ 278017 h 1847198"/>
              <a:gd name="connsiteX37" fmla="*/ 294623 w 1857518"/>
              <a:gd name="connsiteY37" fmla="*/ 268729 h 1847198"/>
              <a:gd name="connsiteX38" fmla="*/ 457672 w 1857518"/>
              <a:gd name="connsiteY38" fmla="*/ 336322 h 1847198"/>
              <a:gd name="connsiteX39" fmla="*/ 489146 w 1857518"/>
              <a:gd name="connsiteY39" fmla="*/ 333743 h 1847198"/>
              <a:gd name="connsiteX40" fmla="*/ 540744 w 1857518"/>
              <a:gd name="connsiteY40" fmla="*/ 298140 h 1847198"/>
              <a:gd name="connsiteX41" fmla="*/ 553127 w 1857518"/>
              <a:gd name="connsiteY41" fmla="*/ 273889 h 1847198"/>
              <a:gd name="connsiteX42" fmla="*/ 552096 w 1857518"/>
              <a:gd name="connsiteY42" fmla="*/ 255830 h 1847198"/>
              <a:gd name="connsiteX43" fmla="*/ 545904 w 1857518"/>
              <a:gd name="connsiteY43" fmla="*/ 175854 h 1847198"/>
              <a:gd name="connsiteX44" fmla="*/ 539712 w 1857518"/>
              <a:gd name="connsiteY44" fmla="*/ 95877 h 1847198"/>
              <a:gd name="connsiteX45" fmla="*/ 556739 w 1857518"/>
              <a:gd name="connsiteY45" fmla="*/ 69562 h 1847198"/>
              <a:gd name="connsiteX46" fmla="*/ 716176 w 1857518"/>
              <a:gd name="connsiteY46" fmla="*/ 15901 h 1847198"/>
              <a:gd name="connsiteX47" fmla="*/ 726496 w 1857518"/>
              <a:gd name="connsiteY47" fmla="*/ 14353 h 1847198"/>
              <a:gd name="connsiteX48" fmla="*/ 748167 w 1857518"/>
              <a:gd name="connsiteY48" fmla="*/ 28800 h 1847198"/>
              <a:gd name="connsiteX49" fmla="*/ 847750 w 1857518"/>
              <a:gd name="connsiteY49" fmla="*/ 172758 h 1847198"/>
              <a:gd name="connsiteX50" fmla="*/ 878709 w 1857518"/>
              <a:gd name="connsiteY50" fmla="*/ 187721 h 1847198"/>
              <a:gd name="connsiteX51" fmla="*/ 931855 w 1857518"/>
              <a:gd name="connsiteY51" fmla="*/ 185657 h 1847198"/>
              <a:gd name="connsiteX52" fmla="*/ 948366 w 1857518"/>
              <a:gd name="connsiteY52" fmla="*/ 177401 h 1847198"/>
              <a:gd name="connsiteX53" fmla="*/ 954042 w 1857518"/>
              <a:gd name="connsiteY53" fmla="*/ 169146 h 1847198"/>
              <a:gd name="connsiteX54" fmla="*/ 979840 w 1857518"/>
              <a:gd name="connsiteY54" fmla="*/ 121676 h 1847198"/>
              <a:gd name="connsiteX55" fmla="*/ 1037630 w 1857518"/>
              <a:gd name="connsiteY55" fmla="*/ 13837 h 1847198"/>
              <a:gd name="connsiteX56" fmla="*/ 1066525 w 1857518"/>
              <a:gd name="connsiteY56" fmla="*/ 937 h 1847198"/>
              <a:gd name="connsiteX57" fmla="*/ 1233702 w 1857518"/>
              <a:gd name="connsiteY57" fmla="*/ 40667 h 1847198"/>
              <a:gd name="connsiteX58" fmla="*/ 1253309 w 1857518"/>
              <a:gd name="connsiteY58" fmla="*/ 64918 h 1847198"/>
              <a:gd name="connsiteX59" fmla="*/ 1254341 w 1857518"/>
              <a:gd name="connsiteY59" fmla="*/ 85042 h 1847198"/>
              <a:gd name="connsiteX60" fmla="*/ 1258468 w 1857518"/>
              <a:gd name="connsiteY60" fmla="*/ 209908 h 1847198"/>
              <a:gd name="connsiteX61" fmla="*/ 1260016 w 1857518"/>
              <a:gd name="connsiteY61" fmla="*/ 244478 h 1847198"/>
              <a:gd name="connsiteX62" fmla="*/ 1276012 w 1857518"/>
              <a:gd name="connsiteY62" fmla="*/ 270277 h 1847198"/>
              <a:gd name="connsiteX63" fmla="*/ 1313678 w 1857518"/>
              <a:gd name="connsiteY63" fmla="*/ 291948 h 1847198"/>
              <a:gd name="connsiteX64" fmla="*/ 1349797 w 1857518"/>
              <a:gd name="connsiteY64" fmla="*/ 291948 h 1847198"/>
              <a:gd name="connsiteX65" fmla="*/ 1502526 w 1857518"/>
              <a:gd name="connsiteY65" fmla="*/ 206812 h 1847198"/>
              <a:gd name="connsiteX66" fmla="*/ 1535033 w 1857518"/>
              <a:gd name="connsiteY66" fmla="*/ 211456 h 1847198"/>
              <a:gd name="connsiteX67" fmla="*/ 1653707 w 1857518"/>
              <a:gd name="connsiteY67" fmla="*/ 332711 h 1847198"/>
              <a:gd name="connsiteX68" fmla="*/ 1657835 w 1857518"/>
              <a:gd name="connsiteY68" fmla="*/ 366249 h 1847198"/>
              <a:gd name="connsiteX69" fmla="*/ 1569087 w 1857518"/>
              <a:gd name="connsiteY69" fmla="*/ 515883 h 1847198"/>
              <a:gd name="connsiteX70" fmla="*/ 1568571 w 1857518"/>
              <a:gd name="connsiteY70" fmla="*/ 550453 h 1847198"/>
              <a:gd name="connsiteX71" fmla="*/ 1591274 w 1857518"/>
              <a:gd name="connsiteY71" fmla="*/ 592247 h 1847198"/>
              <a:gd name="connsiteX72" fmla="*/ 1617589 w 1857518"/>
              <a:gd name="connsiteY72" fmla="*/ 608759 h 1847198"/>
              <a:gd name="connsiteX73" fmla="*/ 1676926 w 1857518"/>
              <a:gd name="connsiteY73" fmla="*/ 612886 h 1847198"/>
              <a:gd name="connsiteX74" fmla="*/ 1797665 w 1857518"/>
              <a:gd name="connsiteY74" fmla="*/ 620626 h 1847198"/>
              <a:gd name="connsiteX75" fmla="*/ 1820884 w 1857518"/>
              <a:gd name="connsiteY75" fmla="*/ 640233 h 1847198"/>
              <a:gd name="connsiteX76" fmla="*/ 1857518 w 1857518"/>
              <a:gd name="connsiteY76" fmla="*/ 808442 h 1847198"/>
              <a:gd name="connsiteX77" fmla="*/ 1851842 w 1857518"/>
              <a:gd name="connsiteY77" fmla="*/ 829081 h 1847198"/>
              <a:gd name="connsiteX78" fmla="*/ 1841523 w 1857518"/>
              <a:gd name="connsiteY78" fmla="*/ 836305 h 1847198"/>
              <a:gd name="connsiteX79" fmla="*/ 1686214 w 1857518"/>
              <a:gd name="connsiteY79" fmla="*/ 913701 h 1847198"/>
              <a:gd name="connsiteX80" fmla="*/ 1668670 w 1857518"/>
              <a:gd name="connsiteY80" fmla="*/ 940016 h 1847198"/>
              <a:gd name="connsiteX81" fmla="*/ 1665059 w 1857518"/>
              <a:gd name="connsiteY81" fmla="*/ 998322 h 1847198"/>
              <a:gd name="connsiteX82" fmla="*/ 1678474 w 1857518"/>
              <a:gd name="connsiteY82" fmla="*/ 1026184 h 1847198"/>
              <a:gd name="connsiteX83" fmla="*/ 1821916 w 1857518"/>
              <a:gd name="connsiteY83" fmla="*/ 1131960 h 1847198"/>
              <a:gd name="connsiteX84" fmla="*/ 1831720 w 1857518"/>
              <a:gd name="connsiteY84" fmla="*/ 1163950 h 1847198"/>
              <a:gd name="connsiteX85" fmla="*/ 1805404 w 1857518"/>
              <a:gd name="connsiteY85" fmla="*/ 1236703 h 1847198"/>
              <a:gd name="connsiteX86" fmla="*/ 1775478 w 1857518"/>
              <a:gd name="connsiteY86" fmla="*/ 1317711 h 1847198"/>
              <a:gd name="connsiteX87" fmla="*/ 1750195 w 1857518"/>
              <a:gd name="connsiteY87" fmla="*/ 1334223 h 1847198"/>
              <a:gd name="connsiteX88" fmla="*/ 1685698 w 1857518"/>
              <a:gd name="connsiteY88" fmla="*/ 1327515 h 1847198"/>
              <a:gd name="connsiteX89" fmla="*/ 1574247 w 1857518"/>
              <a:gd name="connsiteY89" fmla="*/ 1315648 h 1847198"/>
              <a:gd name="connsiteX90" fmla="*/ 1545868 w 1857518"/>
              <a:gd name="connsiteY90" fmla="*/ 1328547 h 1847198"/>
              <a:gd name="connsiteX91" fmla="*/ 1505622 w 1857518"/>
              <a:gd name="connsiteY91" fmla="*/ 1383241 h 1847198"/>
              <a:gd name="connsiteX92" fmla="*/ 1500978 w 1857518"/>
              <a:gd name="connsiteY92" fmla="*/ 1417811 h 1847198"/>
              <a:gd name="connsiteX93" fmla="*/ 1563411 w 1857518"/>
              <a:gd name="connsiteY93" fmla="*/ 1581892 h 1847198"/>
              <a:gd name="connsiteX94" fmla="*/ 1554124 w 1857518"/>
              <a:gd name="connsiteY94" fmla="*/ 1615430 h 1847198"/>
              <a:gd name="connsiteX95" fmla="*/ 1430805 w 1857518"/>
              <a:gd name="connsiteY95" fmla="*/ 1708822 h 1847198"/>
              <a:gd name="connsiteX96" fmla="*/ 1397266 w 1857518"/>
              <a:gd name="connsiteY96" fmla="*/ 1708306 h 1847198"/>
              <a:gd name="connsiteX97" fmla="*/ 1263628 w 1857518"/>
              <a:gd name="connsiteY97" fmla="*/ 1600467 h 1847198"/>
              <a:gd name="connsiteX98" fmla="*/ 1232154 w 1857518"/>
              <a:gd name="connsiteY98" fmla="*/ 1594275 h 1847198"/>
              <a:gd name="connsiteX99" fmla="*/ 1153725 w 1857518"/>
              <a:gd name="connsiteY99" fmla="*/ 1624202 h 1847198"/>
              <a:gd name="connsiteX100" fmla="*/ 1134634 w 1857518"/>
              <a:gd name="connsiteY100" fmla="*/ 1646905 h 1847198"/>
              <a:gd name="connsiteX101" fmla="*/ 1123798 w 1857518"/>
              <a:gd name="connsiteY101" fmla="*/ 1698503 h 1847198"/>
              <a:gd name="connsiteX102" fmla="*/ 1097999 w 1857518"/>
              <a:gd name="connsiteY102" fmla="*/ 1821821 h 1847198"/>
              <a:gd name="connsiteX103" fmla="*/ 1076329 w 1857518"/>
              <a:gd name="connsiteY103" fmla="*/ 1842460 h 1847198"/>
              <a:gd name="connsiteX104" fmla="*/ 994288 w 1857518"/>
              <a:gd name="connsiteY104" fmla="*/ 1851232 h 1847198"/>
              <a:gd name="connsiteX105" fmla="*/ 959201 w 1857518"/>
              <a:gd name="connsiteY105" fmla="*/ 1852264 h 1847198"/>
              <a:gd name="connsiteX106" fmla="*/ 928759 w 1857518"/>
              <a:gd name="connsiteY106" fmla="*/ 382245 h 1847198"/>
              <a:gd name="connsiteX107" fmla="*/ 386983 w 1857518"/>
              <a:gd name="connsiteY107" fmla="*/ 921957 h 1847198"/>
              <a:gd name="connsiteX108" fmla="*/ 926695 w 1857518"/>
              <a:gd name="connsiteY108" fmla="*/ 1465797 h 1847198"/>
              <a:gd name="connsiteX109" fmla="*/ 1470535 w 1857518"/>
              <a:gd name="connsiteY109" fmla="*/ 924537 h 1847198"/>
              <a:gd name="connsiteX110" fmla="*/ 928759 w 1857518"/>
              <a:gd name="connsiteY110" fmla="*/ 382245 h 18471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</a:cxnLst>
            <a:rect l="l" t="t" r="r" b="b"/>
            <a:pathLst>
              <a:path w="1857518" h="1847198">
                <a:moveTo>
                  <a:pt x="959201" y="1852264"/>
                </a:moveTo>
                <a:cubicBezTo>
                  <a:pt x="943206" y="1852264"/>
                  <a:pt x="927211" y="1852264"/>
                  <a:pt x="910700" y="1852264"/>
                </a:cubicBezTo>
                <a:cubicBezTo>
                  <a:pt x="900380" y="1848652"/>
                  <a:pt x="894704" y="1840913"/>
                  <a:pt x="891608" y="1830593"/>
                </a:cubicBezTo>
                <a:cubicBezTo>
                  <a:pt x="874065" y="1776931"/>
                  <a:pt x="856006" y="1723270"/>
                  <a:pt x="838463" y="1669608"/>
                </a:cubicBezTo>
                <a:cubicBezTo>
                  <a:pt x="834335" y="1657224"/>
                  <a:pt x="826080" y="1649485"/>
                  <a:pt x="813180" y="1646905"/>
                </a:cubicBezTo>
                <a:cubicBezTo>
                  <a:pt x="785833" y="1640713"/>
                  <a:pt x="757970" y="1635037"/>
                  <a:pt x="730624" y="1628330"/>
                </a:cubicBezTo>
                <a:cubicBezTo>
                  <a:pt x="716176" y="1624718"/>
                  <a:pt x="704309" y="1628330"/>
                  <a:pt x="693990" y="1639165"/>
                </a:cubicBezTo>
                <a:cubicBezTo>
                  <a:pt x="654259" y="1680443"/>
                  <a:pt x="613497" y="1720690"/>
                  <a:pt x="573251" y="1761452"/>
                </a:cubicBezTo>
                <a:cubicBezTo>
                  <a:pt x="563963" y="1770739"/>
                  <a:pt x="553127" y="1772804"/>
                  <a:pt x="542292" y="1766612"/>
                </a:cubicBezTo>
                <a:cubicBezTo>
                  <a:pt x="498950" y="1742361"/>
                  <a:pt x="456123" y="1718110"/>
                  <a:pt x="412782" y="1693859"/>
                </a:cubicBezTo>
                <a:cubicBezTo>
                  <a:pt x="397818" y="1685603"/>
                  <a:pt x="394206" y="1676832"/>
                  <a:pt x="398334" y="1660836"/>
                </a:cubicBezTo>
                <a:cubicBezTo>
                  <a:pt x="412265" y="1605111"/>
                  <a:pt x="426713" y="1549901"/>
                  <a:pt x="440644" y="1494176"/>
                </a:cubicBezTo>
                <a:cubicBezTo>
                  <a:pt x="443741" y="1482308"/>
                  <a:pt x="441676" y="1471473"/>
                  <a:pt x="432904" y="1462185"/>
                </a:cubicBezTo>
                <a:cubicBezTo>
                  <a:pt x="412265" y="1440514"/>
                  <a:pt x="391110" y="1418843"/>
                  <a:pt x="370471" y="1397172"/>
                </a:cubicBezTo>
                <a:cubicBezTo>
                  <a:pt x="362216" y="1388400"/>
                  <a:pt x="351896" y="1385820"/>
                  <a:pt x="340545" y="1388400"/>
                </a:cubicBezTo>
                <a:cubicBezTo>
                  <a:pt x="330226" y="1390464"/>
                  <a:pt x="320422" y="1393044"/>
                  <a:pt x="310618" y="1395108"/>
                </a:cubicBezTo>
                <a:cubicBezTo>
                  <a:pt x="263664" y="1405428"/>
                  <a:pt x="217226" y="1416263"/>
                  <a:pt x="170273" y="1426583"/>
                </a:cubicBezTo>
                <a:cubicBezTo>
                  <a:pt x="157373" y="1429679"/>
                  <a:pt x="147054" y="1425035"/>
                  <a:pt x="141377" y="1413683"/>
                </a:cubicBezTo>
                <a:cubicBezTo>
                  <a:pt x="117642" y="1368277"/>
                  <a:pt x="94423" y="1322355"/>
                  <a:pt x="70689" y="1276949"/>
                </a:cubicBezTo>
                <a:cubicBezTo>
                  <a:pt x="65529" y="1266630"/>
                  <a:pt x="67593" y="1255278"/>
                  <a:pt x="75848" y="1247539"/>
                </a:cubicBezTo>
                <a:cubicBezTo>
                  <a:pt x="119191" y="1207292"/>
                  <a:pt x="163049" y="1166530"/>
                  <a:pt x="206391" y="1126284"/>
                </a:cubicBezTo>
                <a:cubicBezTo>
                  <a:pt x="215162" y="1118544"/>
                  <a:pt x="218258" y="1108225"/>
                  <a:pt x="216710" y="1096873"/>
                </a:cubicBezTo>
                <a:cubicBezTo>
                  <a:pt x="211551" y="1069010"/>
                  <a:pt x="206391" y="1040631"/>
                  <a:pt x="201231" y="1012769"/>
                </a:cubicBezTo>
                <a:cubicBezTo>
                  <a:pt x="199167" y="1000901"/>
                  <a:pt x="192459" y="993162"/>
                  <a:pt x="181108" y="989034"/>
                </a:cubicBezTo>
                <a:cubicBezTo>
                  <a:pt x="142925" y="975103"/>
                  <a:pt x="104743" y="961171"/>
                  <a:pt x="67077" y="947240"/>
                </a:cubicBezTo>
                <a:cubicBezTo>
                  <a:pt x="44890" y="938984"/>
                  <a:pt x="22187" y="931760"/>
                  <a:pt x="0" y="921957"/>
                </a:cubicBezTo>
                <a:cubicBezTo>
                  <a:pt x="0" y="912153"/>
                  <a:pt x="0" y="902866"/>
                  <a:pt x="0" y="893062"/>
                </a:cubicBezTo>
                <a:cubicBezTo>
                  <a:pt x="1548" y="876035"/>
                  <a:pt x="3096" y="859524"/>
                  <a:pt x="4643" y="842496"/>
                </a:cubicBezTo>
                <a:cubicBezTo>
                  <a:pt x="7740" y="809474"/>
                  <a:pt x="12383" y="776451"/>
                  <a:pt x="17543" y="743945"/>
                </a:cubicBezTo>
                <a:cubicBezTo>
                  <a:pt x="19091" y="733109"/>
                  <a:pt x="26831" y="725369"/>
                  <a:pt x="38182" y="723305"/>
                </a:cubicBezTo>
                <a:cubicBezTo>
                  <a:pt x="97003" y="712470"/>
                  <a:pt x="155309" y="702150"/>
                  <a:pt x="214131" y="691315"/>
                </a:cubicBezTo>
                <a:cubicBezTo>
                  <a:pt x="226514" y="689251"/>
                  <a:pt x="234770" y="682543"/>
                  <a:pt x="239929" y="671192"/>
                </a:cubicBezTo>
                <a:cubicBezTo>
                  <a:pt x="248701" y="649521"/>
                  <a:pt x="257989" y="627850"/>
                  <a:pt x="266760" y="606695"/>
                </a:cubicBezTo>
                <a:cubicBezTo>
                  <a:pt x="272436" y="593279"/>
                  <a:pt x="270888" y="581928"/>
                  <a:pt x="262116" y="570060"/>
                </a:cubicBezTo>
                <a:cubicBezTo>
                  <a:pt x="227546" y="525170"/>
                  <a:pt x="193492" y="479764"/>
                  <a:pt x="159437" y="434874"/>
                </a:cubicBezTo>
                <a:cubicBezTo>
                  <a:pt x="150665" y="423007"/>
                  <a:pt x="150665" y="412687"/>
                  <a:pt x="159953" y="401336"/>
                </a:cubicBezTo>
                <a:cubicBezTo>
                  <a:pt x="192975" y="360058"/>
                  <a:pt x="225998" y="319295"/>
                  <a:pt x="259536" y="278017"/>
                </a:cubicBezTo>
                <a:cubicBezTo>
                  <a:pt x="270372" y="265118"/>
                  <a:pt x="279144" y="262538"/>
                  <a:pt x="294623" y="268729"/>
                </a:cubicBezTo>
                <a:cubicBezTo>
                  <a:pt x="348801" y="291433"/>
                  <a:pt x="402978" y="313620"/>
                  <a:pt x="457672" y="336322"/>
                </a:cubicBezTo>
                <a:cubicBezTo>
                  <a:pt x="468507" y="340966"/>
                  <a:pt x="479342" y="340450"/>
                  <a:pt x="489146" y="333743"/>
                </a:cubicBezTo>
                <a:cubicBezTo>
                  <a:pt x="506690" y="321875"/>
                  <a:pt x="523717" y="310008"/>
                  <a:pt x="540744" y="298140"/>
                </a:cubicBezTo>
                <a:cubicBezTo>
                  <a:pt x="548999" y="292464"/>
                  <a:pt x="553127" y="284209"/>
                  <a:pt x="553127" y="273889"/>
                </a:cubicBezTo>
                <a:cubicBezTo>
                  <a:pt x="553127" y="267697"/>
                  <a:pt x="552612" y="261506"/>
                  <a:pt x="552096" y="255830"/>
                </a:cubicBezTo>
                <a:cubicBezTo>
                  <a:pt x="550032" y="228999"/>
                  <a:pt x="547968" y="202684"/>
                  <a:pt x="545904" y="175854"/>
                </a:cubicBezTo>
                <a:cubicBezTo>
                  <a:pt x="543840" y="149023"/>
                  <a:pt x="541776" y="122708"/>
                  <a:pt x="539712" y="95877"/>
                </a:cubicBezTo>
                <a:cubicBezTo>
                  <a:pt x="538680" y="83493"/>
                  <a:pt x="544872" y="73690"/>
                  <a:pt x="556739" y="69562"/>
                </a:cubicBezTo>
                <a:cubicBezTo>
                  <a:pt x="609885" y="51503"/>
                  <a:pt x="663031" y="33444"/>
                  <a:pt x="716176" y="15901"/>
                </a:cubicBezTo>
                <a:cubicBezTo>
                  <a:pt x="719788" y="14869"/>
                  <a:pt x="722884" y="14353"/>
                  <a:pt x="726496" y="14353"/>
                </a:cubicBezTo>
                <a:cubicBezTo>
                  <a:pt x="736299" y="14869"/>
                  <a:pt x="742491" y="21060"/>
                  <a:pt x="748167" y="28800"/>
                </a:cubicBezTo>
                <a:cubicBezTo>
                  <a:pt x="781189" y="76786"/>
                  <a:pt x="814728" y="124772"/>
                  <a:pt x="847750" y="172758"/>
                </a:cubicBezTo>
                <a:cubicBezTo>
                  <a:pt x="855490" y="183593"/>
                  <a:pt x="865810" y="188753"/>
                  <a:pt x="878709" y="187721"/>
                </a:cubicBezTo>
                <a:cubicBezTo>
                  <a:pt x="896252" y="186173"/>
                  <a:pt x="914312" y="185657"/>
                  <a:pt x="931855" y="185657"/>
                </a:cubicBezTo>
                <a:cubicBezTo>
                  <a:pt x="939079" y="185657"/>
                  <a:pt x="944239" y="183077"/>
                  <a:pt x="948366" y="177401"/>
                </a:cubicBezTo>
                <a:cubicBezTo>
                  <a:pt x="950430" y="174822"/>
                  <a:pt x="952494" y="171726"/>
                  <a:pt x="954042" y="169146"/>
                </a:cubicBezTo>
                <a:cubicBezTo>
                  <a:pt x="962814" y="153150"/>
                  <a:pt x="971069" y="137155"/>
                  <a:pt x="979840" y="121676"/>
                </a:cubicBezTo>
                <a:cubicBezTo>
                  <a:pt x="998932" y="85558"/>
                  <a:pt x="1018539" y="49955"/>
                  <a:pt x="1037630" y="13837"/>
                </a:cubicBezTo>
                <a:cubicBezTo>
                  <a:pt x="1043822" y="2485"/>
                  <a:pt x="1053626" y="-2159"/>
                  <a:pt x="1066525" y="937"/>
                </a:cubicBezTo>
                <a:cubicBezTo>
                  <a:pt x="1122251" y="14353"/>
                  <a:pt x="1177976" y="27252"/>
                  <a:pt x="1233702" y="40667"/>
                </a:cubicBezTo>
                <a:cubicBezTo>
                  <a:pt x="1245569" y="43763"/>
                  <a:pt x="1252793" y="52535"/>
                  <a:pt x="1253309" y="64918"/>
                </a:cubicBezTo>
                <a:cubicBezTo>
                  <a:pt x="1253825" y="71626"/>
                  <a:pt x="1253825" y="78334"/>
                  <a:pt x="1254341" y="85042"/>
                </a:cubicBezTo>
                <a:cubicBezTo>
                  <a:pt x="1255888" y="126836"/>
                  <a:pt x="1256921" y="168630"/>
                  <a:pt x="1258468" y="209908"/>
                </a:cubicBezTo>
                <a:cubicBezTo>
                  <a:pt x="1258985" y="221260"/>
                  <a:pt x="1259501" y="233127"/>
                  <a:pt x="1260016" y="244478"/>
                </a:cubicBezTo>
                <a:cubicBezTo>
                  <a:pt x="1260532" y="255830"/>
                  <a:pt x="1266208" y="264602"/>
                  <a:pt x="1276012" y="270277"/>
                </a:cubicBezTo>
                <a:cubicBezTo>
                  <a:pt x="1288395" y="277501"/>
                  <a:pt x="1301295" y="284209"/>
                  <a:pt x="1313678" y="291948"/>
                </a:cubicBezTo>
                <a:cubicBezTo>
                  <a:pt x="1326062" y="299172"/>
                  <a:pt x="1337413" y="298656"/>
                  <a:pt x="1349797" y="291948"/>
                </a:cubicBezTo>
                <a:cubicBezTo>
                  <a:pt x="1400879" y="263570"/>
                  <a:pt x="1451444" y="235191"/>
                  <a:pt x="1502526" y="206812"/>
                </a:cubicBezTo>
                <a:cubicBezTo>
                  <a:pt x="1514394" y="200105"/>
                  <a:pt x="1525745" y="202168"/>
                  <a:pt x="1535033" y="211456"/>
                </a:cubicBezTo>
                <a:cubicBezTo>
                  <a:pt x="1574763" y="251702"/>
                  <a:pt x="1613977" y="292464"/>
                  <a:pt x="1653707" y="332711"/>
                </a:cubicBezTo>
                <a:cubicBezTo>
                  <a:pt x="1664027" y="343546"/>
                  <a:pt x="1665575" y="353350"/>
                  <a:pt x="1657835" y="366249"/>
                </a:cubicBezTo>
                <a:cubicBezTo>
                  <a:pt x="1628424" y="416299"/>
                  <a:pt x="1598497" y="465833"/>
                  <a:pt x="1569087" y="515883"/>
                </a:cubicBezTo>
                <a:cubicBezTo>
                  <a:pt x="1562379" y="527234"/>
                  <a:pt x="1561863" y="539102"/>
                  <a:pt x="1568571" y="550453"/>
                </a:cubicBezTo>
                <a:cubicBezTo>
                  <a:pt x="1576311" y="564384"/>
                  <a:pt x="1583534" y="578316"/>
                  <a:pt x="1591274" y="592247"/>
                </a:cubicBezTo>
                <a:cubicBezTo>
                  <a:pt x="1596950" y="602567"/>
                  <a:pt x="1605721" y="608243"/>
                  <a:pt x="1617589" y="608759"/>
                </a:cubicBezTo>
                <a:cubicBezTo>
                  <a:pt x="1637196" y="610307"/>
                  <a:pt x="1657319" y="611339"/>
                  <a:pt x="1676926" y="612886"/>
                </a:cubicBezTo>
                <a:cubicBezTo>
                  <a:pt x="1717172" y="615466"/>
                  <a:pt x="1757419" y="618046"/>
                  <a:pt x="1797665" y="620626"/>
                </a:cubicBezTo>
                <a:cubicBezTo>
                  <a:pt x="1809016" y="621142"/>
                  <a:pt x="1818304" y="628882"/>
                  <a:pt x="1820884" y="640233"/>
                </a:cubicBezTo>
                <a:cubicBezTo>
                  <a:pt x="1833267" y="695959"/>
                  <a:pt x="1845135" y="752200"/>
                  <a:pt x="1857518" y="808442"/>
                </a:cubicBezTo>
                <a:cubicBezTo>
                  <a:pt x="1859066" y="816181"/>
                  <a:pt x="1857002" y="822889"/>
                  <a:pt x="1851842" y="829081"/>
                </a:cubicBezTo>
                <a:cubicBezTo>
                  <a:pt x="1849262" y="832177"/>
                  <a:pt x="1845135" y="834241"/>
                  <a:pt x="1841523" y="836305"/>
                </a:cubicBezTo>
                <a:cubicBezTo>
                  <a:pt x="1789925" y="862103"/>
                  <a:pt x="1738327" y="887902"/>
                  <a:pt x="1686214" y="913701"/>
                </a:cubicBezTo>
                <a:cubicBezTo>
                  <a:pt x="1675378" y="919377"/>
                  <a:pt x="1669187" y="927633"/>
                  <a:pt x="1668670" y="940016"/>
                </a:cubicBezTo>
                <a:cubicBezTo>
                  <a:pt x="1667639" y="959623"/>
                  <a:pt x="1666090" y="978714"/>
                  <a:pt x="1665059" y="998322"/>
                </a:cubicBezTo>
                <a:cubicBezTo>
                  <a:pt x="1664543" y="1009673"/>
                  <a:pt x="1668670" y="1019477"/>
                  <a:pt x="1678474" y="1026184"/>
                </a:cubicBezTo>
                <a:cubicBezTo>
                  <a:pt x="1726460" y="1061271"/>
                  <a:pt x="1773930" y="1096873"/>
                  <a:pt x="1821916" y="1131960"/>
                </a:cubicBezTo>
                <a:cubicBezTo>
                  <a:pt x="1833267" y="1140215"/>
                  <a:pt x="1836879" y="1150535"/>
                  <a:pt x="1831720" y="1163950"/>
                </a:cubicBezTo>
                <a:cubicBezTo>
                  <a:pt x="1822948" y="1188201"/>
                  <a:pt x="1814176" y="1212452"/>
                  <a:pt x="1805404" y="1236703"/>
                </a:cubicBezTo>
                <a:cubicBezTo>
                  <a:pt x="1795601" y="1263534"/>
                  <a:pt x="1785798" y="1290881"/>
                  <a:pt x="1775478" y="1317711"/>
                </a:cubicBezTo>
                <a:cubicBezTo>
                  <a:pt x="1771350" y="1329063"/>
                  <a:pt x="1761546" y="1335255"/>
                  <a:pt x="1750195" y="1334223"/>
                </a:cubicBezTo>
                <a:cubicBezTo>
                  <a:pt x="1728524" y="1332159"/>
                  <a:pt x="1707369" y="1329579"/>
                  <a:pt x="1685698" y="1327515"/>
                </a:cubicBezTo>
                <a:cubicBezTo>
                  <a:pt x="1648548" y="1323387"/>
                  <a:pt x="1611397" y="1319259"/>
                  <a:pt x="1574247" y="1315648"/>
                </a:cubicBezTo>
                <a:cubicBezTo>
                  <a:pt x="1562379" y="1314616"/>
                  <a:pt x="1553092" y="1318743"/>
                  <a:pt x="1545868" y="1328547"/>
                </a:cubicBezTo>
                <a:cubicBezTo>
                  <a:pt x="1532453" y="1346606"/>
                  <a:pt x="1519553" y="1365181"/>
                  <a:pt x="1505622" y="1383241"/>
                </a:cubicBezTo>
                <a:cubicBezTo>
                  <a:pt x="1497366" y="1394076"/>
                  <a:pt x="1496334" y="1405428"/>
                  <a:pt x="1500978" y="1417811"/>
                </a:cubicBezTo>
                <a:cubicBezTo>
                  <a:pt x="1521617" y="1472505"/>
                  <a:pt x="1542772" y="1527198"/>
                  <a:pt x="1563411" y="1581892"/>
                </a:cubicBezTo>
                <a:cubicBezTo>
                  <a:pt x="1569087" y="1596339"/>
                  <a:pt x="1565991" y="1606143"/>
                  <a:pt x="1554124" y="1615430"/>
                </a:cubicBezTo>
                <a:cubicBezTo>
                  <a:pt x="1512845" y="1646389"/>
                  <a:pt x="1472083" y="1677864"/>
                  <a:pt x="1430805" y="1708822"/>
                </a:cubicBezTo>
                <a:cubicBezTo>
                  <a:pt x="1418938" y="1717594"/>
                  <a:pt x="1408618" y="1717594"/>
                  <a:pt x="1397266" y="1708306"/>
                </a:cubicBezTo>
                <a:cubicBezTo>
                  <a:pt x="1352892" y="1672704"/>
                  <a:pt x="1308003" y="1636585"/>
                  <a:pt x="1263628" y="1600467"/>
                </a:cubicBezTo>
                <a:cubicBezTo>
                  <a:pt x="1253825" y="1592727"/>
                  <a:pt x="1243505" y="1590147"/>
                  <a:pt x="1232154" y="1594275"/>
                </a:cubicBezTo>
                <a:cubicBezTo>
                  <a:pt x="1205839" y="1604079"/>
                  <a:pt x="1179524" y="1613883"/>
                  <a:pt x="1153725" y="1624202"/>
                </a:cubicBezTo>
                <a:cubicBezTo>
                  <a:pt x="1143406" y="1628330"/>
                  <a:pt x="1137214" y="1636070"/>
                  <a:pt x="1134634" y="1646905"/>
                </a:cubicBezTo>
                <a:cubicBezTo>
                  <a:pt x="1131022" y="1663932"/>
                  <a:pt x="1127411" y="1681475"/>
                  <a:pt x="1123798" y="1698503"/>
                </a:cubicBezTo>
                <a:cubicBezTo>
                  <a:pt x="1115027" y="1739781"/>
                  <a:pt x="1106771" y="1780543"/>
                  <a:pt x="1097999" y="1821821"/>
                </a:cubicBezTo>
                <a:cubicBezTo>
                  <a:pt x="1095420" y="1833689"/>
                  <a:pt x="1088196" y="1840913"/>
                  <a:pt x="1076329" y="1842460"/>
                </a:cubicBezTo>
                <a:cubicBezTo>
                  <a:pt x="1048982" y="1846072"/>
                  <a:pt x="1021635" y="1848652"/>
                  <a:pt x="994288" y="1851232"/>
                </a:cubicBezTo>
                <a:cubicBezTo>
                  <a:pt x="980873" y="1850200"/>
                  <a:pt x="970037" y="1851232"/>
                  <a:pt x="959201" y="1852264"/>
                </a:cubicBezTo>
                <a:close/>
                <a:moveTo>
                  <a:pt x="928759" y="382245"/>
                </a:moveTo>
                <a:cubicBezTo>
                  <a:pt x="633620" y="381729"/>
                  <a:pt x="388015" y="619594"/>
                  <a:pt x="386983" y="921957"/>
                </a:cubicBezTo>
                <a:cubicBezTo>
                  <a:pt x="385951" y="1222772"/>
                  <a:pt x="627428" y="1464765"/>
                  <a:pt x="926695" y="1465797"/>
                </a:cubicBezTo>
                <a:cubicBezTo>
                  <a:pt x="1229058" y="1466829"/>
                  <a:pt x="1470019" y="1222772"/>
                  <a:pt x="1470535" y="924537"/>
                </a:cubicBezTo>
                <a:cubicBezTo>
                  <a:pt x="1470535" y="625270"/>
                  <a:pt x="1228026" y="381729"/>
                  <a:pt x="928759" y="382245"/>
                </a:cubicBezTo>
                <a:close/>
              </a:path>
            </a:pathLst>
          </a:custGeom>
          <a:solidFill>
            <a:schemeClr val="bg1">
              <a:alpha val="5000"/>
            </a:schemeClr>
          </a:solidFill>
          <a:ln w="51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D31E7249-19DE-4C8D-8922-A84026F00998}"/>
              </a:ext>
            </a:extLst>
          </p:cNvPr>
          <p:cNvSpPr/>
          <p:nvPr/>
        </p:nvSpPr>
        <p:spPr>
          <a:xfrm>
            <a:off x="3024122" y="4785587"/>
            <a:ext cx="1051669" cy="1070562"/>
          </a:xfrm>
          <a:custGeom>
            <a:avLst/>
            <a:gdLst>
              <a:gd name="connsiteX0" fmla="*/ 879664 w 1723364"/>
              <a:gd name="connsiteY0" fmla="*/ 267 h 1754322"/>
              <a:gd name="connsiteX1" fmla="*/ 964801 w 1723364"/>
              <a:gd name="connsiteY1" fmla="*/ 5943 h 1754322"/>
              <a:gd name="connsiteX2" fmla="*/ 979248 w 1723364"/>
              <a:gd name="connsiteY2" fmla="*/ 18843 h 1754322"/>
              <a:gd name="connsiteX3" fmla="*/ 977700 w 1723364"/>
              <a:gd name="connsiteY3" fmla="*/ 158673 h 1754322"/>
              <a:gd name="connsiteX4" fmla="*/ 968928 w 1723364"/>
              <a:gd name="connsiteY4" fmla="*/ 213366 h 1754322"/>
              <a:gd name="connsiteX5" fmla="*/ 979764 w 1723364"/>
              <a:gd name="connsiteY5" fmla="*/ 229877 h 1754322"/>
              <a:gd name="connsiteX6" fmla="*/ 1149520 w 1723364"/>
              <a:gd name="connsiteY6" fmla="*/ 285087 h 1754322"/>
              <a:gd name="connsiteX7" fmla="*/ 1166548 w 1723364"/>
              <a:gd name="connsiteY7" fmla="*/ 278379 h 1754322"/>
              <a:gd name="connsiteX8" fmla="*/ 1210406 w 1723364"/>
              <a:gd name="connsiteY8" fmla="*/ 190663 h 1754322"/>
              <a:gd name="connsiteX9" fmla="*/ 1263035 w 1723364"/>
              <a:gd name="connsiteY9" fmla="*/ 123070 h 1754322"/>
              <a:gd name="connsiteX10" fmla="*/ 1304314 w 1723364"/>
              <a:gd name="connsiteY10" fmla="*/ 119458 h 1754322"/>
              <a:gd name="connsiteX11" fmla="*/ 1458075 w 1723364"/>
              <a:gd name="connsiteY11" fmla="*/ 231941 h 1754322"/>
              <a:gd name="connsiteX12" fmla="*/ 1462203 w 1723364"/>
              <a:gd name="connsiteY12" fmla="*/ 251549 h 1754322"/>
              <a:gd name="connsiteX13" fmla="*/ 1461171 w 1723364"/>
              <a:gd name="connsiteY13" fmla="*/ 254128 h 1754322"/>
              <a:gd name="connsiteX14" fmla="*/ 1396158 w 1723364"/>
              <a:gd name="connsiteY14" fmla="*/ 347004 h 1754322"/>
              <a:gd name="connsiteX15" fmla="*/ 1337336 w 1723364"/>
              <a:gd name="connsiteY15" fmla="*/ 404794 h 1754322"/>
              <a:gd name="connsiteX16" fmla="*/ 1336304 w 1723364"/>
              <a:gd name="connsiteY16" fmla="*/ 419757 h 1754322"/>
              <a:gd name="connsiteX17" fmla="*/ 1369327 w 1723364"/>
              <a:gd name="connsiteY17" fmla="*/ 457939 h 1754322"/>
              <a:gd name="connsiteX18" fmla="*/ 1442596 w 1723364"/>
              <a:gd name="connsiteY18" fmla="*/ 565263 h 1754322"/>
              <a:gd name="connsiteX19" fmla="*/ 1462719 w 1723364"/>
              <a:gd name="connsiteY19" fmla="*/ 570938 h 1754322"/>
              <a:gd name="connsiteX20" fmla="*/ 1573138 w 1723364"/>
              <a:gd name="connsiteY20" fmla="*/ 514697 h 1754322"/>
              <a:gd name="connsiteX21" fmla="*/ 1650018 w 1723364"/>
              <a:gd name="connsiteY21" fmla="*/ 501281 h 1754322"/>
              <a:gd name="connsiteX22" fmla="*/ 1659822 w 1723364"/>
              <a:gd name="connsiteY22" fmla="*/ 509537 h 1754322"/>
              <a:gd name="connsiteX23" fmla="*/ 1724835 w 1723364"/>
              <a:gd name="connsiteY23" fmla="*/ 709220 h 1754322"/>
              <a:gd name="connsiteX24" fmla="*/ 1717611 w 1723364"/>
              <a:gd name="connsiteY24" fmla="*/ 723668 h 1754322"/>
              <a:gd name="connsiteX25" fmla="*/ 1671173 w 1723364"/>
              <a:gd name="connsiteY25" fmla="*/ 748950 h 1754322"/>
              <a:gd name="connsiteX26" fmla="*/ 1618544 w 1723364"/>
              <a:gd name="connsiteY26" fmla="*/ 760302 h 1754322"/>
              <a:gd name="connsiteX27" fmla="*/ 1529280 w 1723364"/>
              <a:gd name="connsiteY27" fmla="*/ 774234 h 1754322"/>
              <a:gd name="connsiteX28" fmla="*/ 1515349 w 1723364"/>
              <a:gd name="connsiteY28" fmla="*/ 791777 h 1754322"/>
              <a:gd name="connsiteX29" fmla="*/ 1521024 w 1723364"/>
              <a:gd name="connsiteY29" fmla="*/ 857306 h 1754322"/>
              <a:gd name="connsiteX30" fmla="*/ 1516380 w 1723364"/>
              <a:gd name="connsiteY30" fmla="*/ 953794 h 1754322"/>
              <a:gd name="connsiteX31" fmla="*/ 1538567 w 1723364"/>
              <a:gd name="connsiteY31" fmla="*/ 983720 h 1754322"/>
              <a:gd name="connsiteX32" fmla="*/ 1653114 w 1723364"/>
              <a:gd name="connsiteY32" fmla="*/ 1001779 h 1754322"/>
              <a:gd name="connsiteX33" fmla="*/ 1700584 w 1723364"/>
              <a:gd name="connsiteY33" fmla="*/ 1024483 h 1754322"/>
              <a:gd name="connsiteX34" fmla="*/ 1719675 w 1723364"/>
              <a:gd name="connsiteY34" fmla="*/ 1067825 h 1754322"/>
              <a:gd name="connsiteX35" fmla="*/ 1661370 w 1723364"/>
              <a:gd name="connsiteY35" fmla="*/ 1243773 h 1754322"/>
              <a:gd name="connsiteX36" fmla="*/ 1641763 w 1723364"/>
              <a:gd name="connsiteY36" fmla="*/ 1255124 h 1754322"/>
              <a:gd name="connsiteX37" fmla="*/ 1541663 w 1723364"/>
              <a:gd name="connsiteY37" fmla="*/ 1226230 h 1754322"/>
              <a:gd name="connsiteX38" fmla="*/ 1461687 w 1723364"/>
              <a:gd name="connsiteY38" fmla="*/ 1184436 h 1754322"/>
              <a:gd name="connsiteX39" fmla="*/ 1444143 w 1723364"/>
              <a:gd name="connsiteY39" fmla="*/ 1189079 h 1754322"/>
              <a:gd name="connsiteX40" fmla="*/ 1339400 w 1723364"/>
              <a:gd name="connsiteY40" fmla="*/ 1333553 h 1754322"/>
              <a:gd name="connsiteX41" fmla="*/ 1339916 w 1723364"/>
              <a:gd name="connsiteY41" fmla="*/ 1353160 h 1754322"/>
              <a:gd name="connsiteX42" fmla="*/ 1430212 w 1723364"/>
              <a:gd name="connsiteY42" fmla="*/ 1443456 h 1754322"/>
              <a:gd name="connsiteX43" fmla="*/ 1465814 w 1723364"/>
              <a:gd name="connsiteY43" fmla="*/ 1511565 h 1754322"/>
              <a:gd name="connsiteX44" fmla="*/ 1461171 w 1723364"/>
              <a:gd name="connsiteY44" fmla="*/ 1521369 h 1754322"/>
              <a:gd name="connsiteX45" fmla="*/ 1290382 w 1723364"/>
              <a:gd name="connsiteY45" fmla="*/ 1645203 h 1754322"/>
              <a:gd name="connsiteX46" fmla="*/ 1275419 w 1723364"/>
              <a:gd name="connsiteY46" fmla="*/ 1643655 h 1754322"/>
              <a:gd name="connsiteX47" fmla="*/ 1207310 w 1723364"/>
              <a:gd name="connsiteY47" fmla="*/ 1558003 h 1754322"/>
              <a:gd name="connsiteX48" fmla="*/ 1167064 w 1723364"/>
              <a:gd name="connsiteY48" fmla="*/ 1477511 h 1754322"/>
              <a:gd name="connsiteX49" fmla="*/ 1150036 w 1723364"/>
              <a:gd name="connsiteY49" fmla="*/ 1470803 h 1754322"/>
              <a:gd name="connsiteX50" fmla="*/ 981312 w 1723364"/>
              <a:gd name="connsiteY50" fmla="*/ 1526013 h 1754322"/>
              <a:gd name="connsiteX51" fmla="*/ 969960 w 1723364"/>
              <a:gd name="connsiteY51" fmla="*/ 1544072 h 1754322"/>
              <a:gd name="connsiteX52" fmla="*/ 989052 w 1723364"/>
              <a:gd name="connsiteY52" fmla="*/ 1663779 h 1754322"/>
              <a:gd name="connsiteX53" fmla="*/ 978216 w 1723364"/>
              <a:gd name="connsiteY53" fmla="*/ 1743755 h 1754322"/>
              <a:gd name="connsiteX54" fmla="*/ 966864 w 1723364"/>
              <a:gd name="connsiteY54" fmla="*/ 1749947 h 1754322"/>
              <a:gd name="connsiteX55" fmla="*/ 758410 w 1723364"/>
              <a:gd name="connsiteY55" fmla="*/ 1749947 h 1754322"/>
              <a:gd name="connsiteX56" fmla="*/ 745510 w 1723364"/>
              <a:gd name="connsiteY56" fmla="*/ 1737047 h 1754322"/>
              <a:gd name="connsiteX57" fmla="*/ 747058 w 1723364"/>
              <a:gd name="connsiteY57" fmla="*/ 1598249 h 1754322"/>
              <a:gd name="connsiteX58" fmla="*/ 756346 w 1723364"/>
              <a:gd name="connsiteY58" fmla="*/ 1543556 h 1754322"/>
              <a:gd name="connsiteX59" fmla="*/ 744478 w 1723364"/>
              <a:gd name="connsiteY59" fmla="*/ 1525496 h 1754322"/>
              <a:gd name="connsiteX60" fmla="*/ 575754 w 1723364"/>
              <a:gd name="connsiteY60" fmla="*/ 1470287 h 1754322"/>
              <a:gd name="connsiteX61" fmla="*/ 559758 w 1723364"/>
              <a:gd name="connsiteY61" fmla="*/ 1475963 h 1754322"/>
              <a:gd name="connsiteX62" fmla="*/ 504549 w 1723364"/>
              <a:gd name="connsiteY62" fmla="*/ 1585350 h 1754322"/>
              <a:gd name="connsiteX63" fmla="*/ 447275 w 1723364"/>
              <a:gd name="connsiteY63" fmla="*/ 1645719 h 1754322"/>
              <a:gd name="connsiteX64" fmla="*/ 434376 w 1723364"/>
              <a:gd name="connsiteY64" fmla="*/ 1643655 h 1754322"/>
              <a:gd name="connsiteX65" fmla="*/ 290418 w 1723364"/>
              <a:gd name="connsiteY65" fmla="*/ 1542008 h 1754322"/>
              <a:gd name="connsiteX66" fmla="*/ 265651 w 1723364"/>
              <a:gd name="connsiteY66" fmla="*/ 1521369 h 1754322"/>
              <a:gd name="connsiteX67" fmla="*/ 262039 w 1723364"/>
              <a:gd name="connsiteY67" fmla="*/ 1505889 h 1754322"/>
              <a:gd name="connsiteX68" fmla="*/ 321893 w 1723364"/>
              <a:gd name="connsiteY68" fmla="*/ 1415593 h 1754322"/>
              <a:gd name="connsiteX69" fmla="*/ 386906 w 1723364"/>
              <a:gd name="connsiteY69" fmla="*/ 1351096 h 1754322"/>
              <a:gd name="connsiteX70" fmla="*/ 387938 w 1723364"/>
              <a:gd name="connsiteY70" fmla="*/ 1334069 h 1754322"/>
              <a:gd name="connsiteX71" fmla="*/ 354915 w 1723364"/>
              <a:gd name="connsiteY71" fmla="*/ 1295887 h 1754322"/>
              <a:gd name="connsiteX72" fmla="*/ 282678 w 1723364"/>
              <a:gd name="connsiteY72" fmla="*/ 1189595 h 1754322"/>
              <a:gd name="connsiteX73" fmla="*/ 262555 w 1723364"/>
              <a:gd name="connsiteY73" fmla="*/ 1183920 h 1754322"/>
              <a:gd name="connsiteX74" fmla="*/ 152136 w 1723364"/>
              <a:gd name="connsiteY74" fmla="*/ 1240161 h 1754322"/>
              <a:gd name="connsiteX75" fmla="*/ 75256 w 1723364"/>
              <a:gd name="connsiteY75" fmla="*/ 1253577 h 1754322"/>
              <a:gd name="connsiteX76" fmla="*/ 65452 w 1723364"/>
              <a:gd name="connsiteY76" fmla="*/ 1245321 h 1754322"/>
              <a:gd name="connsiteX77" fmla="*/ 439 w 1723364"/>
              <a:gd name="connsiteY77" fmla="*/ 1045637 h 1754322"/>
              <a:gd name="connsiteX78" fmla="*/ 7663 w 1723364"/>
              <a:gd name="connsiteY78" fmla="*/ 1031190 h 1754322"/>
              <a:gd name="connsiteX79" fmla="*/ 54101 w 1723364"/>
              <a:gd name="connsiteY79" fmla="*/ 1005907 h 1754322"/>
              <a:gd name="connsiteX80" fmla="*/ 106730 w 1723364"/>
              <a:gd name="connsiteY80" fmla="*/ 994556 h 1754322"/>
              <a:gd name="connsiteX81" fmla="*/ 197026 w 1723364"/>
              <a:gd name="connsiteY81" fmla="*/ 980109 h 1754322"/>
              <a:gd name="connsiteX82" fmla="*/ 209410 w 1723364"/>
              <a:gd name="connsiteY82" fmla="*/ 964113 h 1754322"/>
              <a:gd name="connsiteX83" fmla="*/ 203734 w 1723364"/>
              <a:gd name="connsiteY83" fmla="*/ 897552 h 1754322"/>
              <a:gd name="connsiteX84" fmla="*/ 208378 w 1723364"/>
              <a:gd name="connsiteY84" fmla="*/ 801064 h 1754322"/>
              <a:gd name="connsiteX85" fmla="*/ 185159 w 1723364"/>
              <a:gd name="connsiteY85" fmla="*/ 770622 h 1754322"/>
              <a:gd name="connsiteX86" fmla="*/ 73192 w 1723364"/>
              <a:gd name="connsiteY86" fmla="*/ 753079 h 1754322"/>
              <a:gd name="connsiteX87" fmla="*/ 24690 w 1723364"/>
              <a:gd name="connsiteY87" fmla="*/ 730375 h 1754322"/>
              <a:gd name="connsiteX88" fmla="*/ 5599 w 1723364"/>
              <a:gd name="connsiteY88" fmla="*/ 687033 h 1754322"/>
              <a:gd name="connsiteX89" fmla="*/ 63904 w 1723364"/>
              <a:gd name="connsiteY89" fmla="*/ 511085 h 1754322"/>
              <a:gd name="connsiteX90" fmla="*/ 83511 w 1723364"/>
              <a:gd name="connsiteY90" fmla="*/ 499733 h 1754322"/>
              <a:gd name="connsiteX91" fmla="*/ 183611 w 1723364"/>
              <a:gd name="connsiteY91" fmla="*/ 528628 h 1754322"/>
              <a:gd name="connsiteX92" fmla="*/ 262555 w 1723364"/>
              <a:gd name="connsiteY92" fmla="*/ 569390 h 1754322"/>
              <a:gd name="connsiteX93" fmla="*/ 282163 w 1723364"/>
              <a:gd name="connsiteY93" fmla="*/ 564231 h 1754322"/>
              <a:gd name="connsiteX94" fmla="*/ 386906 w 1723364"/>
              <a:gd name="connsiteY94" fmla="*/ 419757 h 1754322"/>
              <a:gd name="connsiteX95" fmla="*/ 386390 w 1723364"/>
              <a:gd name="connsiteY95" fmla="*/ 402214 h 1754322"/>
              <a:gd name="connsiteX96" fmla="*/ 296094 w 1723364"/>
              <a:gd name="connsiteY96" fmla="*/ 311918 h 1754322"/>
              <a:gd name="connsiteX97" fmla="*/ 259975 w 1723364"/>
              <a:gd name="connsiteY97" fmla="*/ 242777 h 1754322"/>
              <a:gd name="connsiteX98" fmla="*/ 264619 w 1723364"/>
              <a:gd name="connsiteY98" fmla="*/ 232973 h 1754322"/>
              <a:gd name="connsiteX99" fmla="*/ 435408 w 1723364"/>
              <a:gd name="connsiteY99" fmla="*/ 109139 h 1754322"/>
              <a:gd name="connsiteX100" fmla="*/ 450371 w 1723364"/>
              <a:gd name="connsiteY100" fmla="*/ 110687 h 1754322"/>
              <a:gd name="connsiteX101" fmla="*/ 518480 w 1723364"/>
              <a:gd name="connsiteY101" fmla="*/ 196339 h 1754322"/>
              <a:gd name="connsiteX102" fmla="*/ 559758 w 1723364"/>
              <a:gd name="connsiteY102" fmla="*/ 277863 h 1754322"/>
              <a:gd name="connsiteX103" fmla="*/ 574722 w 1723364"/>
              <a:gd name="connsiteY103" fmla="*/ 283539 h 1754322"/>
              <a:gd name="connsiteX104" fmla="*/ 746026 w 1723364"/>
              <a:gd name="connsiteY104" fmla="*/ 227813 h 1754322"/>
              <a:gd name="connsiteX105" fmla="*/ 756346 w 1723364"/>
              <a:gd name="connsiteY105" fmla="*/ 211302 h 1754322"/>
              <a:gd name="connsiteX106" fmla="*/ 737254 w 1723364"/>
              <a:gd name="connsiteY106" fmla="*/ 91596 h 1754322"/>
              <a:gd name="connsiteX107" fmla="*/ 748090 w 1723364"/>
              <a:gd name="connsiteY107" fmla="*/ 10587 h 1754322"/>
              <a:gd name="connsiteX108" fmla="*/ 758410 w 1723364"/>
              <a:gd name="connsiteY108" fmla="*/ 4395 h 1754322"/>
              <a:gd name="connsiteX109" fmla="*/ 879664 w 1723364"/>
              <a:gd name="connsiteY109" fmla="*/ 267 h 1754322"/>
              <a:gd name="connsiteX110" fmla="*/ 861605 w 1723364"/>
              <a:gd name="connsiteY110" fmla="*/ 1409918 h 1754322"/>
              <a:gd name="connsiteX111" fmla="*/ 1392546 w 1723364"/>
              <a:gd name="connsiteY111" fmla="*/ 879493 h 1754322"/>
              <a:gd name="connsiteX112" fmla="*/ 862637 w 1723364"/>
              <a:gd name="connsiteY112" fmla="*/ 348552 h 1754322"/>
              <a:gd name="connsiteX113" fmla="*/ 331180 w 1723364"/>
              <a:gd name="connsiteY113" fmla="*/ 879493 h 1754322"/>
              <a:gd name="connsiteX114" fmla="*/ 861605 w 1723364"/>
              <a:gd name="connsiteY114" fmla="*/ 1409918 h 1754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1723364" h="1754322">
                <a:moveTo>
                  <a:pt x="879664" y="267"/>
                </a:moveTo>
                <a:cubicBezTo>
                  <a:pt x="907527" y="2332"/>
                  <a:pt x="935906" y="4395"/>
                  <a:pt x="964801" y="5943"/>
                </a:cubicBezTo>
                <a:cubicBezTo>
                  <a:pt x="974088" y="6459"/>
                  <a:pt x="976668" y="11103"/>
                  <a:pt x="979248" y="18843"/>
                </a:cubicBezTo>
                <a:cubicBezTo>
                  <a:pt x="994727" y="65797"/>
                  <a:pt x="985956" y="112235"/>
                  <a:pt x="977700" y="158673"/>
                </a:cubicBezTo>
                <a:cubicBezTo>
                  <a:pt x="974604" y="176732"/>
                  <a:pt x="972024" y="195307"/>
                  <a:pt x="968928" y="213366"/>
                </a:cubicBezTo>
                <a:cubicBezTo>
                  <a:pt x="967380" y="222654"/>
                  <a:pt x="969960" y="227813"/>
                  <a:pt x="979764" y="229877"/>
                </a:cubicBezTo>
                <a:cubicBezTo>
                  <a:pt x="1038585" y="240713"/>
                  <a:pt x="1095343" y="259804"/>
                  <a:pt x="1149520" y="285087"/>
                </a:cubicBezTo>
                <a:cubicBezTo>
                  <a:pt x="1158808" y="289215"/>
                  <a:pt x="1162420" y="286119"/>
                  <a:pt x="1166548" y="278379"/>
                </a:cubicBezTo>
                <a:cubicBezTo>
                  <a:pt x="1180995" y="248969"/>
                  <a:pt x="1197506" y="220590"/>
                  <a:pt x="1210406" y="190663"/>
                </a:cubicBezTo>
                <a:cubicBezTo>
                  <a:pt x="1222273" y="163316"/>
                  <a:pt x="1240848" y="142161"/>
                  <a:pt x="1263035" y="123070"/>
                </a:cubicBezTo>
                <a:cubicBezTo>
                  <a:pt x="1282643" y="106043"/>
                  <a:pt x="1282127" y="106559"/>
                  <a:pt x="1304314" y="119458"/>
                </a:cubicBezTo>
                <a:cubicBezTo>
                  <a:pt x="1359523" y="151449"/>
                  <a:pt x="1409573" y="190663"/>
                  <a:pt x="1458075" y="231941"/>
                </a:cubicBezTo>
                <a:cubicBezTo>
                  <a:pt x="1465299" y="238133"/>
                  <a:pt x="1467362" y="243809"/>
                  <a:pt x="1462203" y="251549"/>
                </a:cubicBezTo>
                <a:cubicBezTo>
                  <a:pt x="1461687" y="252064"/>
                  <a:pt x="1461171" y="253096"/>
                  <a:pt x="1461171" y="254128"/>
                </a:cubicBezTo>
                <a:cubicBezTo>
                  <a:pt x="1448271" y="291279"/>
                  <a:pt x="1425052" y="320689"/>
                  <a:pt x="1396158" y="347004"/>
                </a:cubicBezTo>
                <a:cubicBezTo>
                  <a:pt x="1375518" y="365064"/>
                  <a:pt x="1356943" y="385703"/>
                  <a:pt x="1337336" y="404794"/>
                </a:cubicBezTo>
                <a:cubicBezTo>
                  <a:pt x="1332177" y="409954"/>
                  <a:pt x="1330628" y="413565"/>
                  <a:pt x="1336304" y="419757"/>
                </a:cubicBezTo>
                <a:cubicBezTo>
                  <a:pt x="1347656" y="432141"/>
                  <a:pt x="1357459" y="445556"/>
                  <a:pt x="1369327" y="457939"/>
                </a:cubicBezTo>
                <a:cubicBezTo>
                  <a:pt x="1399769" y="489930"/>
                  <a:pt x="1419893" y="528628"/>
                  <a:pt x="1442596" y="565263"/>
                </a:cubicBezTo>
                <a:cubicBezTo>
                  <a:pt x="1448271" y="574550"/>
                  <a:pt x="1452915" y="576098"/>
                  <a:pt x="1462719" y="570938"/>
                </a:cubicBezTo>
                <a:cubicBezTo>
                  <a:pt x="1499353" y="551847"/>
                  <a:pt x="1535988" y="533272"/>
                  <a:pt x="1573138" y="514697"/>
                </a:cubicBezTo>
                <a:cubicBezTo>
                  <a:pt x="1597389" y="502830"/>
                  <a:pt x="1624220" y="504893"/>
                  <a:pt x="1650018" y="501281"/>
                </a:cubicBezTo>
                <a:cubicBezTo>
                  <a:pt x="1655694" y="500250"/>
                  <a:pt x="1658274" y="505409"/>
                  <a:pt x="1659822" y="509537"/>
                </a:cubicBezTo>
                <a:cubicBezTo>
                  <a:pt x="1687685" y="574034"/>
                  <a:pt x="1709872" y="640595"/>
                  <a:pt x="1724835" y="709220"/>
                </a:cubicBezTo>
                <a:cubicBezTo>
                  <a:pt x="1726383" y="716444"/>
                  <a:pt x="1723803" y="720572"/>
                  <a:pt x="1717611" y="723668"/>
                </a:cubicBezTo>
                <a:cubicBezTo>
                  <a:pt x="1702132" y="731923"/>
                  <a:pt x="1686653" y="740695"/>
                  <a:pt x="1671173" y="748950"/>
                </a:cubicBezTo>
                <a:cubicBezTo>
                  <a:pt x="1654662" y="757722"/>
                  <a:pt x="1636087" y="757206"/>
                  <a:pt x="1618544" y="760302"/>
                </a:cubicBezTo>
                <a:cubicBezTo>
                  <a:pt x="1589133" y="765462"/>
                  <a:pt x="1559207" y="770106"/>
                  <a:pt x="1529280" y="774234"/>
                </a:cubicBezTo>
                <a:cubicBezTo>
                  <a:pt x="1517412" y="775781"/>
                  <a:pt x="1514316" y="780941"/>
                  <a:pt x="1515349" y="791777"/>
                </a:cubicBezTo>
                <a:cubicBezTo>
                  <a:pt x="1517412" y="813448"/>
                  <a:pt x="1518444" y="835635"/>
                  <a:pt x="1521024" y="857306"/>
                </a:cubicBezTo>
                <a:cubicBezTo>
                  <a:pt x="1524636" y="889813"/>
                  <a:pt x="1518960" y="921803"/>
                  <a:pt x="1516380" y="953794"/>
                </a:cubicBezTo>
                <a:cubicBezTo>
                  <a:pt x="1514316" y="980109"/>
                  <a:pt x="1513284" y="980109"/>
                  <a:pt x="1538567" y="983720"/>
                </a:cubicBezTo>
                <a:cubicBezTo>
                  <a:pt x="1576750" y="989912"/>
                  <a:pt x="1614932" y="995588"/>
                  <a:pt x="1653114" y="1001779"/>
                </a:cubicBezTo>
                <a:cubicBezTo>
                  <a:pt x="1671173" y="1004875"/>
                  <a:pt x="1685105" y="1016227"/>
                  <a:pt x="1700584" y="1024483"/>
                </a:cubicBezTo>
                <a:cubicBezTo>
                  <a:pt x="1726899" y="1038414"/>
                  <a:pt x="1725867" y="1038930"/>
                  <a:pt x="1719675" y="1067825"/>
                </a:cubicBezTo>
                <a:cubicBezTo>
                  <a:pt x="1706260" y="1128710"/>
                  <a:pt x="1685105" y="1186500"/>
                  <a:pt x="1661370" y="1243773"/>
                </a:cubicBezTo>
                <a:cubicBezTo>
                  <a:pt x="1657242" y="1253577"/>
                  <a:pt x="1651566" y="1256157"/>
                  <a:pt x="1641763" y="1255124"/>
                </a:cubicBezTo>
                <a:cubicBezTo>
                  <a:pt x="1606160" y="1252028"/>
                  <a:pt x="1572622" y="1244805"/>
                  <a:pt x="1541663" y="1226230"/>
                </a:cubicBezTo>
                <a:cubicBezTo>
                  <a:pt x="1515864" y="1210750"/>
                  <a:pt x="1488001" y="1198883"/>
                  <a:pt x="1461687" y="1184436"/>
                </a:cubicBezTo>
                <a:cubicBezTo>
                  <a:pt x="1453947" y="1180308"/>
                  <a:pt x="1448787" y="1180308"/>
                  <a:pt x="1444143" y="1189079"/>
                </a:cubicBezTo>
                <a:cubicBezTo>
                  <a:pt x="1415249" y="1241709"/>
                  <a:pt x="1380162" y="1290211"/>
                  <a:pt x="1339400" y="1333553"/>
                </a:cubicBezTo>
                <a:cubicBezTo>
                  <a:pt x="1332177" y="1341293"/>
                  <a:pt x="1332177" y="1345936"/>
                  <a:pt x="1339916" y="1353160"/>
                </a:cubicBezTo>
                <a:cubicBezTo>
                  <a:pt x="1370359" y="1382571"/>
                  <a:pt x="1400801" y="1412498"/>
                  <a:pt x="1430212" y="1443456"/>
                </a:cubicBezTo>
                <a:cubicBezTo>
                  <a:pt x="1448271" y="1462547"/>
                  <a:pt x="1453947" y="1488862"/>
                  <a:pt x="1465814" y="1511565"/>
                </a:cubicBezTo>
                <a:cubicBezTo>
                  <a:pt x="1467879" y="1515693"/>
                  <a:pt x="1464267" y="1518789"/>
                  <a:pt x="1461171" y="1521369"/>
                </a:cubicBezTo>
                <a:cubicBezTo>
                  <a:pt x="1408025" y="1568323"/>
                  <a:pt x="1351784" y="1610117"/>
                  <a:pt x="1290382" y="1645203"/>
                </a:cubicBezTo>
                <a:cubicBezTo>
                  <a:pt x="1284707" y="1648815"/>
                  <a:pt x="1280579" y="1648299"/>
                  <a:pt x="1275419" y="1643655"/>
                </a:cubicBezTo>
                <a:cubicBezTo>
                  <a:pt x="1247040" y="1619404"/>
                  <a:pt x="1221757" y="1593606"/>
                  <a:pt x="1207310" y="1558003"/>
                </a:cubicBezTo>
                <a:cubicBezTo>
                  <a:pt x="1195958" y="1530140"/>
                  <a:pt x="1179963" y="1504341"/>
                  <a:pt x="1167064" y="1477511"/>
                </a:cubicBezTo>
                <a:cubicBezTo>
                  <a:pt x="1162936" y="1469255"/>
                  <a:pt x="1158808" y="1467191"/>
                  <a:pt x="1150036" y="1470803"/>
                </a:cubicBezTo>
                <a:cubicBezTo>
                  <a:pt x="1096375" y="1496086"/>
                  <a:pt x="1040133" y="1514661"/>
                  <a:pt x="981312" y="1526013"/>
                </a:cubicBezTo>
                <a:cubicBezTo>
                  <a:pt x="969960" y="1528076"/>
                  <a:pt x="967896" y="1534268"/>
                  <a:pt x="969960" y="1544072"/>
                </a:cubicBezTo>
                <a:cubicBezTo>
                  <a:pt x="976668" y="1583802"/>
                  <a:pt x="982860" y="1623532"/>
                  <a:pt x="989052" y="1663779"/>
                </a:cubicBezTo>
                <a:cubicBezTo>
                  <a:pt x="993179" y="1691641"/>
                  <a:pt x="982344" y="1716924"/>
                  <a:pt x="978216" y="1743755"/>
                </a:cubicBezTo>
                <a:cubicBezTo>
                  <a:pt x="977184" y="1749431"/>
                  <a:pt x="971508" y="1749431"/>
                  <a:pt x="966864" y="1749947"/>
                </a:cubicBezTo>
                <a:cubicBezTo>
                  <a:pt x="897207" y="1757170"/>
                  <a:pt x="828067" y="1756655"/>
                  <a:pt x="758410" y="1749947"/>
                </a:cubicBezTo>
                <a:cubicBezTo>
                  <a:pt x="749638" y="1748915"/>
                  <a:pt x="748090" y="1744271"/>
                  <a:pt x="745510" y="1737047"/>
                </a:cubicBezTo>
                <a:cubicBezTo>
                  <a:pt x="730031" y="1690609"/>
                  <a:pt x="738286" y="1644687"/>
                  <a:pt x="747058" y="1598249"/>
                </a:cubicBezTo>
                <a:cubicBezTo>
                  <a:pt x="750154" y="1580190"/>
                  <a:pt x="752734" y="1561615"/>
                  <a:pt x="756346" y="1543556"/>
                </a:cubicBezTo>
                <a:cubicBezTo>
                  <a:pt x="758410" y="1533236"/>
                  <a:pt x="755314" y="1527560"/>
                  <a:pt x="744478" y="1525496"/>
                </a:cubicBezTo>
                <a:cubicBezTo>
                  <a:pt x="685657" y="1514661"/>
                  <a:pt x="629931" y="1496086"/>
                  <a:pt x="575754" y="1470287"/>
                </a:cubicBezTo>
                <a:cubicBezTo>
                  <a:pt x="568014" y="1466675"/>
                  <a:pt x="563886" y="1467707"/>
                  <a:pt x="559758" y="1475963"/>
                </a:cubicBezTo>
                <a:cubicBezTo>
                  <a:pt x="541699" y="1512597"/>
                  <a:pt x="522608" y="1548715"/>
                  <a:pt x="504549" y="1585350"/>
                </a:cubicBezTo>
                <a:cubicBezTo>
                  <a:pt x="491649" y="1611149"/>
                  <a:pt x="466882" y="1626112"/>
                  <a:pt x="447275" y="1645719"/>
                </a:cubicBezTo>
                <a:cubicBezTo>
                  <a:pt x="442631" y="1650363"/>
                  <a:pt x="438504" y="1646235"/>
                  <a:pt x="434376" y="1643655"/>
                </a:cubicBezTo>
                <a:cubicBezTo>
                  <a:pt x="384326" y="1612697"/>
                  <a:pt x="334276" y="1581738"/>
                  <a:pt x="290418" y="1542008"/>
                </a:cubicBezTo>
                <a:cubicBezTo>
                  <a:pt x="282678" y="1534784"/>
                  <a:pt x="273907" y="1528076"/>
                  <a:pt x="265651" y="1521369"/>
                </a:cubicBezTo>
                <a:cubicBezTo>
                  <a:pt x="259975" y="1516725"/>
                  <a:pt x="259459" y="1512597"/>
                  <a:pt x="262039" y="1505889"/>
                </a:cubicBezTo>
                <a:cubicBezTo>
                  <a:pt x="276487" y="1472351"/>
                  <a:pt x="292998" y="1440360"/>
                  <a:pt x="321893" y="1415593"/>
                </a:cubicBezTo>
                <a:cubicBezTo>
                  <a:pt x="345112" y="1395986"/>
                  <a:pt x="365235" y="1372767"/>
                  <a:pt x="386906" y="1351096"/>
                </a:cubicBezTo>
                <a:cubicBezTo>
                  <a:pt x="393098" y="1345421"/>
                  <a:pt x="394129" y="1341293"/>
                  <a:pt x="387938" y="1334069"/>
                </a:cubicBezTo>
                <a:cubicBezTo>
                  <a:pt x="376586" y="1321685"/>
                  <a:pt x="366783" y="1308270"/>
                  <a:pt x="354915" y="1295887"/>
                </a:cubicBezTo>
                <a:cubicBezTo>
                  <a:pt x="324989" y="1264412"/>
                  <a:pt x="305382" y="1225714"/>
                  <a:pt x="282678" y="1189595"/>
                </a:cubicBezTo>
                <a:cubicBezTo>
                  <a:pt x="277003" y="1180308"/>
                  <a:pt x="272359" y="1178760"/>
                  <a:pt x="262555" y="1183920"/>
                </a:cubicBezTo>
                <a:cubicBezTo>
                  <a:pt x="225921" y="1203011"/>
                  <a:pt x="189287" y="1221586"/>
                  <a:pt x="152136" y="1240161"/>
                </a:cubicBezTo>
                <a:cubicBezTo>
                  <a:pt x="127885" y="1252545"/>
                  <a:pt x="101054" y="1249965"/>
                  <a:pt x="75256" y="1253577"/>
                </a:cubicBezTo>
                <a:cubicBezTo>
                  <a:pt x="69580" y="1254608"/>
                  <a:pt x="67000" y="1249965"/>
                  <a:pt x="65452" y="1245321"/>
                </a:cubicBezTo>
                <a:cubicBezTo>
                  <a:pt x="37589" y="1180824"/>
                  <a:pt x="15402" y="1114263"/>
                  <a:pt x="439" y="1045637"/>
                </a:cubicBezTo>
                <a:cubicBezTo>
                  <a:pt x="-1109" y="1038414"/>
                  <a:pt x="1471" y="1034286"/>
                  <a:pt x="7663" y="1031190"/>
                </a:cubicBezTo>
                <a:cubicBezTo>
                  <a:pt x="23142" y="1022935"/>
                  <a:pt x="38621" y="1014163"/>
                  <a:pt x="54101" y="1005907"/>
                </a:cubicBezTo>
                <a:cubicBezTo>
                  <a:pt x="70612" y="997136"/>
                  <a:pt x="89187" y="997652"/>
                  <a:pt x="106730" y="994556"/>
                </a:cubicBezTo>
                <a:cubicBezTo>
                  <a:pt x="136657" y="989396"/>
                  <a:pt x="167099" y="984236"/>
                  <a:pt x="197026" y="980109"/>
                </a:cubicBezTo>
                <a:cubicBezTo>
                  <a:pt x="207346" y="978560"/>
                  <a:pt x="210442" y="973917"/>
                  <a:pt x="209410" y="964113"/>
                </a:cubicBezTo>
                <a:cubicBezTo>
                  <a:pt x="207346" y="941926"/>
                  <a:pt x="206314" y="919739"/>
                  <a:pt x="203734" y="897552"/>
                </a:cubicBezTo>
                <a:cubicBezTo>
                  <a:pt x="200122" y="865045"/>
                  <a:pt x="205798" y="833055"/>
                  <a:pt x="208378" y="801064"/>
                </a:cubicBezTo>
                <a:cubicBezTo>
                  <a:pt x="210442" y="774749"/>
                  <a:pt x="211474" y="774749"/>
                  <a:pt x="185159" y="770622"/>
                </a:cubicBezTo>
                <a:cubicBezTo>
                  <a:pt x="148009" y="764430"/>
                  <a:pt x="110342" y="758754"/>
                  <a:pt x="73192" y="753079"/>
                </a:cubicBezTo>
                <a:cubicBezTo>
                  <a:pt x="54616" y="750499"/>
                  <a:pt x="40169" y="738631"/>
                  <a:pt x="24690" y="730375"/>
                </a:cubicBezTo>
                <a:cubicBezTo>
                  <a:pt x="-1625" y="715928"/>
                  <a:pt x="-593" y="715928"/>
                  <a:pt x="5599" y="687033"/>
                </a:cubicBezTo>
                <a:cubicBezTo>
                  <a:pt x="19014" y="626148"/>
                  <a:pt x="40169" y="568358"/>
                  <a:pt x="63904" y="511085"/>
                </a:cubicBezTo>
                <a:cubicBezTo>
                  <a:pt x="68032" y="501281"/>
                  <a:pt x="73192" y="498701"/>
                  <a:pt x="83511" y="499733"/>
                </a:cubicBezTo>
                <a:cubicBezTo>
                  <a:pt x="119114" y="502830"/>
                  <a:pt x="152652" y="510053"/>
                  <a:pt x="183611" y="528628"/>
                </a:cubicBezTo>
                <a:cubicBezTo>
                  <a:pt x="208894" y="543592"/>
                  <a:pt x="236241" y="555459"/>
                  <a:pt x="262555" y="569390"/>
                </a:cubicBezTo>
                <a:cubicBezTo>
                  <a:pt x="271327" y="574034"/>
                  <a:pt x="277003" y="574034"/>
                  <a:pt x="282163" y="564231"/>
                </a:cubicBezTo>
                <a:cubicBezTo>
                  <a:pt x="311057" y="511601"/>
                  <a:pt x="346144" y="463615"/>
                  <a:pt x="386906" y="419757"/>
                </a:cubicBezTo>
                <a:cubicBezTo>
                  <a:pt x="393614" y="412534"/>
                  <a:pt x="393098" y="408922"/>
                  <a:pt x="386390" y="402214"/>
                </a:cubicBezTo>
                <a:cubicBezTo>
                  <a:pt x="355947" y="372287"/>
                  <a:pt x="325505" y="342360"/>
                  <a:pt x="296094" y="311918"/>
                </a:cubicBezTo>
                <a:cubicBezTo>
                  <a:pt x="277519" y="292827"/>
                  <a:pt x="271843" y="265996"/>
                  <a:pt x="259975" y="242777"/>
                </a:cubicBezTo>
                <a:cubicBezTo>
                  <a:pt x="257912" y="238649"/>
                  <a:pt x="261524" y="235553"/>
                  <a:pt x="264619" y="232973"/>
                </a:cubicBezTo>
                <a:cubicBezTo>
                  <a:pt x="317765" y="186019"/>
                  <a:pt x="374007" y="144225"/>
                  <a:pt x="435408" y="109139"/>
                </a:cubicBezTo>
                <a:cubicBezTo>
                  <a:pt x="441084" y="105527"/>
                  <a:pt x="445211" y="106043"/>
                  <a:pt x="450371" y="110687"/>
                </a:cubicBezTo>
                <a:cubicBezTo>
                  <a:pt x="478750" y="134937"/>
                  <a:pt x="504033" y="160736"/>
                  <a:pt x="518480" y="196339"/>
                </a:cubicBezTo>
                <a:cubicBezTo>
                  <a:pt x="530348" y="224202"/>
                  <a:pt x="545827" y="250516"/>
                  <a:pt x="559758" y="277863"/>
                </a:cubicBezTo>
                <a:cubicBezTo>
                  <a:pt x="563370" y="285087"/>
                  <a:pt x="566982" y="287151"/>
                  <a:pt x="574722" y="283539"/>
                </a:cubicBezTo>
                <a:cubicBezTo>
                  <a:pt x="629415" y="257740"/>
                  <a:pt x="686173" y="238649"/>
                  <a:pt x="746026" y="227813"/>
                </a:cubicBezTo>
                <a:cubicBezTo>
                  <a:pt x="756346" y="225750"/>
                  <a:pt x="757893" y="220074"/>
                  <a:pt x="756346" y="211302"/>
                </a:cubicBezTo>
                <a:cubicBezTo>
                  <a:pt x="749638" y="171572"/>
                  <a:pt x="743446" y="131326"/>
                  <a:pt x="737254" y="91596"/>
                </a:cubicBezTo>
                <a:cubicBezTo>
                  <a:pt x="732611" y="63217"/>
                  <a:pt x="743446" y="37418"/>
                  <a:pt x="748090" y="10587"/>
                </a:cubicBezTo>
                <a:cubicBezTo>
                  <a:pt x="749122" y="5427"/>
                  <a:pt x="753766" y="4395"/>
                  <a:pt x="758410" y="4395"/>
                </a:cubicBezTo>
                <a:cubicBezTo>
                  <a:pt x="797624" y="4395"/>
                  <a:pt x="837870" y="-1280"/>
                  <a:pt x="879664" y="267"/>
                </a:cubicBezTo>
                <a:close/>
                <a:moveTo>
                  <a:pt x="861605" y="1409918"/>
                </a:moveTo>
                <a:cubicBezTo>
                  <a:pt x="1155712" y="1407338"/>
                  <a:pt x="1392030" y="1176180"/>
                  <a:pt x="1392546" y="879493"/>
                </a:cubicBezTo>
                <a:cubicBezTo>
                  <a:pt x="1393062" y="585902"/>
                  <a:pt x="1160356" y="349068"/>
                  <a:pt x="862637" y="348552"/>
                </a:cubicBezTo>
                <a:cubicBezTo>
                  <a:pt x="568014" y="348036"/>
                  <a:pt x="331180" y="581774"/>
                  <a:pt x="331180" y="879493"/>
                </a:cubicBezTo>
                <a:cubicBezTo>
                  <a:pt x="331180" y="1173600"/>
                  <a:pt x="565950" y="1406822"/>
                  <a:pt x="861605" y="1409918"/>
                </a:cubicBezTo>
                <a:close/>
              </a:path>
            </a:pathLst>
          </a:custGeom>
          <a:solidFill>
            <a:schemeClr val="bg1">
              <a:alpha val="5000"/>
            </a:schemeClr>
          </a:solidFill>
          <a:ln w="51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05F296A9-A09A-48BD-A24C-EBADEB320079}"/>
              </a:ext>
            </a:extLst>
          </p:cNvPr>
          <p:cNvSpPr/>
          <p:nvPr/>
        </p:nvSpPr>
        <p:spPr>
          <a:xfrm rot="2246763">
            <a:off x="322349" y="3332008"/>
            <a:ext cx="1218879" cy="1218879"/>
          </a:xfrm>
          <a:custGeom>
            <a:avLst/>
            <a:gdLst>
              <a:gd name="connsiteX0" fmla="*/ 894776 w 1774962"/>
              <a:gd name="connsiteY0" fmla="*/ 1775736 h 1774962"/>
              <a:gd name="connsiteX1" fmla="*/ 852466 w 1774962"/>
              <a:gd name="connsiteY1" fmla="*/ 1775736 h 1774962"/>
              <a:gd name="connsiteX2" fmla="*/ 839567 w 1774962"/>
              <a:gd name="connsiteY2" fmla="*/ 1764901 h 1774962"/>
              <a:gd name="connsiteX3" fmla="*/ 819960 w 1774962"/>
              <a:gd name="connsiteY3" fmla="*/ 1666349 h 1774962"/>
              <a:gd name="connsiteX4" fmla="*/ 822024 w 1774962"/>
              <a:gd name="connsiteY4" fmla="*/ 1636938 h 1774962"/>
              <a:gd name="connsiteX5" fmla="*/ 811704 w 1774962"/>
              <a:gd name="connsiteY5" fmla="*/ 1623523 h 1774962"/>
              <a:gd name="connsiteX6" fmla="*/ 695093 w 1774962"/>
              <a:gd name="connsiteY6" fmla="*/ 1601852 h 1774962"/>
              <a:gd name="connsiteX7" fmla="*/ 680130 w 1774962"/>
              <a:gd name="connsiteY7" fmla="*/ 1610623 h 1774962"/>
              <a:gd name="connsiteX8" fmla="*/ 615116 w 1774962"/>
              <a:gd name="connsiteY8" fmla="*/ 1727234 h 1774962"/>
              <a:gd name="connsiteX9" fmla="*/ 603765 w 1774962"/>
              <a:gd name="connsiteY9" fmla="*/ 1730330 h 1774962"/>
              <a:gd name="connsiteX10" fmla="*/ 512953 w 1774962"/>
              <a:gd name="connsiteY10" fmla="*/ 1694212 h 1774962"/>
              <a:gd name="connsiteX11" fmla="*/ 507277 w 1774962"/>
              <a:gd name="connsiteY11" fmla="*/ 1681828 h 1774962"/>
              <a:gd name="connsiteX12" fmla="*/ 527400 w 1774962"/>
              <a:gd name="connsiteY12" fmla="*/ 1583277 h 1774962"/>
              <a:gd name="connsiteX13" fmla="*/ 541848 w 1774962"/>
              <a:gd name="connsiteY13" fmla="*/ 1552834 h 1774962"/>
              <a:gd name="connsiteX14" fmla="*/ 537720 w 1774962"/>
              <a:gd name="connsiteY14" fmla="*/ 1539418 h 1774962"/>
              <a:gd name="connsiteX15" fmla="*/ 435041 w 1774962"/>
              <a:gd name="connsiteY15" fmla="*/ 1472857 h 1774962"/>
              <a:gd name="connsiteX16" fmla="*/ 420593 w 1774962"/>
              <a:gd name="connsiteY16" fmla="*/ 1474921 h 1774962"/>
              <a:gd name="connsiteX17" fmla="*/ 315334 w 1774962"/>
              <a:gd name="connsiteY17" fmla="*/ 1559026 h 1774962"/>
              <a:gd name="connsiteX18" fmla="*/ 302950 w 1774962"/>
              <a:gd name="connsiteY18" fmla="*/ 1557478 h 1774962"/>
              <a:gd name="connsiteX19" fmla="*/ 233809 w 1774962"/>
              <a:gd name="connsiteY19" fmla="*/ 1490401 h 1774962"/>
              <a:gd name="connsiteX20" fmla="*/ 232777 w 1774962"/>
              <a:gd name="connsiteY20" fmla="*/ 1476985 h 1774962"/>
              <a:gd name="connsiteX21" fmla="*/ 289019 w 1774962"/>
              <a:gd name="connsiteY21" fmla="*/ 1393397 h 1774962"/>
              <a:gd name="connsiteX22" fmla="*/ 312754 w 1774962"/>
              <a:gd name="connsiteY22" fmla="*/ 1371726 h 1774962"/>
              <a:gd name="connsiteX23" fmla="*/ 314818 w 1774962"/>
              <a:gd name="connsiteY23" fmla="*/ 1355731 h 1774962"/>
              <a:gd name="connsiteX24" fmla="*/ 246193 w 1774962"/>
              <a:gd name="connsiteY24" fmla="*/ 1255631 h 1774962"/>
              <a:gd name="connsiteX25" fmla="*/ 230713 w 1774962"/>
              <a:gd name="connsiteY25" fmla="*/ 1253051 h 1774962"/>
              <a:gd name="connsiteX26" fmla="*/ 102751 w 1774962"/>
              <a:gd name="connsiteY26" fmla="*/ 1289685 h 1774962"/>
              <a:gd name="connsiteX27" fmla="*/ 91916 w 1774962"/>
              <a:gd name="connsiteY27" fmla="*/ 1282978 h 1774962"/>
              <a:gd name="connsiteX28" fmla="*/ 53733 w 1774962"/>
              <a:gd name="connsiteY28" fmla="*/ 1194230 h 1774962"/>
              <a:gd name="connsiteX29" fmla="*/ 58377 w 1774962"/>
              <a:gd name="connsiteY29" fmla="*/ 1181330 h 1774962"/>
              <a:gd name="connsiteX30" fmla="*/ 142481 w 1774962"/>
              <a:gd name="connsiteY30" fmla="*/ 1125605 h 1774962"/>
              <a:gd name="connsiteX31" fmla="*/ 173956 w 1774962"/>
              <a:gd name="connsiteY31" fmla="*/ 1114253 h 1774962"/>
              <a:gd name="connsiteX32" fmla="*/ 180664 w 1774962"/>
              <a:gd name="connsiteY32" fmla="*/ 1101870 h 1774962"/>
              <a:gd name="connsiteX33" fmla="*/ 154865 w 1774962"/>
              <a:gd name="connsiteY33" fmla="*/ 981131 h 1774962"/>
              <a:gd name="connsiteX34" fmla="*/ 144029 w 1774962"/>
              <a:gd name="connsiteY34" fmla="*/ 973391 h 1774962"/>
              <a:gd name="connsiteX35" fmla="*/ 10391 w 1774962"/>
              <a:gd name="connsiteY35" fmla="*/ 958428 h 1774962"/>
              <a:gd name="connsiteX36" fmla="*/ 2135 w 1774962"/>
              <a:gd name="connsiteY36" fmla="*/ 948624 h 1774962"/>
              <a:gd name="connsiteX37" fmla="*/ 588 w 1774962"/>
              <a:gd name="connsiteY37" fmla="*/ 850589 h 1774962"/>
              <a:gd name="connsiteX38" fmla="*/ 10391 w 1774962"/>
              <a:gd name="connsiteY38" fmla="*/ 840785 h 1774962"/>
              <a:gd name="connsiteX39" fmla="*/ 110491 w 1774962"/>
              <a:gd name="connsiteY39" fmla="*/ 820662 h 1774962"/>
              <a:gd name="connsiteX40" fmla="*/ 139901 w 1774962"/>
              <a:gd name="connsiteY40" fmla="*/ 822726 h 1774962"/>
              <a:gd name="connsiteX41" fmla="*/ 153317 w 1774962"/>
              <a:gd name="connsiteY41" fmla="*/ 811890 h 1774962"/>
              <a:gd name="connsiteX42" fmla="*/ 174472 w 1774962"/>
              <a:gd name="connsiteY42" fmla="*/ 696827 h 1774962"/>
              <a:gd name="connsiteX43" fmla="*/ 164152 w 1774962"/>
              <a:gd name="connsiteY43" fmla="*/ 680316 h 1774962"/>
              <a:gd name="connsiteX44" fmla="*/ 49090 w 1774962"/>
              <a:gd name="connsiteY44" fmla="*/ 615819 h 1774962"/>
              <a:gd name="connsiteX45" fmla="*/ 45993 w 1774962"/>
              <a:gd name="connsiteY45" fmla="*/ 606015 h 1774962"/>
              <a:gd name="connsiteX46" fmla="*/ 82628 w 1774962"/>
              <a:gd name="connsiteY46" fmla="*/ 513655 h 1774962"/>
              <a:gd name="connsiteX47" fmla="*/ 93979 w 1774962"/>
              <a:gd name="connsiteY47" fmla="*/ 508496 h 1774962"/>
              <a:gd name="connsiteX48" fmla="*/ 224006 w 1774962"/>
              <a:gd name="connsiteY48" fmla="*/ 543066 h 1774962"/>
              <a:gd name="connsiteX49" fmla="*/ 236905 w 1774962"/>
              <a:gd name="connsiteY49" fmla="*/ 538938 h 1774962"/>
              <a:gd name="connsiteX50" fmla="*/ 302434 w 1774962"/>
              <a:gd name="connsiteY50" fmla="*/ 437291 h 1774962"/>
              <a:gd name="connsiteX51" fmla="*/ 302950 w 1774962"/>
              <a:gd name="connsiteY51" fmla="*/ 423359 h 1774962"/>
              <a:gd name="connsiteX52" fmla="*/ 238453 w 1774962"/>
              <a:gd name="connsiteY52" fmla="*/ 346995 h 1774962"/>
              <a:gd name="connsiteX53" fmla="*/ 228650 w 1774962"/>
              <a:gd name="connsiteY53" fmla="*/ 333063 h 1774962"/>
              <a:gd name="connsiteX54" fmla="*/ 230713 w 1774962"/>
              <a:gd name="connsiteY54" fmla="*/ 290237 h 1774962"/>
              <a:gd name="connsiteX55" fmla="*/ 283859 w 1774962"/>
              <a:gd name="connsiteY55" fmla="*/ 236060 h 1774962"/>
              <a:gd name="connsiteX56" fmla="*/ 300370 w 1774962"/>
              <a:gd name="connsiteY56" fmla="*/ 234512 h 1774962"/>
              <a:gd name="connsiteX57" fmla="*/ 380863 w 1774962"/>
              <a:gd name="connsiteY57" fmla="*/ 288173 h 1774962"/>
              <a:gd name="connsiteX58" fmla="*/ 403050 w 1774962"/>
              <a:gd name="connsiteY58" fmla="*/ 311392 h 1774962"/>
              <a:gd name="connsiteX59" fmla="*/ 422141 w 1774962"/>
              <a:gd name="connsiteY59" fmla="*/ 313972 h 1774962"/>
              <a:gd name="connsiteX60" fmla="*/ 519661 w 1774962"/>
              <a:gd name="connsiteY60" fmla="*/ 246895 h 1774962"/>
              <a:gd name="connsiteX61" fmla="*/ 524820 w 1774962"/>
              <a:gd name="connsiteY61" fmla="*/ 233996 h 1774962"/>
              <a:gd name="connsiteX62" fmla="*/ 492314 w 1774962"/>
              <a:gd name="connsiteY62" fmla="*/ 127704 h 1774962"/>
              <a:gd name="connsiteX63" fmla="*/ 514501 w 1774962"/>
              <a:gd name="connsiteY63" fmla="*/ 82298 h 1774962"/>
              <a:gd name="connsiteX64" fmla="*/ 578482 w 1774962"/>
              <a:gd name="connsiteY64" fmla="*/ 55468 h 1774962"/>
              <a:gd name="connsiteX65" fmla="*/ 595509 w 1774962"/>
              <a:gd name="connsiteY65" fmla="*/ 60111 h 1774962"/>
              <a:gd name="connsiteX66" fmla="*/ 648655 w 1774962"/>
              <a:gd name="connsiteY66" fmla="*/ 139572 h 1774962"/>
              <a:gd name="connsiteX67" fmla="*/ 661039 w 1774962"/>
              <a:gd name="connsiteY67" fmla="*/ 172078 h 1774962"/>
              <a:gd name="connsiteX68" fmla="*/ 675486 w 1774962"/>
              <a:gd name="connsiteY68" fmla="*/ 180334 h 1774962"/>
              <a:gd name="connsiteX69" fmla="*/ 792613 w 1774962"/>
              <a:gd name="connsiteY69" fmla="*/ 155567 h 1774962"/>
              <a:gd name="connsiteX70" fmla="*/ 801900 w 1774962"/>
              <a:gd name="connsiteY70" fmla="*/ 143700 h 1774962"/>
              <a:gd name="connsiteX71" fmla="*/ 816864 w 1774962"/>
              <a:gd name="connsiteY71" fmla="*/ 11094 h 1774962"/>
              <a:gd name="connsiteX72" fmla="*/ 826151 w 1774962"/>
              <a:gd name="connsiteY72" fmla="*/ 2322 h 1774962"/>
              <a:gd name="connsiteX73" fmla="*/ 925219 w 1774962"/>
              <a:gd name="connsiteY73" fmla="*/ 774 h 1774962"/>
              <a:gd name="connsiteX74" fmla="*/ 934507 w 1774962"/>
              <a:gd name="connsiteY74" fmla="*/ 10062 h 1774962"/>
              <a:gd name="connsiteX75" fmla="*/ 954114 w 1774962"/>
              <a:gd name="connsiteY75" fmla="*/ 111193 h 1774962"/>
              <a:gd name="connsiteX76" fmla="*/ 952050 w 1774962"/>
              <a:gd name="connsiteY76" fmla="*/ 140604 h 1774962"/>
              <a:gd name="connsiteX77" fmla="*/ 962369 w 1774962"/>
              <a:gd name="connsiteY77" fmla="*/ 152987 h 1774962"/>
              <a:gd name="connsiteX78" fmla="*/ 1078980 w 1774962"/>
              <a:gd name="connsiteY78" fmla="*/ 174658 h 1774962"/>
              <a:gd name="connsiteX79" fmla="*/ 1093428 w 1774962"/>
              <a:gd name="connsiteY79" fmla="*/ 168467 h 1774962"/>
              <a:gd name="connsiteX80" fmla="*/ 1147089 w 1774962"/>
              <a:gd name="connsiteY80" fmla="*/ 69399 h 1774962"/>
              <a:gd name="connsiteX81" fmla="*/ 1192495 w 1774962"/>
              <a:gd name="connsiteY81" fmla="*/ 54436 h 1774962"/>
              <a:gd name="connsiteX82" fmla="*/ 1258024 w 1774962"/>
              <a:gd name="connsiteY82" fmla="*/ 81266 h 1774962"/>
              <a:gd name="connsiteX83" fmla="*/ 1267312 w 1774962"/>
              <a:gd name="connsiteY83" fmla="*/ 96746 h 1774962"/>
              <a:gd name="connsiteX84" fmla="*/ 1247705 w 1774962"/>
              <a:gd name="connsiteY84" fmla="*/ 192718 h 1774962"/>
              <a:gd name="connsiteX85" fmla="*/ 1233258 w 1774962"/>
              <a:gd name="connsiteY85" fmla="*/ 224192 h 1774962"/>
              <a:gd name="connsiteX86" fmla="*/ 1237385 w 1774962"/>
              <a:gd name="connsiteY86" fmla="*/ 237608 h 1774962"/>
              <a:gd name="connsiteX87" fmla="*/ 1340065 w 1774962"/>
              <a:gd name="connsiteY87" fmla="*/ 304169 h 1774962"/>
              <a:gd name="connsiteX88" fmla="*/ 1354512 w 1774962"/>
              <a:gd name="connsiteY88" fmla="*/ 302621 h 1774962"/>
              <a:gd name="connsiteX89" fmla="*/ 1459771 w 1774962"/>
              <a:gd name="connsiteY89" fmla="*/ 218516 h 1774962"/>
              <a:gd name="connsiteX90" fmla="*/ 1472155 w 1774962"/>
              <a:gd name="connsiteY90" fmla="*/ 220064 h 1774962"/>
              <a:gd name="connsiteX91" fmla="*/ 1541296 w 1774962"/>
              <a:gd name="connsiteY91" fmla="*/ 287657 h 1774962"/>
              <a:gd name="connsiteX92" fmla="*/ 1542328 w 1774962"/>
              <a:gd name="connsiteY92" fmla="*/ 301073 h 1774962"/>
              <a:gd name="connsiteX93" fmla="*/ 1485570 w 1774962"/>
              <a:gd name="connsiteY93" fmla="*/ 385693 h 1774962"/>
              <a:gd name="connsiteX94" fmla="*/ 1462868 w 1774962"/>
              <a:gd name="connsiteY94" fmla="*/ 406332 h 1774962"/>
              <a:gd name="connsiteX95" fmla="*/ 1460803 w 1774962"/>
              <a:gd name="connsiteY95" fmla="*/ 422327 h 1774962"/>
              <a:gd name="connsiteX96" fmla="*/ 1529428 w 1774962"/>
              <a:gd name="connsiteY96" fmla="*/ 522427 h 1774962"/>
              <a:gd name="connsiteX97" fmla="*/ 1544908 w 1774962"/>
              <a:gd name="connsiteY97" fmla="*/ 525007 h 1774962"/>
              <a:gd name="connsiteX98" fmla="*/ 1672870 w 1774962"/>
              <a:gd name="connsiteY98" fmla="*/ 488373 h 1774962"/>
              <a:gd name="connsiteX99" fmla="*/ 1683706 w 1774962"/>
              <a:gd name="connsiteY99" fmla="*/ 495080 h 1774962"/>
              <a:gd name="connsiteX100" fmla="*/ 1721888 w 1774962"/>
              <a:gd name="connsiteY100" fmla="*/ 583828 h 1774962"/>
              <a:gd name="connsiteX101" fmla="*/ 1717244 w 1774962"/>
              <a:gd name="connsiteY101" fmla="*/ 596728 h 1774962"/>
              <a:gd name="connsiteX102" fmla="*/ 1633140 w 1774962"/>
              <a:gd name="connsiteY102" fmla="*/ 652453 h 1774962"/>
              <a:gd name="connsiteX103" fmla="*/ 1601665 w 1774962"/>
              <a:gd name="connsiteY103" fmla="*/ 663805 h 1774962"/>
              <a:gd name="connsiteX104" fmla="*/ 1594958 w 1774962"/>
              <a:gd name="connsiteY104" fmla="*/ 676188 h 1774962"/>
              <a:gd name="connsiteX105" fmla="*/ 1620241 w 1774962"/>
              <a:gd name="connsiteY105" fmla="*/ 795895 h 1774962"/>
              <a:gd name="connsiteX106" fmla="*/ 1631076 w 1774962"/>
              <a:gd name="connsiteY106" fmla="*/ 804667 h 1774962"/>
              <a:gd name="connsiteX107" fmla="*/ 1763682 w 1774962"/>
              <a:gd name="connsiteY107" fmla="*/ 819630 h 1774962"/>
              <a:gd name="connsiteX108" fmla="*/ 1773486 w 1774962"/>
              <a:gd name="connsiteY108" fmla="*/ 829950 h 1774962"/>
              <a:gd name="connsiteX109" fmla="*/ 1775034 w 1774962"/>
              <a:gd name="connsiteY109" fmla="*/ 927985 h 1774962"/>
              <a:gd name="connsiteX110" fmla="*/ 1766262 w 1774962"/>
              <a:gd name="connsiteY110" fmla="*/ 937273 h 1774962"/>
              <a:gd name="connsiteX111" fmla="*/ 1663583 w 1774962"/>
              <a:gd name="connsiteY111" fmla="*/ 957396 h 1774962"/>
              <a:gd name="connsiteX112" fmla="*/ 1636752 w 1774962"/>
              <a:gd name="connsiteY112" fmla="*/ 955332 h 1774962"/>
              <a:gd name="connsiteX113" fmla="*/ 1622304 w 1774962"/>
              <a:gd name="connsiteY113" fmla="*/ 966684 h 1774962"/>
              <a:gd name="connsiteX114" fmla="*/ 1601149 w 1774962"/>
              <a:gd name="connsiteY114" fmla="*/ 1081746 h 1774962"/>
              <a:gd name="connsiteX115" fmla="*/ 1610437 w 1774962"/>
              <a:gd name="connsiteY115" fmla="*/ 1097742 h 1774962"/>
              <a:gd name="connsiteX116" fmla="*/ 1726016 w 1774962"/>
              <a:gd name="connsiteY116" fmla="*/ 1161723 h 1774962"/>
              <a:gd name="connsiteX117" fmla="*/ 1729112 w 1774962"/>
              <a:gd name="connsiteY117" fmla="*/ 1174107 h 1774962"/>
              <a:gd name="connsiteX118" fmla="*/ 1693509 w 1774962"/>
              <a:gd name="connsiteY118" fmla="*/ 1263887 h 1774962"/>
              <a:gd name="connsiteX119" fmla="*/ 1681126 w 1774962"/>
              <a:gd name="connsiteY119" fmla="*/ 1270078 h 1774962"/>
              <a:gd name="connsiteX120" fmla="*/ 1581542 w 1774962"/>
              <a:gd name="connsiteY120" fmla="*/ 1249955 h 1774962"/>
              <a:gd name="connsiteX121" fmla="*/ 1552647 w 1774962"/>
              <a:gd name="connsiteY121" fmla="*/ 1236024 h 1774962"/>
              <a:gd name="connsiteX122" fmla="*/ 1538200 w 1774962"/>
              <a:gd name="connsiteY122" fmla="*/ 1240152 h 1774962"/>
              <a:gd name="connsiteX123" fmla="*/ 1473187 w 1774962"/>
              <a:gd name="connsiteY123" fmla="*/ 1340767 h 1774962"/>
              <a:gd name="connsiteX124" fmla="*/ 1475251 w 1774962"/>
              <a:gd name="connsiteY124" fmla="*/ 1358310 h 1774962"/>
              <a:gd name="connsiteX125" fmla="*/ 1535104 w 1774962"/>
              <a:gd name="connsiteY125" fmla="*/ 1430031 h 1774962"/>
              <a:gd name="connsiteX126" fmla="*/ 1545424 w 1774962"/>
              <a:gd name="connsiteY126" fmla="*/ 1444995 h 1774962"/>
              <a:gd name="connsiteX127" fmla="*/ 1542844 w 1774962"/>
              <a:gd name="connsiteY127" fmla="*/ 1489885 h 1774962"/>
              <a:gd name="connsiteX128" fmla="*/ 1491246 w 1774962"/>
              <a:gd name="connsiteY128" fmla="*/ 1542514 h 1774962"/>
              <a:gd name="connsiteX129" fmla="*/ 1472155 w 1774962"/>
              <a:gd name="connsiteY129" fmla="*/ 1544062 h 1774962"/>
              <a:gd name="connsiteX130" fmla="*/ 1393726 w 1774962"/>
              <a:gd name="connsiteY130" fmla="*/ 1491948 h 1774962"/>
              <a:gd name="connsiteX131" fmla="*/ 1369992 w 1774962"/>
              <a:gd name="connsiteY131" fmla="*/ 1466666 h 1774962"/>
              <a:gd name="connsiteX132" fmla="*/ 1352964 w 1774962"/>
              <a:gd name="connsiteY132" fmla="*/ 1464602 h 1774962"/>
              <a:gd name="connsiteX133" fmla="*/ 1254413 w 1774962"/>
              <a:gd name="connsiteY133" fmla="*/ 1532711 h 1774962"/>
              <a:gd name="connsiteX134" fmla="*/ 1248737 w 1774962"/>
              <a:gd name="connsiteY134" fmla="*/ 1544578 h 1774962"/>
              <a:gd name="connsiteX135" fmla="*/ 1284339 w 1774962"/>
              <a:gd name="connsiteY135" fmla="*/ 1662221 h 1774962"/>
              <a:gd name="connsiteX136" fmla="*/ 1268860 w 1774962"/>
              <a:gd name="connsiteY136" fmla="*/ 1693180 h 1774962"/>
              <a:gd name="connsiteX137" fmla="*/ 1195591 w 1774962"/>
              <a:gd name="connsiteY137" fmla="*/ 1724654 h 1774962"/>
              <a:gd name="connsiteX138" fmla="*/ 1178564 w 1774962"/>
              <a:gd name="connsiteY138" fmla="*/ 1719495 h 1774962"/>
              <a:gd name="connsiteX139" fmla="*/ 1125418 w 1774962"/>
              <a:gd name="connsiteY139" fmla="*/ 1640034 h 1774962"/>
              <a:gd name="connsiteX140" fmla="*/ 1113035 w 1774962"/>
              <a:gd name="connsiteY140" fmla="*/ 1606496 h 1774962"/>
              <a:gd name="connsiteX141" fmla="*/ 1099619 w 1774962"/>
              <a:gd name="connsiteY141" fmla="*/ 1599272 h 1774962"/>
              <a:gd name="connsiteX142" fmla="*/ 979913 w 1774962"/>
              <a:gd name="connsiteY142" fmla="*/ 1624555 h 1774962"/>
              <a:gd name="connsiteX143" fmla="*/ 972173 w 1774962"/>
              <a:gd name="connsiteY143" fmla="*/ 1634874 h 1774962"/>
              <a:gd name="connsiteX144" fmla="*/ 957726 w 1774962"/>
              <a:gd name="connsiteY144" fmla="*/ 1767481 h 1774962"/>
              <a:gd name="connsiteX145" fmla="*/ 945858 w 1774962"/>
              <a:gd name="connsiteY145" fmla="*/ 1777800 h 1774962"/>
              <a:gd name="connsiteX146" fmla="*/ 895808 w 1774962"/>
              <a:gd name="connsiteY146" fmla="*/ 1779864 h 1774962"/>
              <a:gd name="connsiteX147" fmla="*/ 894776 w 1774962"/>
              <a:gd name="connsiteY147" fmla="*/ 1775736 h 1774962"/>
              <a:gd name="connsiteX148" fmla="*/ 890648 w 1774962"/>
              <a:gd name="connsiteY148" fmla="*/ 1454798 h 1774962"/>
              <a:gd name="connsiteX149" fmla="*/ 1452548 w 1774962"/>
              <a:gd name="connsiteY149" fmla="*/ 884127 h 1774962"/>
              <a:gd name="connsiteX150" fmla="*/ 881361 w 1774962"/>
              <a:gd name="connsiteY150" fmla="*/ 322228 h 1774962"/>
              <a:gd name="connsiteX151" fmla="*/ 320494 w 1774962"/>
              <a:gd name="connsiteY151" fmla="*/ 893415 h 1774962"/>
              <a:gd name="connsiteX152" fmla="*/ 890648 w 1774962"/>
              <a:gd name="connsiteY152" fmla="*/ 1454798 h 1774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</a:cxnLst>
            <a:rect l="l" t="t" r="r" b="b"/>
            <a:pathLst>
              <a:path w="1774962" h="1774962">
                <a:moveTo>
                  <a:pt x="894776" y="1775736"/>
                </a:moveTo>
                <a:cubicBezTo>
                  <a:pt x="880845" y="1775736"/>
                  <a:pt x="866397" y="1775736"/>
                  <a:pt x="852466" y="1775736"/>
                </a:cubicBezTo>
                <a:cubicBezTo>
                  <a:pt x="844726" y="1775736"/>
                  <a:pt x="840599" y="1772640"/>
                  <a:pt x="839567" y="1764901"/>
                </a:cubicBezTo>
                <a:cubicBezTo>
                  <a:pt x="833375" y="1731878"/>
                  <a:pt x="826151" y="1699371"/>
                  <a:pt x="819960" y="1666349"/>
                </a:cubicBezTo>
                <a:cubicBezTo>
                  <a:pt x="817896" y="1656545"/>
                  <a:pt x="820992" y="1646742"/>
                  <a:pt x="822024" y="1636938"/>
                </a:cubicBezTo>
                <a:cubicBezTo>
                  <a:pt x="823056" y="1628682"/>
                  <a:pt x="820992" y="1624555"/>
                  <a:pt x="811704" y="1623523"/>
                </a:cubicBezTo>
                <a:cubicBezTo>
                  <a:pt x="772490" y="1619395"/>
                  <a:pt x="733275" y="1612171"/>
                  <a:pt x="695093" y="1601852"/>
                </a:cubicBezTo>
                <a:cubicBezTo>
                  <a:pt x="686837" y="1599788"/>
                  <a:pt x="682194" y="1602368"/>
                  <a:pt x="680130" y="1610623"/>
                </a:cubicBezTo>
                <a:cubicBezTo>
                  <a:pt x="669294" y="1655513"/>
                  <a:pt x="636788" y="1688020"/>
                  <a:pt x="615116" y="1727234"/>
                </a:cubicBezTo>
                <a:cubicBezTo>
                  <a:pt x="612537" y="1731878"/>
                  <a:pt x="608409" y="1731878"/>
                  <a:pt x="603765" y="1730330"/>
                </a:cubicBezTo>
                <a:cubicBezTo>
                  <a:pt x="572807" y="1720011"/>
                  <a:pt x="542364" y="1707627"/>
                  <a:pt x="512953" y="1694212"/>
                </a:cubicBezTo>
                <a:cubicBezTo>
                  <a:pt x="506761" y="1691632"/>
                  <a:pt x="506245" y="1686988"/>
                  <a:pt x="507277" y="1681828"/>
                </a:cubicBezTo>
                <a:cubicBezTo>
                  <a:pt x="513985" y="1648806"/>
                  <a:pt x="519661" y="1615783"/>
                  <a:pt x="527400" y="1583277"/>
                </a:cubicBezTo>
                <a:cubicBezTo>
                  <a:pt x="529980" y="1572441"/>
                  <a:pt x="536172" y="1562637"/>
                  <a:pt x="541848" y="1552834"/>
                </a:cubicBezTo>
                <a:cubicBezTo>
                  <a:pt x="545460" y="1546642"/>
                  <a:pt x="544428" y="1543030"/>
                  <a:pt x="537720" y="1539418"/>
                </a:cubicBezTo>
                <a:cubicBezTo>
                  <a:pt x="501601" y="1520327"/>
                  <a:pt x="467547" y="1497624"/>
                  <a:pt x="435041" y="1472857"/>
                </a:cubicBezTo>
                <a:cubicBezTo>
                  <a:pt x="429365" y="1468214"/>
                  <a:pt x="425237" y="1468214"/>
                  <a:pt x="420593" y="1474921"/>
                </a:cubicBezTo>
                <a:cubicBezTo>
                  <a:pt x="393762" y="1512588"/>
                  <a:pt x="350936" y="1531163"/>
                  <a:pt x="315334" y="1559026"/>
                </a:cubicBezTo>
                <a:cubicBezTo>
                  <a:pt x="310690" y="1562637"/>
                  <a:pt x="307078" y="1561090"/>
                  <a:pt x="302950" y="1557478"/>
                </a:cubicBezTo>
                <a:cubicBezTo>
                  <a:pt x="278699" y="1536323"/>
                  <a:pt x="255996" y="1513104"/>
                  <a:pt x="233809" y="1490401"/>
                </a:cubicBezTo>
                <a:cubicBezTo>
                  <a:pt x="229682" y="1485757"/>
                  <a:pt x="229165" y="1482145"/>
                  <a:pt x="232777" y="1476985"/>
                </a:cubicBezTo>
                <a:cubicBezTo>
                  <a:pt x="251352" y="1449122"/>
                  <a:pt x="269928" y="1421260"/>
                  <a:pt x="289019" y="1393397"/>
                </a:cubicBezTo>
                <a:cubicBezTo>
                  <a:pt x="295210" y="1384625"/>
                  <a:pt x="304498" y="1378949"/>
                  <a:pt x="312754" y="1371726"/>
                </a:cubicBezTo>
                <a:cubicBezTo>
                  <a:pt x="318946" y="1366566"/>
                  <a:pt x="319978" y="1361922"/>
                  <a:pt x="314818" y="1355731"/>
                </a:cubicBezTo>
                <a:cubicBezTo>
                  <a:pt x="289535" y="1324256"/>
                  <a:pt x="266316" y="1291233"/>
                  <a:pt x="246193" y="1255631"/>
                </a:cubicBezTo>
                <a:cubicBezTo>
                  <a:pt x="241549" y="1247375"/>
                  <a:pt x="236905" y="1248923"/>
                  <a:pt x="230713" y="1253051"/>
                </a:cubicBezTo>
                <a:cubicBezTo>
                  <a:pt x="191499" y="1277302"/>
                  <a:pt x="145577" y="1277818"/>
                  <a:pt x="102751" y="1289685"/>
                </a:cubicBezTo>
                <a:cubicBezTo>
                  <a:pt x="97075" y="1291233"/>
                  <a:pt x="93979" y="1288137"/>
                  <a:pt x="91916" y="1282978"/>
                </a:cubicBezTo>
                <a:cubicBezTo>
                  <a:pt x="77984" y="1254083"/>
                  <a:pt x="65085" y="1224156"/>
                  <a:pt x="53733" y="1194230"/>
                </a:cubicBezTo>
                <a:cubicBezTo>
                  <a:pt x="51669" y="1188038"/>
                  <a:pt x="53217" y="1184426"/>
                  <a:pt x="58377" y="1181330"/>
                </a:cubicBezTo>
                <a:cubicBezTo>
                  <a:pt x="86240" y="1162755"/>
                  <a:pt x="113587" y="1143664"/>
                  <a:pt x="142481" y="1125605"/>
                </a:cubicBezTo>
                <a:cubicBezTo>
                  <a:pt x="151769" y="1119929"/>
                  <a:pt x="163120" y="1117349"/>
                  <a:pt x="173956" y="1114253"/>
                </a:cubicBezTo>
                <a:cubicBezTo>
                  <a:pt x="180664" y="1112189"/>
                  <a:pt x="182727" y="1109093"/>
                  <a:pt x="180664" y="1101870"/>
                </a:cubicBezTo>
                <a:cubicBezTo>
                  <a:pt x="168796" y="1062139"/>
                  <a:pt x="160541" y="1021893"/>
                  <a:pt x="154865" y="981131"/>
                </a:cubicBezTo>
                <a:cubicBezTo>
                  <a:pt x="153833" y="974423"/>
                  <a:pt x="150737" y="972359"/>
                  <a:pt x="144029" y="973391"/>
                </a:cubicBezTo>
                <a:cubicBezTo>
                  <a:pt x="98107" y="981131"/>
                  <a:pt x="54765" y="963588"/>
                  <a:pt x="10391" y="958428"/>
                </a:cubicBezTo>
                <a:cubicBezTo>
                  <a:pt x="4715" y="957912"/>
                  <a:pt x="2652" y="954300"/>
                  <a:pt x="2135" y="948624"/>
                </a:cubicBezTo>
                <a:cubicBezTo>
                  <a:pt x="-960" y="916118"/>
                  <a:pt x="72" y="883611"/>
                  <a:pt x="588" y="850589"/>
                </a:cubicBezTo>
                <a:cubicBezTo>
                  <a:pt x="588" y="844397"/>
                  <a:pt x="4715" y="841817"/>
                  <a:pt x="10391" y="840785"/>
                </a:cubicBezTo>
                <a:cubicBezTo>
                  <a:pt x="43930" y="834077"/>
                  <a:pt x="76952" y="827370"/>
                  <a:pt x="110491" y="820662"/>
                </a:cubicBezTo>
                <a:cubicBezTo>
                  <a:pt x="120294" y="818598"/>
                  <a:pt x="130098" y="821694"/>
                  <a:pt x="139901" y="822726"/>
                </a:cubicBezTo>
                <a:cubicBezTo>
                  <a:pt x="148157" y="823758"/>
                  <a:pt x="152285" y="820662"/>
                  <a:pt x="153317" y="811890"/>
                </a:cubicBezTo>
                <a:cubicBezTo>
                  <a:pt x="157445" y="773192"/>
                  <a:pt x="164668" y="734494"/>
                  <a:pt x="174472" y="696827"/>
                </a:cubicBezTo>
                <a:cubicBezTo>
                  <a:pt x="177052" y="687024"/>
                  <a:pt x="173440" y="682380"/>
                  <a:pt x="164152" y="680316"/>
                </a:cubicBezTo>
                <a:cubicBezTo>
                  <a:pt x="120294" y="668965"/>
                  <a:pt x="87272" y="636974"/>
                  <a:pt x="49090" y="615819"/>
                </a:cubicBezTo>
                <a:cubicBezTo>
                  <a:pt x="44961" y="613755"/>
                  <a:pt x="44961" y="610143"/>
                  <a:pt x="45993" y="606015"/>
                </a:cubicBezTo>
                <a:cubicBezTo>
                  <a:pt x="56313" y="574541"/>
                  <a:pt x="69212" y="544098"/>
                  <a:pt x="82628" y="513655"/>
                </a:cubicBezTo>
                <a:cubicBezTo>
                  <a:pt x="85208" y="507980"/>
                  <a:pt x="89336" y="506948"/>
                  <a:pt x="93979" y="508496"/>
                </a:cubicBezTo>
                <a:cubicBezTo>
                  <a:pt x="137322" y="519847"/>
                  <a:pt x="183760" y="518815"/>
                  <a:pt x="224006" y="543066"/>
                </a:cubicBezTo>
                <a:cubicBezTo>
                  <a:pt x="230713" y="547194"/>
                  <a:pt x="233809" y="544614"/>
                  <a:pt x="236905" y="538938"/>
                </a:cubicBezTo>
                <a:cubicBezTo>
                  <a:pt x="255996" y="503336"/>
                  <a:pt x="278183" y="469281"/>
                  <a:pt x="302434" y="437291"/>
                </a:cubicBezTo>
                <a:cubicBezTo>
                  <a:pt x="305530" y="433163"/>
                  <a:pt x="310690" y="428519"/>
                  <a:pt x="302950" y="423359"/>
                </a:cubicBezTo>
                <a:cubicBezTo>
                  <a:pt x="273540" y="404268"/>
                  <a:pt x="258576" y="373826"/>
                  <a:pt x="238453" y="346995"/>
                </a:cubicBezTo>
                <a:cubicBezTo>
                  <a:pt x="234841" y="342351"/>
                  <a:pt x="232262" y="337707"/>
                  <a:pt x="228650" y="333063"/>
                </a:cubicBezTo>
                <a:cubicBezTo>
                  <a:pt x="212654" y="310360"/>
                  <a:pt x="212138" y="309844"/>
                  <a:pt x="230713" y="290237"/>
                </a:cubicBezTo>
                <a:cubicBezTo>
                  <a:pt x="248257" y="271662"/>
                  <a:pt x="266316" y="254119"/>
                  <a:pt x="283859" y="236060"/>
                </a:cubicBezTo>
                <a:cubicBezTo>
                  <a:pt x="289535" y="230384"/>
                  <a:pt x="294179" y="229868"/>
                  <a:pt x="300370" y="234512"/>
                </a:cubicBezTo>
                <a:cubicBezTo>
                  <a:pt x="327201" y="252571"/>
                  <a:pt x="354032" y="270114"/>
                  <a:pt x="380863" y="288173"/>
                </a:cubicBezTo>
                <a:cubicBezTo>
                  <a:pt x="390150" y="294365"/>
                  <a:pt x="396342" y="303137"/>
                  <a:pt x="403050" y="311392"/>
                </a:cubicBezTo>
                <a:cubicBezTo>
                  <a:pt x="408726" y="319132"/>
                  <a:pt x="413885" y="320680"/>
                  <a:pt x="422141" y="313972"/>
                </a:cubicBezTo>
                <a:cubicBezTo>
                  <a:pt x="452584" y="288689"/>
                  <a:pt x="485606" y="266502"/>
                  <a:pt x="519661" y="246895"/>
                </a:cubicBezTo>
                <a:cubicBezTo>
                  <a:pt x="524820" y="243799"/>
                  <a:pt x="529464" y="240703"/>
                  <a:pt x="524820" y="233996"/>
                </a:cubicBezTo>
                <a:cubicBezTo>
                  <a:pt x="502633" y="202005"/>
                  <a:pt x="501086" y="163823"/>
                  <a:pt x="492314" y="127704"/>
                </a:cubicBezTo>
                <a:cubicBezTo>
                  <a:pt x="484574" y="96230"/>
                  <a:pt x="485606" y="96746"/>
                  <a:pt x="514501" y="82298"/>
                </a:cubicBezTo>
                <a:cubicBezTo>
                  <a:pt x="535140" y="71979"/>
                  <a:pt x="557327" y="64239"/>
                  <a:pt x="578482" y="55468"/>
                </a:cubicBezTo>
                <a:cubicBezTo>
                  <a:pt x="586222" y="52372"/>
                  <a:pt x="590866" y="52888"/>
                  <a:pt x="595509" y="60111"/>
                </a:cubicBezTo>
                <a:cubicBezTo>
                  <a:pt x="613053" y="86942"/>
                  <a:pt x="630596" y="113257"/>
                  <a:pt x="648655" y="139572"/>
                </a:cubicBezTo>
                <a:cubicBezTo>
                  <a:pt x="655363" y="149375"/>
                  <a:pt x="657427" y="160727"/>
                  <a:pt x="661039" y="172078"/>
                </a:cubicBezTo>
                <a:cubicBezTo>
                  <a:pt x="663618" y="180334"/>
                  <a:pt x="667230" y="182914"/>
                  <a:pt x="675486" y="180334"/>
                </a:cubicBezTo>
                <a:cubicBezTo>
                  <a:pt x="713668" y="168983"/>
                  <a:pt x="752882" y="160727"/>
                  <a:pt x="792613" y="155567"/>
                </a:cubicBezTo>
                <a:cubicBezTo>
                  <a:pt x="800352" y="154535"/>
                  <a:pt x="802932" y="151439"/>
                  <a:pt x="801900" y="143700"/>
                </a:cubicBezTo>
                <a:cubicBezTo>
                  <a:pt x="795193" y="98294"/>
                  <a:pt x="811704" y="55468"/>
                  <a:pt x="816864" y="11094"/>
                </a:cubicBezTo>
                <a:cubicBezTo>
                  <a:pt x="817380" y="5934"/>
                  <a:pt x="820476" y="2838"/>
                  <a:pt x="826151" y="2322"/>
                </a:cubicBezTo>
                <a:cubicBezTo>
                  <a:pt x="859174" y="-1290"/>
                  <a:pt x="892196" y="258"/>
                  <a:pt x="925219" y="774"/>
                </a:cubicBezTo>
                <a:cubicBezTo>
                  <a:pt x="930895" y="774"/>
                  <a:pt x="933475" y="4902"/>
                  <a:pt x="934507" y="10062"/>
                </a:cubicBezTo>
                <a:cubicBezTo>
                  <a:pt x="941214" y="43600"/>
                  <a:pt x="948438" y="77139"/>
                  <a:pt x="954114" y="111193"/>
                </a:cubicBezTo>
                <a:cubicBezTo>
                  <a:pt x="955662" y="120481"/>
                  <a:pt x="953082" y="130800"/>
                  <a:pt x="952050" y="140604"/>
                </a:cubicBezTo>
                <a:cubicBezTo>
                  <a:pt x="951018" y="148343"/>
                  <a:pt x="954114" y="151955"/>
                  <a:pt x="962369" y="152987"/>
                </a:cubicBezTo>
                <a:cubicBezTo>
                  <a:pt x="1001584" y="157115"/>
                  <a:pt x="1040798" y="164339"/>
                  <a:pt x="1078980" y="174658"/>
                </a:cubicBezTo>
                <a:cubicBezTo>
                  <a:pt x="1085172" y="176206"/>
                  <a:pt x="1091364" y="176722"/>
                  <a:pt x="1093428" y="168467"/>
                </a:cubicBezTo>
                <a:cubicBezTo>
                  <a:pt x="1101683" y="130284"/>
                  <a:pt x="1127482" y="101390"/>
                  <a:pt x="1147089" y="69399"/>
                </a:cubicBezTo>
                <a:cubicBezTo>
                  <a:pt x="1162569" y="43084"/>
                  <a:pt x="1163601" y="43600"/>
                  <a:pt x="1192495" y="54436"/>
                </a:cubicBezTo>
                <a:cubicBezTo>
                  <a:pt x="1214682" y="62691"/>
                  <a:pt x="1236353" y="71979"/>
                  <a:pt x="1258024" y="81266"/>
                </a:cubicBezTo>
                <a:cubicBezTo>
                  <a:pt x="1265764" y="84362"/>
                  <a:pt x="1268860" y="88490"/>
                  <a:pt x="1267312" y="96746"/>
                </a:cubicBezTo>
                <a:cubicBezTo>
                  <a:pt x="1260604" y="128736"/>
                  <a:pt x="1254928" y="160727"/>
                  <a:pt x="1247705" y="192718"/>
                </a:cubicBezTo>
                <a:cubicBezTo>
                  <a:pt x="1245125" y="203553"/>
                  <a:pt x="1238417" y="213873"/>
                  <a:pt x="1233258" y="224192"/>
                </a:cubicBezTo>
                <a:cubicBezTo>
                  <a:pt x="1229646" y="230384"/>
                  <a:pt x="1230678" y="233996"/>
                  <a:pt x="1237385" y="237608"/>
                </a:cubicBezTo>
                <a:cubicBezTo>
                  <a:pt x="1273504" y="256699"/>
                  <a:pt x="1307558" y="279402"/>
                  <a:pt x="1340065" y="304169"/>
                </a:cubicBezTo>
                <a:cubicBezTo>
                  <a:pt x="1345741" y="308812"/>
                  <a:pt x="1349868" y="309328"/>
                  <a:pt x="1354512" y="302621"/>
                </a:cubicBezTo>
                <a:cubicBezTo>
                  <a:pt x="1381343" y="264954"/>
                  <a:pt x="1424169" y="246379"/>
                  <a:pt x="1459771" y="218516"/>
                </a:cubicBezTo>
                <a:cubicBezTo>
                  <a:pt x="1464415" y="214905"/>
                  <a:pt x="1468027" y="216452"/>
                  <a:pt x="1472155" y="220064"/>
                </a:cubicBezTo>
                <a:cubicBezTo>
                  <a:pt x="1496406" y="241219"/>
                  <a:pt x="1519109" y="264438"/>
                  <a:pt x="1541296" y="287657"/>
                </a:cubicBezTo>
                <a:cubicBezTo>
                  <a:pt x="1545424" y="292301"/>
                  <a:pt x="1545940" y="296429"/>
                  <a:pt x="1542328" y="301073"/>
                </a:cubicBezTo>
                <a:cubicBezTo>
                  <a:pt x="1523237" y="329452"/>
                  <a:pt x="1505177" y="357830"/>
                  <a:pt x="1485570" y="385693"/>
                </a:cubicBezTo>
                <a:cubicBezTo>
                  <a:pt x="1479895" y="393949"/>
                  <a:pt x="1470607" y="400140"/>
                  <a:pt x="1462868" y="406332"/>
                </a:cubicBezTo>
                <a:cubicBezTo>
                  <a:pt x="1456676" y="411492"/>
                  <a:pt x="1455644" y="416136"/>
                  <a:pt x="1460803" y="422327"/>
                </a:cubicBezTo>
                <a:cubicBezTo>
                  <a:pt x="1486086" y="453802"/>
                  <a:pt x="1509305" y="487341"/>
                  <a:pt x="1529428" y="522427"/>
                </a:cubicBezTo>
                <a:cubicBezTo>
                  <a:pt x="1534072" y="530167"/>
                  <a:pt x="1538716" y="529135"/>
                  <a:pt x="1544908" y="525007"/>
                </a:cubicBezTo>
                <a:cubicBezTo>
                  <a:pt x="1584122" y="500756"/>
                  <a:pt x="1630044" y="500240"/>
                  <a:pt x="1672870" y="488373"/>
                </a:cubicBezTo>
                <a:cubicBezTo>
                  <a:pt x="1678546" y="486825"/>
                  <a:pt x="1681642" y="489921"/>
                  <a:pt x="1683706" y="495080"/>
                </a:cubicBezTo>
                <a:cubicBezTo>
                  <a:pt x="1697637" y="523975"/>
                  <a:pt x="1710537" y="553902"/>
                  <a:pt x="1721888" y="583828"/>
                </a:cubicBezTo>
                <a:cubicBezTo>
                  <a:pt x="1723952" y="590020"/>
                  <a:pt x="1722404" y="593632"/>
                  <a:pt x="1717244" y="596728"/>
                </a:cubicBezTo>
                <a:cubicBezTo>
                  <a:pt x="1689381" y="615303"/>
                  <a:pt x="1662035" y="634394"/>
                  <a:pt x="1633140" y="652453"/>
                </a:cubicBezTo>
                <a:cubicBezTo>
                  <a:pt x="1623852" y="658129"/>
                  <a:pt x="1612501" y="660709"/>
                  <a:pt x="1601665" y="663805"/>
                </a:cubicBezTo>
                <a:cubicBezTo>
                  <a:pt x="1594958" y="665869"/>
                  <a:pt x="1592894" y="668965"/>
                  <a:pt x="1594958" y="676188"/>
                </a:cubicBezTo>
                <a:cubicBezTo>
                  <a:pt x="1606309" y="715403"/>
                  <a:pt x="1615081" y="755133"/>
                  <a:pt x="1620241" y="795895"/>
                </a:cubicBezTo>
                <a:cubicBezTo>
                  <a:pt x="1621272" y="803119"/>
                  <a:pt x="1624368" y="805699"/>
                  <a:pt x="1631076" y="804667"/>
                </a:cubicBezTo>
                <a:cubicBezTo>
                  <a:pt x="1676482" y="797959"/>
                  <a:pt x="1719308" y="814470"/>
                  <a:pt x="1763682" y="819630"/>
                </a:cubicBezTo>
                <a:cubicBezTo>
                  <a:pt x="1769874" y="820146"/>
                  <a:pt x="1772454" y="823758"/>
                  <a:pt x="1773486" y="829950"/>
                </a:cubicBezTo>
                <a:cubicBezTo>
                  <a:pt x="1776582" y="862456"/>
                  <a:pt x="1775034" y="895479"/>
                  <a:pt x="1775034" y="927985"/>
                </a:cubicBezTo>
                <a:cubicBezTo>
                  <a:pt x="1775034" y="933661"/>
                  <a:pt x="1771422" y="936241"/>
                  <a:pt x="1766262" y="937273"/>
                </a:cubicBezTo>
                <a:cubicBezTo>
                  <a:pt x="1732207" y="943981"/>
                  <a:pt x="1698153" y="951204"/>
                  <a:pt x="1663583" y="957396"/>
                </a:cubicBezTo>
                <a:cubicBezTo>
                  <a:pt x="1654811" y="958944"/>
                  <a:pt x="1645523" y="956364"/>
                  <a:pt x="1636752" y="955332"/>
                </a:cubicBezTo>
                <a:cubicBezTo>
                  <a:pt x="1627980" y="954300"/>
                  <a:pt x="1623336" y="956364"/>
                  <a:pt x="1622304" y="966684"/>
                </a:cubicBezTo>
                <a:cubicBezTo>
                  <a:pt x="1618177" y="1005382"/>
                  <a:pt x="1610953" y="1044080"/>
                  <a:pt x="1601149" y="1081746"/>
                </a:cubicBezTo>
                <a:cubicBezTo>
                  <a:pt x="1598569" y="1091034"/>
                  <a:pt x="1601665" y="1095678"/>
                  <a:pt x="1610437" y="1097742"/>
                </a:cubicBezTo>
                <a:cubicBezTo>
                  <a:pt x="1654811" y="1108577"/>
                  <a:pt x="1687318" y="1140568"/>
                  <a:pt x="1726016" y="1161723"/>
                </a:cubicBezTo>
                <a:cubicBezTo>
                  <a:pt x="1731176" y="1164819"/>
                  <a:pt x="1731176" y="1168947"/>
                  <a:pt x="1729112" y="1174107"/>
                </a:cubicBezTo>
                <a:cubicBezTo>
                  <a:pt x="1718792" y="1204549"/>
                  <a:pt x="1706409" y="1234476"/>
                  <a:pt x="1693509" y="1263887"/>
                </a:cubicBezTo>
                <a:cubicBezTo>
                  <a:pt x="1690929" y="1269562"/>
                  <a:pt x="1687318" y="1271626"/>
                  <a:pt x="1681126" y="1270078"/>
                </a:cubicBezTo>
                <a:cubicBezTo>
                  <a:pt x="1648103" y="1263371"/>
                  <a:pt x="1614565" y="1257179"/>
                  <a:pt x="1581542" y="1249955"/>
                </a:cubicBezTo>
                <a:cubicBezTo>
                  <a:pt x="1571223" y="1247375"/>
                  <a:pt x="1561935" y="1241184"/>
                  <a:pt x="1552647" y="1236024"/>
                </a:cubicBezTo>
                <a:cubicBezTo>
                  <a:pt x="1545940" y="1232412"/>
                  <a:pt x="1542328" y="1232928"/>
                  <a:pt x="1538200" y="1240152"/>
                </a:cubicBezTo>
                <a:cubicBezTo>
                  <a:pt x="1519109" y="1275238"/>
                  <a:pt x="1497954" y="1309293"/>
                  <a:pt x="1473187" y="1340767"/>
                </a:cubicBezTo>
                <a:cubicBezTo>
                  <a:pt x="1467511" y="1347991"/>
                  <a:pt x="1466479" y="1352635"/>
                  <a:pt x="1475251" y="1358310"/>
                </a:cubicBezTo>
                <a:cubicBezTo>
                  <a:pt x="1502598" y="1375854"/>
                  <a:pt x="1516013" y="1405264"/>
                  <a:pt x="1535104" y="1430031"/>
                </a:cubicBezTo>
                <a:cubicBezTo>
                  <a:pt x="1538716" y="1434675"/>
                  <a:pt x="1541812" y="1439835"/>
                  <a:pt x="1545424" y="1444995"/>
                </a:cubicBezTo>
                <a:cubicBezTo>
                  <a:pt x="1566063" y="1474921"/>
                  <a:pt x="1565031" y="1464602"/>
                  <a:pt x="1542844" y="1489885"/>
                </a:cubicBezTo>
                <a:cubicBezTo>
                  <a:pt x="1526849" y="1508460"/>
                  <a:pt x="1508273" y="1524971"/>
                  <a:pt x="1491246" y="1542514"/>
                </a:cubicBezTo>
                <a:cubicBezTo>
                  <a:pt x="1485054" y="1549222"/>
                  <a:pt x="1479895" y="1549222"/>
                  <a:pt x="1472155" y="1544062"/>
                </a:cubicBezTo>
                <a:cubicBezTo>
                  <a:pt x="1446356" y="1526519"/>
                  <a:pt x="1420041" y="1508976"/>
                  <a:pt x="1393726" y="1491948"/>
                </a:cubicBezTo>
                <a:cubicBezTo>
                  <a:pt x="1383923" y="1485241"/>
                  <a:pt x="1377215" y="1475437"/>
                  <a:pt x="1369992" y="1466666"/>
                </a:cubicBezTo>
                <a:cubicBezTo>
                  <a:pt x="1364316" y="1459958"/>
                  <a:pt x="1359672" y="1458926"/>
                  <a:pt x="1352964" y="1464602"/>
                </a:cubicBezTo>
                <a:cubicBezTo>
                  <a:pt x="1322005" y="1489885"/>
                  <a:pt x="1288983" y="1512588"/>
                  <a:pt x="1254413" y="1532711"/>
                </a:cubicBezTo>
                <a:cubicBezTo>
                  <a:pt x="1249769" y="1535291"/>
                  <a:pt x="1244609" y="1537871"/>
                  <a:pt x="1248737" y="1544578"/>
                </a:cubicBezTo>
                <a:cubicBezTo>
                  <a:pt x="1272472" y="1580181"/>
                  <a:pt x="1274020" y="1622491"/>
                  <a:pt x="1284339" y="1662221"/>
                </a:cubicBezTo>
                <a:cubicBezTo>
                  <a:pt x="1290531" y="1685440"/>
                  <a:pt x="1292079" y="1682344"/>
                  <a:pt x="1268860" y="1693180"/>
                </a:cubicBezTo>
                <a:cubicBezTo>
                  <a:pt x="1244609" y="1704531"/>
                  <a:pt x="1219842" y="1714335"/>
                  <a:pt x="1195591" y="1724654"/>
                </a:cubicBezTo>
                <a:cubicBezTo>
                  <a:pt x="1187851" y="1727750"/>
                  <a:pt x="1183208" y="1726718"/>
                  <a:pt x="1178564" y="1719495"/>
                </a:cubicBezTo>
                <a:cubicBezTo>
                  <a:pt x="1161021" y="1692664"/>
                  <a:pt x="1142962" y="1666865"/>
                  <a:pt x="1125418" y="1640034"/>
                </a:cubicBezTo>
                <a:cubicBezTo>
                  <a:pt x="1118711" y="1629715"/>
                  <a:pt x="1116131" y="1617847"/>
                  <a:pt x="1113035" y="1606496"/>
                </a:cubicBezTo>
                <a:cubicBezTo>
                  <a:pt x="1110971" y="1599272"/>
                  <a:pt x="1107359" y="1597208"/>
                  <a:pt x="1099619" y="1599272"/>
                </a:cubicBezTo>
                <a:cubicBezTo>
                  <a:pt x="1060405" y="1611139"/>
                  <a:pt x="1020675" y="1619395"/>
                  <a:pt x="979913" y="1624555"/>
                </a:cubicBezTo>
                <a:cubicBezTo>
                  <a:pt x="973205" y="1625587"/>
                  <a:pt x="971141" y="1628682"/>
                  <a:pt x="972173" y="1634874"/>
                </a:cubicBezTo>
                <a:cubicBezTo>
                  <a:pt x="979397" y="1680280"/>
                  <a:pt x="962885" y="1723106"/>
                  <a:pt x="957726" y="1767481"/>
                </a:cubicBezTo>
                <a:cubicBezTo>
                  <a:pt x="956694" y="1775220"/>
                  <a:pt x="952566" y="1777800"/>
                  <a:pt x="945858" y="1777800"/>
                </a:cubicBezTo>
                <a:cubicBezTo>
                  <a:pt x="929347" y="1778316"/>
                  <a:pt x="912320" y="1779348"/>
                  <a:pt x="895808" y="1779864"/>
                </a:cubicBezTo>
                <a:cubicBezTo>
                  <a:pt x="894776" y="1776252"/>
                  <a:pt x="894776" y="1776252"/>
                  <a:pt x="894776" y="1775736"/>
                </a:cubicBezTo>
                <a:close/>
                <a:moveTo>
                  <a:pt x="890648" y="1454798"/>
                </a:moveTo>
                <a:cubicBezTo>
                  <a:pt x="1199203" y="1449638"/>
                  <a:pt x="1454096" y="1207645"/>
                  <a:pt x="1452548" y="884127"/>
                </a:cubicBezTo>
                <a:cubicBezTo>
                  <a:pt x="1451516" y="575057"/>
                  <a:pt x="1205395" y="320164"/>
                  <a:pt x="881361" y="322228"/>
                </a:cubicBezTo>
                <a:cubicBezTo>
                  <a:pt x="571775" y="324292"/>
                  <a:pt x="318429" y="570929"/>
                  <a:pt x="320494" y="893415"/>
                </a:cubicBezTo>
                <a:cubicBezTo>
                  <a:pt x="323073" y="1202485"/>
                  <a:pt x="569195" y="1452218"/>
                  <a:pt x="890648" y="1454798"/>
                </a:cubicBezTo>
                <a:close/>
              </a:path>
            </a:pathLst>
          </a:custGeom>
          <a:solidFill>
            <a:schemeClr val="bg1">
              <a:alpha val="5000"/>
            </a:schemeClr>
          </a:solidFill>
          <a:ln w="51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E7F4FB8-48CF-4E0D-8CB1-B2ED10FE732C}"/>
              </a:ext>
            </a:extLst>
          </p:cNvPr>
          <p:cNvSpPr/>
          <p:nvPr/>
        </p:nvSpPr>
        <p:spPr>
          <a:xfrm>
            <a:off x="6408280" y="6041992"/>
            <a:ext cx="494433" cy="491686"/>
          </a:xfrm>
          <a:custGeom>
            <a:avLst/>
            <a:gdLst>
              <a:gd name="connsiteX0" fmla="*/ 959201 w 1857518"/>
              <a:gd name="connsiteY0" fmla="*/ 1852264 h 1847198"/>
              <a:gd name="connsiteX1" fmla="*/ 910700 w 1857518"/>
              <a:gd name="connsiteY1" fmla="*/ 1852264 h 1847198"/>
              <a:gd name="connsiteX2" fmla="*/ 891608 w 1857518"/>
              <a:gd name="connsiteY2" fmla="*/ 1830593 h 1847198"/>
              <a:gd name="connsiteX3" fmla="*/ 838463 w 1857518"/>
              <a:gd name="connsiteY3" fmla="*/ 1669608 h 1847198"/>
              <a:gd name="connsiteX4" fmla="*/ 813180 w 1857518"/>
              <a:gd name="connsiteY4" fmla="*/ 1646905 h 1847198"/>
              <a:gd name="connsiteX5" fmla="*/ 730624 w 1857518"/>
              <a:gd name="connsiteY5" fmla="*/ 1628330 h 1847198"/>
              <a:gd name="connsiteX6" fmla="*/ 693990 w 1857518"/>
              <a:gd name="connsiteY6" fmla="*/ 1639165 h 1847198"/>
              <a:gd name="connsiteX7" fmla="*/ 573251 w 1857518"/>
              <a:gd name="connsiteY7" fmla="*/ 1761452 h 1847198"/>
              <a:gd name="connsiteX8" fmla="*/ 542292 w 1857518"/>
              <a:gd name="connsiteY8" fmla="*/ 1766612 h 1847198"/>
              <a:gd name="connsiteX9" fmla="*/ 412782 w 1857518"/>
              <a:gd name="connsiteY9" fmla="*/ 1693859 h 1847198"/>
              <a:gd name="connsiteX10" fmla="*/ 398334 w 1857518"/>
              <a:gd name="connsiteY10" fmla="*/ 1660836 h 1847198"/>
              <a:gd name="connsiteX11" fmla="*/ 440644 w 1857518"/>
              <a:gd name="connsiteY11" fmla="*/ 1494176 h 1847198"/>
              <a:gd name="connsiteX12" fmla="*/ 432904 w 1857518"/>
              <a:gd name="connsiteY12" fmla="*/ 1462185 h 1847198"/>
              <a:gd name="connsiteX13" fmla="*/ 370471 w 1857518"/>
              <a:gd name="connsiteY13" fmla="*/ 1397172 h 1847198"/>
              <a:gd name="connsiteX14" fmla="*/ 340545 w 1857518"/>
              <a:gd name="connsiteY14" fmla="*/ 1388400 h 1847198"/>
              <a:gd name="connsiteX15" fmla="*/ 310618 w 1857518"/>
              <a:gd name="connsiteY15" fmla="*/ 1395108 h 1847198"/>
              <a:gd name="connsiteX16" fmla="*/ 170273 w 1857518"/>
              <a:gd name="connsiteY16" fmla="*/ 1426583 h 1847198"/>
              <a:gd name="connsiteX17" fmla="*/ 141377 w 1857518"/>
              <a:gd name="connsiteY17" fmla="*/ 1413683 h 1847198"/>
              <a:gd name="connsiteX18" fmla="*/ 70689 w 1857518"/>
              <a:gd name="connsiteY18" fmla="*/ 1276949 h 1847198"/>
              <a:gd name="connsiteX19" fmla="*/ 75848 w 1857518"/>
              <a:gd name="connsiteY19" fmla="*/ 1247539 h 1847198"/>
              <a:gd name="connsiteX20" fmla="*/ 206391 w 1857518"/>
              <a:gd name="connsiteY20" fmla="*/ 1126284 h 1847198"/>
              <a:gd name="connsiteX21" fmla="*/ 216710 w 1857518"/>
              <a:gd name="connsiteY21" fmla="*/ 1096873 h 1847198"/>
              <a:gd name="connsiteX22" fmla="*/ 201231 w 1857518"/>
              <a:gd name="connsiteY22" fmla="*/ 1012769 h 1847198"/>
              <a:gd name="connsiteX23" fmla="*/ 181108 w 1857518"/>
              <a:gd name="connsiteY23" fmla="*/ 989034 h 1847198"/>
              <a:gd name="connsiteX24" fmla="*/ 67077 w 1857518"/>
              <a:gd name="connsiteY24" fmla="*/ 947240 h 1847198"/>
              <a:gd name="connsiteX25" fmla="*/ 0 w 1857518"/>
              <a:gd name="connsiteY25" fmla="*/ 921957 h 1847198"/>
              <a:gd name="connsiteX26" fmla="*/ 0 w 1857518"/>
              <a:gd name="connsiteY26" fmla="*/ 893062 h 1847198"/>
              <a:gd name="connsiteX27" fmla="*/ 4643 w 1857518"/>
              <a:gd name="connsiteY27" fmla="*/ 842496 h 1847198"/>
              <a:gd name="connsiteX28" fmla="*/ 17543 w 1857518"/>
              <a:gd name="connsiteY28" fmla="*/ 743945 h 1847198"/>
              <a:gd name="connsiteX29" fmla="*/ 38182 w 1857518"/>
              <a:gd name="connsiteY29" fmla="*/ 723305 h 1847198"/>
              <a:gd name="connsiteX30" fmla="*/ 214131 w 1857518"/>
              <a:gd name="connsiteY30" fmla="*/ 691315 h 1847198"/>
              <a:gd name="connsiteX31" fmla="*/ 239929 w 1857518"/>
              <a:gd name="connsiteY31" fmla="*/ 671192 h 1847198"/>
              <a:gd name="connsiteX32" fmla="*/ 266760 w 1857518"/>
              <a:gd name="connsiteY32" fmla="*/ 606695 h 1847198"/>
              <a:gd name="connsiteX33" fmla="*/ 262116 w 1857518"/>
              <a:gd name="connsiteY33" fmla="*/ 570060 h 1847198"/>
              <a:gd name="connsiteX34" fmla="*/ 159437 w 1857518"/>
              <a:gd name="connsiteY34" fmla="*/ 434874 h 1847198"/>
              <a:gd name="connsiteX35" fmla="*/ 159953 w 1857518"/>
              <a:gd name="connsiteY35" fmla="*/ 401336 h 1847198"/>
              <a:gd name="connsiteX36" fmla="*/ 259536 w 1857518"/>
              <a:gd name="connsiteY36" fmla="*/ 278017 h 1847198"/>
              <a:gd name="connsiteX37" fmla="*/ 294623 w 1857518"/>
              <a:gd name="connsiteY37" fmla="*/ 268729 h 1847198"/>
              <a:gd name="connsiteX38" fmla="*/ 457672 w 1857518"/>
              <a:gd name="connsiteY38" fmla="*/ 336322 h 1847198"/>
              <a:gd name="connsiteX39" fmla="*/ 489146 w 1857518"/>
              <a:gd name="connsiteY39" fmla="*/ 333743 h 1847198"/>
              <a:gd name="connsiteX40" fmla="*/ 540744 w 1857518"/>
              <a:gd name="connsiteY40" fmla="*/ 298140 h 1847198"/>
              <a:gd name="connsiteX41" fmla="*/ 553127 w 1857518"/>
              <a:gd name="connsiteY41" fmla="*/ 273889 h 1847198"/>
              <a:gd name="connsiteX42" fmla="*/ 552096 w 1857518"/>
              <a:gd name="connsiteY42" fmla="*/ 255830 h 1847198"/>
              <a:gd name="connsiteX43" fmla="*/ 545904 w 1857518"/>
              <a:gd name="connsiteY43" fmla="*/ 175854 h 1847198"/>
              <a:gd name="connsiteX44" fmla="*/ 539712 w 1857518"/>
              <a:gd name="connsiteY44" fmla="*/ 95877 h 1847198"/>
              <a:gd name="connsiteX45" fmla="*/ 556739 w 1857518"/>
              <a:gd name="connsiteY45" fmla="*/ 69562 h 1847198"/>
              <a:gd name="connsiteX46" fmla="*/ 716176 w 1857518"/>
              <a:gd name="connsiteY46" fmla="*/ 15901 h 1847198"/>
              <a:gd name="connsiteX47" fmla="*/ 726496 w 1857518"/>
              <a:gd name="connsiteY47" fmla="*/ 14353 h 1847198"/>
              <a:gd name="connsiteX48" fmla="*/ 748167 w 1857518"/>
              <a:gd name="connsiteY48" fmla="*/ 28800 h 1847198"/>
              <a:gd name="connsiteX49" fmla="*/ 847750 w 1857518"/>
              <a:gd name="connsiteY49" fmla="*/ 172758 h 1847198"/>
              <a:gd name="connsiteX50" fmla="*/ 878709 w 1857518"/>
              <a:gd name="connsiteY50" fmla="*/ 187721 h 1847198"/>
              <a:gd name="connsiteX51" fmla="*/ 931855 w 1857518"/>
              <a:gd name="connsiteY51" fmla="*/ 185657 h 1847198"/>
              <a:gd name="connsiteX52" fmla="*/ 948366 w 1857518"/>
              <a:gd name="connsiteY52" fmla="*/ 177401 h 1847198"/>
              <a:gd name="connsiteX53" fmla="*/ 954042 w 1857518"/>
              <a:gd name="connsiteY53" fmla="*/ 169146 h 1847198"/>
              <a:gd name="connsiteX54" fmla="*/ 979840 w 1857518"/>
              <a:gd name="connsiteY54" fmla="*/ 121676 h 1847198"/>
              <a:gd name="connsiteX55" fmla="*/ 1037630 w 1857518"/>
              <a:gd name="connsiteY55" fmla="*/ 13837 h 1847198"/>
              <a:gd name="connsiteX56" fmla="*/ 1066525 w 1857518"/>
              <a:gd name="connsiteY56" fmla="*/ 937 h 1847198"/>
              <a:gd name="connsiteX57" fmla="*/ 1233702 w 1857518"/>
              <a:gd name="connsiteY57" fmla="*/ 40667 h 1847198"/>
              <a:gd name="connsiteX58" fmla="*/ 1253309 w 1857518"/>
              <a:gd name="connsiteY58" fmla="*/ 64918 h 1847198"/>
              <a:gd name="connsiteX59" fmla="*/ 1254341 w 1857518"/>
              <a:gd name="connsiteY59" fmla="*/ 85042 h 1847198"/>
              <a:gd name="connsiteX60" fmla="*/ 1258468 w 1857518"/>
              <a:gd name="connsiteY60" fmla="*/ 209908 h 1847198"/>
              <a:gd name="connsiteX61" fmla="*/ 1260016 w 1857518"/>
              <a:gd name="connsiteY61" fmla="*/ 244478 h 1847198"/>
              <a:gd name="connsiteX62" fmla="*/ 1276012 w 1857518"/>
              <a:gd name="connsiteY62" fmla="*/ 270277 h 1847198"/>
              <a:gd name="connsiteX63" fmla="*/ 1313678 w 1857518"/>
              <a:gd name="connsiteY63" fmla="*/ 291948 h 1847198"/>
              <a:gd name="connsiteX64" fmla="*/ 1349797 w 1857518"/>
              <a:gd name="connsiteY64" fmla="*/ 291948 h 1847198"/>
              <a:gd name="connsiteX65" fmla="*/ 1502526 w 1857518"/>
              <a:gd name="connsiteY65" fmla="*/ 206812 h 1847198"/>
              <a:gd name="connsiteX66" fmla="*/ 1535033 w 1857518"/>
              <a:gd name="connsiteY66" fmla="*/ 211456 h 1847198"/>
              <a:gd name="connsiteX67" fmla="*/ 1653707 w 1857518"/>
              <a:gd name="connsiteY67" fmla="*/ 332711 h 1847198"/>
              <a:gd name="connsiteX68" fmla="*/ 1657835 w 1857518"/>
              <a:gd name="connsiteY68" fmla="*/ 366249 h 1847198"/>
              <a:gd name="connsiteX69" fmla="*/ 1569087 w 1857518"/>
              <a:gd name="connsiteY69" fmla="*/ 515883 h 1847198"/>
              <a:gd name="connsiteX70" fmla="*/ 1568571 w 1857518"/>
              <a:gd name="connsiteY70" fmla="*/ 550453 h 1847198"/>
              <a:gd name="connsiteX71" fmla="*/ 1591274 w 1857518"/>
              <a:gd name="connsiteY71" fmla="*/ 592247 h 1847198"/>
              <a:gd name="connsiteX72" fmla="*/ 1617589 w 1857518"/>
              <a:gd name="connsiteY72" fmla="*/ 608759 h 1847198"/>
              <a:gd name="connsiteX73" fmla="*/ 1676926 w 1857518"/>
              <a:gd name="connsiteY73" fmla="*/ 612886 h 1847198"/>
              <a:gd name="connsiteX74" fmla="*/ 1797665 w 1857518"/>
              <a:gd name="connsiteY74" fmla="*/ 620626 h 1847198"/>
              <a:gd name="connsiteX75" fmla="*/ 1820884 w 1857518"/>
              <a:gd name="connsiteY75" fmla="*/ 640233 h 1847198"/>
              <a:gd name="connsiteX76" fmla="*/ 1857518 w 1857518"/>
              <a:gd name="connsiteY76" fmla="*/ 808442 h 1847198"/>
              <a:gd name="connsiteX77" fmla="*/ 1851842 w 1857518"/>
              <a:gd name="connsiteY77" fmla="*/ 829081 h 1847198"/>
              <a:gd name="connsiteX78" fmla="*/ 1841523 w 1857518"/>
              <a:gd name="connsiteY78" fmla="*/ 836305 h 1847198"/>
              <a:gd name="connsiteX79" fmla="*/ 1686214 w 1857518"/>
              <a:gd name="connsiteY79" fmla="*/ 913701 h 1847198"/>
              <a:gd name="connsiteX80" fmla="*/ 1668670 w 1857518"/>
              <a:gd name="connsiteY80" fmla="*/ 940016 h 1847198"/>
              <a:gd name="connsiteX81" fmla="*/ 1665059 w 1857518"/>
              <a:gd name="connsiteY81" fmla="*/ 998322 h 1847198"/>
              <a:gd name="connsiteX82" fmla="*/ 1678474 w 1857518"/>
              <a:gd name="connsiteY82" fmla="*/ 1026184 h 1847198"/>
              <a:gd name="connsiteX83" fmla="*/ 1821916 w 1857518"/>
              <a:gd name="connsiteY83" fmla="*/ 1131960 h 1847198"/>
              <a:gd name="connsiteX84" fmla="*/ 1831720 w 1857518"/>
              <a:gd name="connsiteY84" fmla="*/ 1163950 h 1847198"/>
              <a:gd name="connsiteX85" fmla="*/ 1805404 w 1857518"/>
              <a:gd name="connsiteY85" fmla="*/ 1236703 h 1847198"/>
              <a:gd name="connsiteX86" fmla="*/ 1775478 w 1857518"/>
              <a:gd name="connsiteY86" fmla="*/ 1317711 h 1847198"/>
              <a:gd name="connsiteX87" fmla="*/ 1750195 w 1857518"/>
              <a:gd name="connsiteY87" fmla="*/ 1334223 h 1847198"/>
              <a:gd name="connsiteX88" fmla="*/ 1685698 w 1857518"/>
              <a:gd name="connsiteY88" fmla="*/ 1327515 h 1847198"/>
              <a:gd name="connsiteX89" fmla="*/ 1574247 w 1857518"/>
              <a:gd name="connsiteY89" fmla="*/ 1315648 h 1847198"/>
              <a:gd name="connsiteX90" fmla="*/ 1545868 w 1857518"/>
              <a:gd name="connsiteY90" fmla="*/ 1328547 h 1847198"/>
              <a:gd name="connsiteX91" fmla="*/ 1505622 w 1857518"/>
              <a:gd name="connsiteY91" fmla="*/ 1383241 h 1847198"/>
              <a:gd name="connsiteX92" fmla="*/ 1500978 w 1857518"/>
              <a:gd name="connsiteY92" fmla="*/ 1417811 h 1847198"/>
              <a:gd name="connsiteX93" fmla="*/ 1563411 w 1857518"/>
              <a:gd name="connsiteY93" fmla="*/ 1581892 h 1847198"/>
              <a:gd name="connsiteX94" fmla="*/ 1554124 w 1857518"/>
              <a:gd name="connsiteY94" fmla="*/ 1615430 h 1847198"/>
              <a:gd name="connsiteX95" fmla="*/ 1430805 w 1857518"/>
              <a:gd name="connsiteY95" fmla="*/ 1708822 h 1847198"/>
              <a:gd name="connsiteX96" fmla="*/ 1397266 w 1857518"/>
              <a:gd name="connsiteY96" fmla="*/ 1708306 h 1847198"/>
              <a:gd name="connsiteX97" fmla="*/ 1263628 w 1857518"/>
              <a:gd name="connsiteY97" fmla="*/ 1600467 h 1847198"/>
              <a:gd name="connsiteX98" fmla="*/ 1232154 w 1857518"/>
              <a:gd name="connsiteY98" fmla="*/ 1594275 h 1847198"/>
              <a:gd name="connsiteX99" fmla="*/ 1153725 w 1857518"/>
              <a:gd name="connsiteY99" fmla="*/ 1624202 h 1847198"/>
              <a:gd name="connsiteX100" fmla="*/ 1134634 w 1857518"/>
              <a:gd name="connsiteY100" fmla="*/ 1646905 h 1847198"/>
              <a:gd name="connsiteX101" fmla="*/ 1123798 w 1857518"/>
              <a:gd name="connsiteY101" fmla="*/ 1698503 h 1847198"/>
              <a:gd name="connsiteX102" fmla="*/ 1097999 w 1857518"/>
              <a:gd name="connsiteY102" fmla="*/ 1821821 h 1847198"/>
              <a:gd name="connsiteX103" fmla="*/ 1076329 w 1857518"/>
              <a:gd name="connsiteY103" fmla="*/ 1842460 h 1847198"/>
              <a:gd name="connsiteX104" fmla="*/ 994288 w 1857518"/>
              <a:gd name="connsiteY104" fmla="*/ 1851232 h 1847198"/>
              <a:gd name="connsiteX105" fmla="*/ 959201 w 1857518"/>
              <a:gd name="connsiteY105" fmla="*/ 1852264 h 1847198"/>
              <a:gd name="connsiteX106" fmla="*/ 928759 w 1857518"/>
              <a:gd name="connsiteY106" fmla="*/ 382245 h 1847198"/>
              <a:gd name="connsiteX107" fmla="*/ 386983 w 1857518"/>
              <a:gd name="connsiteY107" fmla="*/ 921957 h 1847198"/>
              <a:gd name="connsiteX108" fmla="*/ 926695 w 1857518"/>
              <a:gd name="connsiteY108" fmla="*/ 1465797 h 1847198"/>
              <a:gd name="connsiteX109" fmla="*/ 1470535 w 1857518"/>
              <a:gd name="connsiteY109" fmla="*/ 924537 h 1847198"/>
              <a:gd name="connsiteX110" fmla="*/ 928759 w 1857518"/>
              <a:gd name="connsiteY110" fmla="*/ 382245 h 18471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</a:cxnLst>
            <a:rect l="l" t="t" r="r" b="b"/>
            <a:pathLst>
              <a:path w="1857518" h="1847198">
                <a:moveTo>
                  <a:pt x="959201" y="1852264"/>
                </a:moveTo>
                <a:cubicBezTo>
                  <a:pt x="943206" y="1852264"/>
                  <a:pt x="927211" y="1852264"/>
                  <a:pt x="910700" y="1852264"/>
                </a:cubicBezTo>
                <a:cubicBezTo>
                  <a:pt x="900380" y="1848652"/>
                  <a:pt x="894704" y="1840913"/>
                  <a:pt x="891608" y="1830593"/>
                </a:cubicBezTo>
                <a:cubicBezTo>
                  <a:pt x="874065" y="1776931"/>
                  <a:pt x="856006" y="1723270"/>
                  <a:pt x="838463" y="1669608"/>
                </a:cubicBezTo>
                <a:cubicBezTo>
                  <a:pt x="834335" y="1657224"/>
                  <a:pt x="826080" y="1649485"/>
                  <a:pt x="813180" y="1646905"/>
                </a:cubicBezTo>
                <a:cubicBezTo>
                  <a:pt x="785833" y="1640713"/>
                  <a:pt x="757970" y="1635037"/>
                  <a:pt x="730624" y="1628330"/>
                </a:cubicBezTo>
                <a:cubicBezTo>
                  <a:pt x="716176" y="1624718"/>
                  <a:pt x="704309" y="1628330"/>
                  <a:pt x="693990" y="1639165"/>
                </a:cubicBezTo>
                <a:cubicBezTo>
                  <a:pt x="654259" y="1680443"/>
                  <a:pt x="613497" y="1720690"/>
                  <a:pt x="573251" y="1761452"/>
                </a:cubicBezTo>
                <a:cubicBezTo>
                  <a:pt x="563963" y="1770739"/>
                  <a:pt x="553127" y="1772804"/>
                  <a:pt x="542292" y="1766612"/>
                </a:cubicBezTo>
                <a:cubicBezTo>
                  <a:pt x="498950" y="1742361"/>
                  <a:pt x="456123" y="1718110"/>
                  <a:pt x="412782" y="1693859"/>
                </a:cubicBezTo>
                <a:cubicBezTo>
                  <a:pt x="397818" y="1685603"/>
                  <a:pt x="394206" y="1676832"/>
                  <a:pt x="398334" y="1660836"/>
                </a:cubicBezTo>
                <a:cubicBezTo>
                  <a:pt x="412265" y="1605111"/>
                  <a:pt x="426713" y="1549901"/>
                  <a:pt x="440644" y="1494176"/>
                </a:cubicBezTo>
                <a:cubicBezTo>
                  <a:pt x="443741" y="1482308"/>
                  <a:pt x="441676" y="1471473"/>
                  <a:pt x="432904" y="1462185"/>
                </a:cubicBezTo>
                <a:cubicBezTo>
                  <a:pt x="412265" y="1440514"/>
                  <a:pt x="391110" y="1418843"/>
                  <a:pt x="370471" y="1397172"/>
                </a:cubicBezTo>
                <a:cubicBezTo>
                  <a:pt x="362216" y="1388400"/>
                  <a:pt x="351896" y="1385820"/>
                  <a:pt x="340545" y="1388400"/>
                </a:cubicBezTo>
                <a:cubicBezTo>
                  <a:pt x="330226" y="1390464"/>
                  <a:pt x="320422" y="1393044"/>
                  <a:pt x="310618" y="1395108"/>
                </a:cubicBezTo>
                <a:cubicBezTo>
                  <a:pt x="263664" y="1405428"/>
                  <a:pt x="217226" y="1416263"/>
                  <a:pt x="170273" y="1426583"/>
                </a:cubicBezTo>
                <a:cubicBezTo>
                  <a:pt x="157373" y="1429679"/>
                  <a:pt x="147054" y="1425035"/>
                  <a:pt x="141377" y="1413683"/>
                </a:cubicBezTo>
                <a:cubicBezTo>
                  <a:pt x="117642" y="1368277"/>
                  <a:pt x="94423" y="1322355"/>
                  <a:pt x="70689" y="1276949"/>
                </a:cubicBezTo>
                <a:cubicBezTo>
                  <a:pt x="65529" y="1266630"/>
                  <a:pt x="67593" y="1255278"/>
                  <a:pt x="75848" y="1247539"/>
                </a:cubicBezTo>
                <a:cubicBezTo>
                  <a:pt x="119191" y="1207292"/>
                  <a:pt x="163049" y="1166530"/>
                  <a:pt x="206391" y="1126284"/>
                </a:cubicBezTo>
                <a:cubicBezTo>
                  <a:pt x="215162" y="1118544"/>
                  <a:pt x="218258" y="1108225"/>
                  <a:pt x="216710" y="1096873"/>
                </a:cubicBezTo>
                <a:cubicBezTo>
                  <a:pt x="211551" y="1069010"/>
                  <a:pt x="206391" y="1040631"/>
                  <a:pt x="201231" y="1012769"/>
                </a:cubicBezTo>
                <a:cubicBezTo>
                  <a:pt x="199167" y="1000901"/>
                  <a:pt x="192459" y="993162"/>
                  <a:pt x="181108" y="989034"/>
                </a:cubicBezTo>
                <a:cubicBezTo>
                  <a:pt x="142925" y="975103"/>
                  <a:pt x="104743" y="961171"/>
                  <a:pt x="67077" y="947240"/>
                </a:cubicBezTo>
                <a:cubicBezTo>
                  <a:pt x="44890" y="938984"/>
                  <a:pt x="22187" y="931760"/>
                  <a:pt x="0" y="921957"/>
                </a:cubicBezTo>
                <a:cubicBezTo>
                  <a:pt x="0" y="912153"/>
                  <a:pt x="0" y="902866"/>
                  <a:pt x="0" y="893062"/>
                </a:cubicBezTo>
                <a:cubicBezTo>
                  <a:pt x="1548" y="876035"/>
                  <a:pt x="3096" y="859524"/>
                  <a:pt x="4643" y="842496"/>
                </a:cubicBezTo>
                <a:cubicBezTo>
                  <a:pt x="7740" y="809474"/>
                  <a:pt x="12383" y="776451"/>
                  <a:pt x="17543" y="743945"/>
                </a:cubicBezTo>
                <a:cubicBezTo>
                  <a:pt x="19091" y="733109"/>
                  <a:pt x="26831" y="725369"/>
                  <a:pt x="38182" y="723305"/>
                </a:cubicBezTo>
                <a:cubicBezTo>
                  <a:pt x="97003" y="712470"/>
                  <a:pt x="155309" y="702150"/>
                  <a:pt x="214131" y="691315"/>
                </a:cubicBezTo>
                <a:cubicBezTo>
                  <a:pt x="226514" y="689251"/>
                  <a:pt x="234770" y="682543"/>
                  <a:pt x="239929" y="671192"/>
                </a:cubicBezTo>
                <a:cubicBezTo>
                  <a:pt x="248701" y="649521"/>
                  <a:pt x="257989" y="627850"/>
                  <a:pt x="266760" y="606695"/>
                </a:cubicBezTo>
                <a:cubicBezTo>
                  <a:pt x="272436" y="593279"/>
                  <a:pt x="270888" y="581928"/>
                  <a:pt x="262116" y="570060"/>
                </a:cubicBezTo>
                <a:cubicBezTo>
                  <a:pt x="227546" y="525170"/>
                  <a:pt x="193492" y="479764"/>
                  <a:pt x="159437" y="434874"/>
                </a:cubicBezTo>
                <a:cubicBezTo>
                  <a:pt x="150665" y="423007"/>
                  <a:pt x="150665" y="412687"/>
                  <a:pt x="159953" y="401336"/>
                </a:cubicBezTo>
                <a:cubicBezTo>
                  <a:pt x="192975" y="360058"/>
                  <a:pt x="225998" y="319295"/>
                  <a:pt x="259536" y="278017"/>
                </a:cubicBezTo>
                <a:cubicBezTo>
                  <a:pt x="270372" y="265118"/>
                  <a:pt x="279144" y="262538"/>
                  <a:pt x="294623" y="268729"/>
                </a:cubicBezTo>
                <a:cubicBezTo>
                  <a:pt x="348801" y="291433"/>
                  <a:pt x="402978" y="313620"/>
                  <a:pt x="457672" y="336322"/>
                </a:cubicBezTo>
                <a:cubicBezTo>
                  <a:pt x="468507" y="340966"/>
                  <a:pt x="479342" y="340450"/>
                  <a:pt x="489146" y="333743"/>
                </a:cubicBezTo>
                <a:cubicBezTo>
                  <a:pt x="506690" y="321875"/>
                  <a:pt x="523717" y="310008"/>
                  <a:pt x="540744" y="298140"/>
                </a:cubicBezTo>
                <a:cubicBezTo>
                  <a:pt x="548999" y="292464"/>
                  <a:pt x="553127" y="284209"/>
                  <a:pt x="553127" y="273889"/>
                </a:cubicBezTo>
                <a:cubicBezTo>
                  <a:pt x="553127" y="267697"/>
                  <a:pt x="552612" y="261506"/>
                  <a:pt x="552096" y="255830"/>
                </a:cubicBezTo>
                <a:cubicBezTo>
                  <a:pt x="550032" y="228999"/>
                  <a:pt x="547968" y="202684"/>
                  <a:pt x="545904" y="175854"/>
                </a:cubicBezTo>
                <a:cubicBezTo>
                  <a:pt x="543840" y="149023"/>
                  <a:pt x="541776" y="122708"/>
                  <a:pt x="539712" y="95877"/>
                </a:cubicBezTo>
                <a:cubicBezTo>
                  <a:pt x="538680" y="83493"/>
                  <a:pt x="544872" y="73690"/>
                  <a:pt x="556739" y="69562"/>
                </a:cubicBezTo>
                <a:cubicBezTo>
                  <a:pt x="609885" y="51503"/>
                  <a:pt x="663031" y="33444"/>
                  <a:pt x="716176" y="15901"/>
                </a:cubicBezTo>
                <a:cubicBezTo>
                  <a:pt x="719788" y="14869"/>
                  <a:pt x="722884" y="14353"/>
                  <a:pt x="726496" y="14353"/>
                </a:cubicBezTo>
                <a:cubicBezTo>
                  <a:pt x="736299" y="14869"/>
                  <a:pt x="742491" y="21060"/>
                  <a:pt x="748167" y="28800"/>
                </a:cubicBezTo>
                <a:cubicBezTo>
                  <a:pt x="781189" y="76786"/>
                  <a:pt x="814728" y="124772"/>
                  <a:pt x="847750" y="172758"/>
                </a:cubicBezTo>
                <a:cubicBezTo>
                  <a:pt x="855490" y="183593"/>
                  <a:pt x="865810" y="188753"/>
                  <a:pt x="878709" y="187721"/>
                </a:cubicBezTo>
                <a:cubicBezTo>
                  <a:pt x="896252" y="186173"/>
                  <a:pt x="914312" y="185657"/>
                  <a:pt x="931855" y="185657"/>
                </a:cubicBezTo>
                <a:cubicBezTo>
                  <a:pt x="939079" y="185657"/>
                  <a:pt x="944239" y="183077"/>
                  <a:pt x="948366" y="177401"/>
                </a:cubicBezTo>
                <a:cubicBezTo>
                  <a:pt x="950430" y="174822"/>
                  <a:pt x="952494" y="171726"/>
                  <a:pt x="954042" y="169146"/>
                </a:cubicBezTo>
                <a:cubicBezTo>
                  <a:pt x="962814" y="153150"/>
                  <a:pt x="971069" y="137155"/>
                  <a:pt x="979840" y="121676"/>
                </a:cubicBezTo>
                <a:cubicBezTo>
                  <a:pt x="998932" y="85558"/>
                  <a:pt x="1018539" y="49955"/>
                  <a:pt x="1037630" y="13837"/>
                </a:cubicBezTo>
                <a:cubicBezTo>
                  <a:pt x="1043822" y="2485"/>
                  <a:pt x="1053626" y="-2159"/>
                  <a:pt x="1066525" y="937"/>
                </a:cubicBezTo>
                <a:cubicBezTo>
                  <a:pt x="1122251" y="14353"/>
                  <a:pt x="1177976" y="27252"/>
                  <a:pt x="1233702" y="40667"/>
                </a:cubicBezTo>
                <a:cubicBezTo>
                  <a:pt x="1245569" y="43763"/>
                  <a:pt x="1252793" y="52535"/>
                  <a:pt x="1253309" y="64918"/>
                </a:cubicBezTo>
                <a:cubicBezTo>
                  <a:pt x="1253825" y="71626"/>
                  <a:pt x="1253825" y="78334"/>
                  <a:pt x="1254341" y="85042"/>
                </a:cubicBezTo>
                <a:cubicBezTo>
                  <a:pt x="1255888" y="126836"/>
                  <a:pt x="1256921" y="168630"/>
                  <a:pt x="1258468" y="209908"/>
                </a:cubicBezTo>
                <a:cubicBezTo>
                  <a:pt x="1258985" y="221260"/>
                  <a:pt x="1259501" y="233127"/>
                  <a:pt x="1260016" y="244478"/>
                </a:cubicBezTo>
                <a:cubicBezTo>
                  <a:pt x="1260532" y="255830"/>
                  <a:pt x="1266208" y="264602"/>
                  <a:pt x="1276012" y="270277"/>
                </a:cubicBezTo>
                <a:cubicBezTo>
                  <a:pt x="1288395" y="277501"/>
                  <a:pt x="1301295" y="284209"/>
                  <a:pt x="1313678" y="291948"/>
                </a:cubicBezTo>
                <a:cubicBezTo>
                  <a:pt x="1326062" y="299172"/>
                  <a:pt x="1337413" y="298656"/>
                  <a:pt x="1349797" y="291948"/>
                </a:cubicBezTo>
                <a:cubicBezTo>
                  <a:pt x="1400879" y="263570"/>
                  <a:pt x="1451444" y="235191"/>
                  <a:pt x="1502526" y="206812"/>
                </a:cubicBezTo>
                <a:cubicBezTo>
                  <a:pt x="1514394" y="200105"/>
                  <a:pt x="1525745" y="202168"/>
                  <a:pt x="1535033" y="211456"/>
                </a:cubicBezTo>
                <a:cubicBezTo>
                  <a:pt x="1574763" y="251702"/>
                  <a:pt x="1613977" y="292464"/>
                  <a:pt x="1653707" y="332711"/>
                </a:cubicBezTo>
                <a:cubicBezTo>
                  <a:pt x="1664027" y="343546"/>
                  <a:pt x="1665575" y="353350"/>
                  <a:pt x="1657835" y="366249"/>
                </a:cubicBezTo>
                <a:cubicBezTo>
                  <a:pt x="1628424" y="416299"/>
                  <a:pt x="1598497" y="465833"/>
                  <a:pt x="1569087" y="515883"/>
                </a:cubicBezTo>
                <a:cubicBezTo>
                  <a:pt x="1562379" y="527234"/>
                  <a:pt x="1561863" y="539102"/>
                  <a:pt x="1568571" y="550453"/>
                </a:cubicBezTo>
                <a:cubicBezTo>
                  <a:pt x="1576311" y="564384"/>
                  <a:pt x="1583534" y="578316"/>
                  <a:pt x="1591274" y="592247"/>
                </a:cubicBezTo>
                <a:cubicBezTo>
                  <a:pt x="1596950" y="602567"/>
                  <a:pt x="1605721" y="608243"/>
                  <a:pt x="1617589" y="608759"/>
                </a:cubicBezTo>
                <a:cubicBezTo>
                  <a:pt x="1637196" y="610307"/>
                  <a:pt x="1657319" y="611339"/>
                  <a:pt x="1676926" y="612886"/>
                </a:cubicBezTo>
                <a:cubicBezTo>
                  <a:pt x="1717172" y="615466"/>
                  <a:pt x="1757419" y="618046"/>
                  <a:pt x="1797665" y="620626"/>
                </a:cubicBezTo>
                <a:cubicBezTo>
                  <a:pt x="1809016" y="621142"/>
                  <a:pt x="1818304" y="628882"/>
                  <a:pt x="1820884" y="640233"/>
                </a:cubicBezTo>
                <a:cubicBezTo>
                  <a:pt x="1833267" y="695959"/>
                  <a:pt x="1845135" y="752200"/>
                  <a:pt x="1857518" y="808442"/>
                </a:cubicBezTo>
                <a:cubicBezTo>
                  <a:pt x="1859066" y="816181"/>
                  <a:pt x="1857002" y="822889"/>
                  <a:pt x="1851842" y="829081"/>
                </a:cubicBezTo>
                <a:cubicBezTo>
                  <a:pt x="1849262" y="832177"/>
                  <a:pt x="1845135" y="834241"/>
                  <a:pt x="1841523" y="836305"/>
                </a:cubicBezTo>
                <a:cubicBezTo>
                  <a:pt x="1789925" y="862103"/>
                  <a:pt x="1738327" y="887902"/>
                  <a:pt x="1686214" y="913701"/>
                </a:cubicBezTo>
                <a:cubicBezTo>
                  <a:pt x="1675378" y="919377"/>
                  <a:pt x="1669187" y="927633"/>
                  <a:pt x="1668670" y="940016"/>
                </a:cubicBezTo>
                <a:cubicBezTo>
                  <a:pt x="1667639" y="959623"/>
                  <a:pt x="1666090" y="978714"/>
                  <a:pt x="1665059" y="998322"/>
                </a:cubicBezTo>
                <a:cubicBezTo>
                  <a:pt x="1664543" y="1009673"/>
                  <a:pt x="1668670" y="1019477"/>
                  <a:pt x="1678474" y="1026184"/>
                </a:cubicBezTo>
                <a:cubicBezTo>
                  <a:pt x="1726460" y="1061271"/>
                  <a:pt x="1773930" y="1096873"/>
                  <a:pt x="1821916" y="1131960"/>
                </a:cubicBezTo>
                <a:cubicBezTo>
                  <a:pt x="1833267" y="1140215"/>
                  <a:pt x="1836879" y="1150535"/>
                  <a:pt x="1831720" y="1163950"/>
                </a:cubicBezTo>
                <a:cubicBezTo>
                  <a:pt x="1822948" y="1188201"/>
                  <a:pt x="1814176" y="1212452"/>
                  <a:pt x="1805404" y="1236703"/>
                </a:cubicBezTo>
                <a:cubicBezTo>
                  <a:pt x="1795601" y="1263534"/>
                  <a:pt x="1785798" y="1290881"/>
                  <a:pt x="1775478" y="1317711"/>
                </a:cubicBezTo>
                <a:cubicBezTo>
                  <a:pt x="1771350" y="1329063"/>
                  <a:pt x="1761546" y="1335255"/>
                  <a:pt x="1750195" y="1334223"/>
                </a:cubicBezTo>
                <a:cubicBezTo>
                  <a:pt x="1728524" y="1332159"/>
                  <a:pt x="1707369" y="1329579"/>
                  <a:pt x="1685698" y="1327515"/>
                </a:cubicBezTo>
                <a:cubicBezTo>
                  <a:pt x="1648548" y="1323387"/>
                  <a:pt x="1611397" y="1319259"/>
                  <a:pt x="1574247" y="1315648"/>
                </a:cubicBezTo>
                <a:cubicBezTo>
                  <a:pt x="1562379" y="1314616"/>
                  <a:pt x="1553092" y="1318743"/>
                  <a:pt x="1545868" y="1328547"/>
                </a:cubicBezTo>
                <a:cubicBezTo>
                  <a:pt x="1532453" y="1346606"/>
                  <a:pt x="1519553" y="1365181"/>
                  <a:pt x="1505622" y="1383241"/>
                </a:cubicBezTo>
                <a:cubicBezTo>
                  <a:pt x="1497366" y="1394076"/>
                  <a:pt x="1496334" y="1405428"/>
                  <a:pt x="1500978" y="1417811"/>
                </a:cubicBezTo>
                <a:cubicBezTo>
                  <a:pt x="1521617" y="1472505"/>
                  <a:pt x="1542772" y="1527198"/>
                  <a:pt x="1563411" y="1581892"/>
                </a:cubicBezTo>
                <a:cubicBezTo>
                  <a:pt x="1569087" y="1596339"/>
                  <a:pt x="1565991" y="1606143"/>
                  <a:pt x="1554124" y="1615430"/>
                </a:cubicBezTo>
                <a:cubicBezTo>
                  <a:pt x="1512845" y="1646389"/>
                  <a:pt x="1472083" y="1677864"/>
                  <a:pt x="1430805" y="1708822"/>
                </a:cubicBezTo>
                <a:cubicBezTo>
                  <a:pt x="1418938" y="1717594"/>
                  <a:pt x="1408618" y="1717594"/>
                  <a:pt x="1397266" y="1708306"/>
                </a:cubicBezTo>
                <a:cubicBezTo>
                  <a:pt x="1352892" y="1672704"/>
                  <a:pt x="1308003" y="1636585"/>
                  <a:pt x="1263628" y="1600467"/>
                </a:cubicBezTo>
                <a:cubicBezTo>
                  <a:pt x="1253825" y="1592727"/>
                  <a:pt x="1243505" y="1590147"/>
                  <a:pt x="1232154" y="1594275"/>
                </a:cubicBezTo>
                <a:cubicBezTo>
                  <a:pt x="1205839" y="1604079"/>
                  <a:pt x="1179524" y="1613883"/>
                  <a:pt x="1153725" y="1624202"/>
                </a:cubicBezTo>
                <a:cubicBezTo>
                  <a:pt x="1143406" y="1628330"/>
                  <a:pt x="1137214" y="1636070"/>
                  <a:pt x="1134634" y="1646905"/>
                </a:cubicBezTo>
                <a:cubicBezTo>
                  <a:pt x="1131022" y="1663932"/>
                  <a:pt x="1127411" y="1681475"/>
                  <a:pt x="1123798" y="1698503"/>
                </a:cubicBezTo>
                <a:cubicBezTo>
                  <a:pt x="1115027" y="1739781"/>
                  <a:pt x="1106771" y="1780543"/>
                  <a:pt x="1097999" y="1821821"/>
                </a:cubicBezTo>
                <a:cubicBezTo>
                  <a:pt x="1095420" y="1833689"/>
                  <a:pt x="1088196" y="1840913"/>
                  <a:pt x="1076329" y="1842460"/>
                </a:cubicBezTo>
                <a:cubicBezTo>
                  <a:pt x="1048982" y="1846072"/>
                  <a:pt x="1021635" y="1848652"/>
                  <a:pt x="994288" y="1851232"/>
                </a:cubicBezTo>
                <a:cubicBezTo>
                  <a:pt x="980873" y="1850200"/>
                  <a:pt x="970037" y="1851232"/>
                  <a:pt x="959201" y="1852264"/>
                </a:cubicBezTo>
                <a:close/>
                <a:moveTo>
                  <a:pt x="928759" y="382245"/>
                </a:moveTo>
                <a:cubicBezTo>
                  <a:pt x="633620" y="381729"/>
                  <a:pt x="388015" y="619594"/>
                  <a:pt x="386983" y="921957"/>
                </a:cubicBezTo>
                <a:cubicBezTo>
                  <a:pt x="385951" y="1222772"/>
                  <a:pt x="627428" y="1464765"/>
                  <a:pt x="926695" y="1465797"/>
                </a:cubicBezTo>
                <a:cubicBezTo>
                  <a:pt x="1229058" y="1466829"/>
                  <a:pt x="1470019" y="1222772"/>
                  <a:pt x="1470535" y="924537"/>
                </a:cubicBezTo>
                <a:cubicBezTo>
                  <a:pt x="1470535" y="625270"/>
                  <a:pt x="1228026" y="381729"/>
                  <a:pt x="928759" y="382245"/>
                </a:cubicBezTo>
                <a:close/>
              </a:path>
            </a:pathLst>
          </a:custGeom>
          <a:solidFill>
            <a:schemeClr val="bg1">
              <a:alpha val="5000"/>
            </a:schemeClr>
          </a:solidFill>
          <a:ln w="51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394B5F9-D8AC-415E-8C09-4BE415AA2EDA}"/>
              </a:ext>
            </a:extLst>
          </p:cNvPr>
          <p:cNvGrpSpPr/>
          <p:nvPr userDrawn="1"/>
        </p:nvGrpSpPr>
        <p:grpSpPr>
          <a:xfrm rot="14140429">
            <a:off x="1251624" y="1931265"/>
            <a:ext cx="1916415" cy="1725560"/>
            <a:chOff x="6486650" y="2648852"/>
            <a:chExt cx="2745260" cy="2471860"/>
          </a:xfrm>
          <a:solidFill>
            <a:schemeClr val="bg1">
              <a:alpha val="5000"/>
            </a:schemeClr>
          </a:solidFill>
        </p:grpSpPr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8EFBED93-CBB4-4C98-8D24-35EE940EECB0}"/>
                </a:ext>
              </a:extLst>
            </p:cNvPr>
            <p:cNvSpPr/>
            <p:nvPr/>
          </p:nvSpPr>
          <p:spPr>
            <a:xfrm>
              <a:off x="6486650" y="3806165"/>
              <a:ext cx="1318090" cy="1314547"/>
            </a:xfrm>
            <a:custGeom>
              <a:avLst/>
              <a:gdLst>
                <a:gd name="connsiteX0" fmla="*/ 0 w 1919435"/>
                <a:gd name="connsiteY0" fmla="*/ 987194 h 1914275"/>
                <a:gd name="connsiteX1" fmla="*/ 37667 w 1919435"/>
                <a:gd name="connsiteY1" fmla="*/ 959846 h 1914275"/>
                <a:gd name="connsiteX2" fmla="*/ 169757 w 1919435"/>
                <a:gd name="connsiteY2" fmla="*/ 922696 h 1914275"/>
                <a:gd name="connsiteX3" fmla="*/ 215163 w 1919435"/>
                <a:gd name="connsiteY3" fmla="*/ 872130 h 1914275"/>
                <a:gd name="connsiteX4" fmla="*/ 217743 w 1919435"/>
                <a:gd name="connsiteY4" fmla="*/ 850459 h 1914275"/>
                <a:gd name="connsiteX5" fmla="*/ 189364 w 1919435"/>
                <a:gd name="connsiteY5" fmla="*/ 797830 h 1914275"/>
                <a:gd name="connsiteX6" fmla="*/ 69657 w 1919435"/>
                <a:gd name="connsiteY6" fmla="*/ 727657 h 1914275"/>
                <a:gd name="connsiteX7" fmla="*/ 43858 w 1919435"/>
                <a:gd name="connsiteY7" fmla="*/ 664708 h 1914275"/>
                <a:gd name="connsiteX8" fmla="*/ 46438 w 1919435"/>
                <a:gd name="connsiteY8" fmla="*/ 655936 h 1914275"/>
                <a:gd name="connsiteX9" fmla="*/ 114547 w 1919435"/>
                <a:gd name="connsiteY9" fmla="*/ 608982 h 1914275"/>
                <a:gd name="connsiteX10" fmla="*/ 241478 w 1919435"/>
                <a:gd name="connsiteY10" fmla="*/ 623429 h 1914275"/>
                <a:gd name="connsiteX11" fmla="*/ 306491 w 1919435"/>
                <a:gd name="connsiteY11" fmla="*/ 593503 h 1914275"/>
                <a:gd name="connsiteX12" fmla="*/ 301331 w 1919435"/>
                <a:gd name="connsiteY12" fmla="*/ 505271 h 1914275"/>
                <a:gd name="connsiteX13" fmla="*/ 222386 w 1919435"/>
                <a:gd name="connsiteY13" fmla="*/ 400527 h 1914275"/>
                <a:gd name="connsiteX14" fmla="*/ 222386 w 1919435"/>
                <a:gd name="connsiteY14" fmla="*/ 342222 h 1914275"/>
                <a:gd name="connsiteX15" fmla="*/ 248185 w 1919435"/>
                <a:gd name="connsiteY15" fmla="*/ 313327 h 1914275"/>
                <a:gd name="connsiteX16" fmla="*/ 303395 w 1919435"/>
                <a:gd name="connsiteY16" fmla="*/ 307135 h 1914275"/>
                <a:gd name="connsiteX17" fmla="*/ 420522 w 1919435"/>
                <a:gd name="connsiteY17" fmla="*/ 373180 h 1914275"/>
                <a:gd name="connsiteX18" fmla="*/ 525265 w 1919435"/>
                <a:gd name="connsiteY18" fmla="*/ 343770 h 1914275"/>
                <a:gd name="connsiteX19" fmla="*/ 527845 w 1919435"/>
                <a:gd name="connsiteY19" fmla="*/ 298364 h 1914275"/>
                <a:gd name="connsiteX20" fmla="*/ 493791 w 1919435"/>
                <a:gd name="connsiteY20" fmla="*/ 166789 h 1914275"/>
                <a:gd name="connsiteX21" fmla="*/ 518557 w 1919435"/>
                <a:gd name="connsiteY21" fmla="*/ 105904 h 1914275"/>
                <a:gd name="connsiteX22" fmla="*/ 537649 w 1919435"/>
                <a:gd name="connsiteY22" fmla="*/ 95585 h 1914275"/>
                <a:gd name="connsiteX23" fmla="*/ 608853 w 1919435"/>
                <a:gd name="connsiteY23" fmla="*/ 113128 h 1914275"/>
                <a:gd name="connsiteX24" fmla="*/ 690894 w 1919435"/>
                <a:gd name="connsiteY24" fmla="*/ 217355 h 1914275"/>
                <a:gd name="connsiteX25" fmla="*/ 802861 w 1919435"/>
                <a:gd name="connsiteY25" fmla="*/ 216839 h 1914275"/>
                <a:gd name="connsiteX26" fmla="*/ 816277 w 1919435"/>
                <a:gd name="connsiteY26" fmla="*/ 169369 h 1914275"/>
                <a:gd name="connsiteX27" fmla="*/ 832788 w 1919435"/>
                <a:gd name="connsiteY27" fmla="*/ 48631 h 1914275"/>
                <a:gd name="connsiteX28" fmla="*/ 877677 w 1919435"/>
                <a:gd name="connsiteY28" fmla="*/ 2193 h 1914275"/>
                <a:gd name="connsiteX29" fmla="*/ 917924 w 1919435"/>
                <a:gd name="connsiteY29" fmla="*/ 645 h 1914275"/>
                <a:gd name="connsiteX30" fmla="*/ 956106 w 1919435"/>
                <a:gd name="connsiteY30" fmla="*/ 31603 h 1914275"/>
                <a:gd name="connsiteX31" fmla="*/ 993772 w 1919435"/>
                <a:gd name="connsiteY31" fmla="*/ 163693 h 1914275"/>
                <a:gd name="connsiteX32" fmla="*/ 1089745 w 1919435"/>
                <a:gd name="connsiteY32" fmla="*/ 217871 h 1914275"/>
                <a:gd name="connsiteX33" fmla="*/ 1120703 w 1919435"/>
                <a:gd name="connsiteY33" fmla="*/ 191040 h 1914275"/>
                <a:gd name="connsiteX34" fmla="*/ 1192940 w 1919435"/>
                <a:gd name="connsiteY34" fmla="*/ 68754 h 1914275"/>
                <a:gd name="connsiteX35" fmla="*/ 1251245 w 1919435"/>
                <a:gd name="connsiteY35" fmla="*/ 44503 h 1914275"/>
                <a:gd name="connsiteX36" fmla="*/ 1309035 w 1919435"/>
                <a:gd name="connsiteY36" fmla="*/ 137895 h 1914275"/>
                <a:gd name="connsiteX37" fmla="*/ 1294587 w 1919435"/>
                <a:gd name="connsiteY37" fmla="*/ 255538 h 1914275"/>
                <a:gd name="connsiteX38" fmla="*/ 1294587 w 1919435"/>
                <a:gd name="connsiteY38" fmla="*/ 267921 h 1914275"/>
                <a:gd name="connsiteX39" fmla="*/ 1399331 w 1919435"/>
                <a:gd name="connsiteY39" fmla="*/ 314359 h 1914275"/>
                <a:gd name="connsiteX40" fmla="*/ 1514394 w 1919435"/>
                <a:gd name="connsiteY40" fmla="*/ 228191 h 1914275"/>
                <a:gd name="connsiteX41" fmla="*/ 1584050 w 1919435"/>
                <a:gd name="connsiteY41" fmla="*/ 229223 h 1914275"/>
                <a:gd name="connsiteX42" fmla="*/ 1594886 w 1919435"/>
                <a:gd name="connsiteY42" fmla="*/ 238510 h 1914275"/>
                <a:gd name="connsiteX43" fmla="*/ 1606754 w 1919435"/>
                <a:gd name="connsiteY43" fmla="*/ 317971 h 1914275"/>
                <a:gd name="connsiteX44" fmla="*/ 1543288 w 1919435"/>
                <a:gd name="connsiteY44" fmla="*/ 430970 h 1914275"/>
                <a:gd name="connsiteX45" fmla="*/ 1552060 w 1919435"/>
                <a:gd name="connsiteY45" fmla="*/ 504239 h 1914275"/>
                <a:gd name="connsiteX46" fmla="*/ 1619137 w 1919435"/>
                <a:gd name="connsiteY46" fmla="*/ 531069 h 1914275"/>
                <a:gd name="connsiteX47" fmla="*/ 1754839 w 1919435"/>
                <a:gd name="connsiteY47" fmla="*/ 495467 h 1914275"/>
                <a:gd name="connsiteX48" fmla="*/ 1812629 w 1919435"/>
                <a:gd name="connsiteY48" fmla="*/ 517654 h 1914275"/>
                <a:gd name="connsiteX49" fmla="*/ 1830172 w 1919435"/>
                <a:gd name="connsiteY49" fmla="*/ 552225 h 1914275"/>
                <a:gd name="connsiteX50" fmla="*/ 1815724 w 1919435"/>
                <a:gd name="connsiteY50" fmla="*/ 603306 h 1914275"/>
                <a:gd name="connsiteX51" fmla="*/ 1699630 w 1919435"/>
                <a:gd name="connsiteY51" fmla="*/ 695666 h 1914275"/>
                <a:gd name="connsiteX52" fmla="*/ 1678990 w 1919435"/>
                <a:gd name="connsiteY52" fmla="*/ 751908 h 1914275"/>
                <a:gd name="connsiteX53" fmla="*/ 1685182 w 1919435"/>
                <a:gd name="connsiteY53" fmla="*/ 774611 h 1914275"/>
                <a:gd name="connsiteX54" fmla="*/ 1732652 w 1919435"/>
                <a:gd name="connsiteY54" fmla="*/ 815373 h 1914275"/>
                <a:gd name="connsiteX55" fmla="*/ 1872998 w 1919435"/>
                <a:gd name="connsiteY55" fmla="*/ 834464 h 1914275"/>
                <a:gd name="connsiteX56" fmla="*/ 1918404 w 1919435"/>
                <a:gd name="connsiteY56" fmla="*/ 879354 h 1914275"/>
                <a:gd name="connsiteX57" fmla="*/ 1919952 w 1919435"/>
                <a:gd name="connsiteY57" fmla="*/ 919600 h 1914275"/>
                <a:gd name="connsiteX58" fmla="*/ 1886930 w 1919435"/>
                <a:gd name="connsiteY58" fmla="*/ 958299 h 1914275"/>
                <a:gd name="connsiteX59" fmla="*/ 1754839 w 1919435"/>
                <a:gd name="connsiteY59" fmla="*/ 995965 h 1914275"/>
                <a:gd name="connsiteX60" fmla="*/ 1701178 w 1919435"/>
                <a:gd name="connsiteY60" fmla="*/ 1085229 h 1914275"/>
                <a:gd name="connsiteX61" fmla="*/ 1728524 w 1919435"/>
                <a:gd name="connsiteY61" fmla="*/ 1121348 h 1914275"/>
                <a:gd name="connsiteX62" fmla="*/ 1849779 w 1919435"/>
                <a:gd name="connsiteY62" fmla="*/ 1192552 h 1914275"/>
                <a:gd name="connsiteX63" fmla="*/ 1876094 w 1919435"/>
                <a:gd name="connsiteY63" fmla="*/ 1253954 h 1914275"/>
                <a:gd name="connsiteX64" fmla="*/ 1875062 w 1919435"/>
                <a:gd name="connsiteY64" fmla="*/ 1260145 h 1914275"/>
                <a:gd name="connsiteX65" fmla="*/ 1802309 w 1919435"/>
                <a:gd name="connsiteY65" fmla="*/ 1312259 h 1914275"/>
                <a:gd name="connsiteX66" fmla="*/ 1675379 w 1919435"/>
                <a:gd name="connsiteY66" fmla="*/ 1296264 h 1914275"/>
                <a:gd name="connsiteX67" fmla="*/ 1611398 w 1919435"/>
                <a:gd name="connsiteY67" fmla="*/ 1329286 h 1914275"/>
                <a:gd name="connsiteX68" fmla="*/ 1610365 w 1919435"/>
                <a:gd name="connsiteY68" fmla="*/ 1405651 h 1914275"/>
                <a:gd name="connsiteX69" fmla="*/ 1692406 w 1919435"/>
                <a:gd name="connsiteY69" fmla="*/ 1514006 h 1914275"/>
                <a:gd name="connsiteX70" fmla="*/ 1692406 w 1919435"/>
                <a:gd name="connsiteY70" fmla="*/ 1584695 h 1914275"/>
                <a:gd name="connsiteX71" fmla="*/ 1689310 w 1919435"/>
                <a:gd name="connsiteY71" fmla="*/ 1588307 h 1914275"/>
                <a:gd name="connsiteX72" fmla="*/ 1600562 w 1919435"/>
                <a:gd name="connsiteY72" fmla="*/ 1605850 h 1914275"/>
                <a:gd name="connsiteX73" fmla="*/ 1490659 w 1919435"/>
                <a:gd name="connsiteY73" fmla="*/ 1543933 h 1914275"/>
                <a:gd name="connsiteX74" fmla="*/ 1415326 w 1919435"/>
                <a:gd name="connsiteY74" fmla="*/ 1554769 h 1914275"/>
                <a:gd name="connsiteX75" fmla="*/ 1391075 w 1919435"/>
                <a:gd name="connsiteY75" fmla="*/ 1622877 h 1914275"/>
                <a:gd name="connsiteX76" fmla="*/ 1426677 w 1919435"/>
                <a:gd name="connsiteY76" fmla="*/ 1760128 h 1914275"/>
                <a:gd name="connsiteX77" fmla="*/ 1406554 w 1919435"/>
                <a:gd name="connsiteY77" fmla="*/ 1811725 h 1914275"/>
                <a:gd name="connsiteX78" fmla="*/ 1370436 w 1919435"/>
                <a:gd name="connsiteY78" fmla="*/ 1830300 h 1914275"/>
                <a:gd name="connsiteX79" fmla="*/ 1316258 w 1919435"/>
                <a:gd name="connsiteY79" fmla="*/ 1815337 h 1914275"/>
                <a:gd name="connsiteX80" fmla="*/ 1231122 w 1919435"/>
                <a:gd name="connsiteY80" fmla="*/ 1707498 h 1914275"/>
                <a:gd name="connsiteX81" fmla="*/ 1121219 w 1919435"/>
                <a:gd name="connsiteY81" fmla="*/ 1698210 h 1914275"/>
                <a:gd name="connsiteX82" fmla="*/ 1106771 w 1919435"/>
                <a:gd name="connsiteY82" fmla="*/ 1727105 h 1914275"/>
                <a:gd name="connsiteX83" fmla="*/ 1087165 w 1919435"/>
                <a:gd name="connsiteY83" fmla="*/ 1868999 h 1914275"/>
                <a:gd name="connsiteX84" fmla="*/ 1050014 w 1919435"/>
                <a:gd name="connsiteY84" fmla="*/ 1919049 h 1914275"/>
                <a:gd name="connsiteX85" fmla="*/ 987581 w 1919435"/>
                <a:gd name="connsiteY85" fmla="*/ 1919049 h 1914275"/>
                <a:gd name="connsiteX86" fmla="*/ 960234 w 1919435"/>
                <a:gd name="connsiteY86" fmla="*/ 1880866 h 1914275"/>
                <a:gd name="connsiteX87" fmla="*/ 921535 w 1919435"/>
                <a:gd name="connsiteY87" fmla="*/ 1744132 h 1914275"/>
                <a:gd name="connsiteX88" fmla="*/ 875614 w 1919435"/>
                <a:gd name="connsiteY88" fmla="*/ 1703886 h 1914275"/>
                <a:gd name="connsiteX89" fmla="*/ 847751 w 1919435"/>
                <a:gd name="connsiteY89" fmla="*/ 1700790 h 1914275"/>
                <a:gd name="connsiteX90" fmla="*/ 800281 w 1919435"/>
                <a:gd name="connsiteY90" fmla="*/ 1727105 h 1914275"/>
                <a:gd name="connsiteX91" fmla="*/ 788414 w 1919435"/>
                <a:gd name="connsiteY91" fmla="*/ 1747228 h 1914275"/>
                <a:gd name="connsiteX92" fmla="*/ 723401 w 1919435"/>
                <a:gd name="connsiteY92" fmla="*/ 1857131 h 1914275"/>
                <a:gd name="connsiteX93" fmla="*/ 674383 w 1919435"/>
                <a:gd name="connsiteY93" fmla="*/ 1877254 h 1914275"/>
                <a:gd name="connsiteX94" fmla="*/ 634652 w 1919435"/>
                <a:gd name="connsiteY94" fmla="*/ 1863839 h 1914275"/>
                <a:gd name="connsiteX95" fmla="*/ 607822 w 1919435"/>
                <a:gd name="connsiteY95" fmla="*/ 1813789 h 1914275"/>
                <a:gd name="connsiteX96" fmla="*/ 624848 w 1919435"/>
                <a:gd name="connsiteY96" fmla="*/ 1672927 h 1914275"/>
                <a:gd name="connsiteX97" fmla="*/ 586150 w 1919435"/>
                <a:gd name="connsiteY97" fmla="*/ 1607398 h 1914275"/>
                <a:gd name="connsiteX98" fmla="*/ 514430 w 1919435"/>
                <a:gd name="connsiteY98" fmla="*/ 1611010 h 1914275"/>
                <a:gd name="connsiteX99" fmla="*/ 413814 w 1919435"/>
                <a:gd name="connsiteY99" fmla="*/ 1687375 h 1914275"/>
                <a:gd name="connsiteX100" fmla="*/ 324550 w 1919435"/>
                <a:gd name="connsiteY100" fmla="*/ 1682215 h 1914275"/>
                <a:gd name="connsiteX101" fmla="*/ 316810 w 1919435"/>
                <a:gd name="connsiteY101" fmla="*/ 1674475 h 1914275"/>
                <a:gd name="connsiteX102" fmla="*/ 309071 w 1919435"/>
                <a:gd name="connsiteY102" fmla="*/ 1612558 h 1914275"/>
                <a:gd name="connsiteX103" fmla="*/ 376148 w 1919435"/>
                <a:gd name="connsiteY103" fmla="*/ 1492851 h 1914275"/>
                <a:gd name="connsiteX104" fmla="*/ 387499 w 1919435"/>
                <a:gd name="connsiteY104" fmla="*/ 1456217 h 1914275"/>
                <a:gd name="connsiteX105" fmla="*/ 297203 w 1919435"/>
                <a:gd name="connsiteY105" fmla="*/ 1391720 h 1914275"/>
                <a:gd name="connsiteX106" fmla="*/ 158405 w 1919435"/>
                <a:gd name="connsiteY106" fmla="*/ 1427838 h 1914275"/>
                <a:gd name="connsiteX107" fmla="*/ 114031 w 1919435"/>
                <a:gd name="connsiteY107" fmla="*/ 1412875 h 1914275"/>
                <a:gd name="connsiteX108" fmla="*/ 91844 w 1919435"/>
                <a:gd name="connsiteY108" fmla="*/ 1373660 h 1914275"/>
                <a:gd name="connsiteX109" fmla="*/ 106808 w 1919435"/>
                <a:gd name="connsiteY109" fmla="*/ 1315871 h 1914275"/>
                <a:gd name="connsiteX110" fmla="*/ 209487 w 1919435"/>
                <a:gd name="connsiteY110" fmla="*/ 1234347 h 1914275"/>
                <a:gd name="connsiteX111" fmla="*/ 236834 w 1919435"/>
                <a:gd name="connsiteY111" fmla="*/ 1151274 h 1914275"/>
                <a:gd name="connsiteX112" fmla="*/ 181624 w 1919435"/>
                <a:gd name="connsiteY112" fmla="*/ 1104836 h 1914275"/>
                <a:gd name="connsiteX113" fmla="*/ 52114 w 1919435"/>
                <a:gd name="connsiteY113" fmla="*/ 1087293 h 1914275"/>
                <a:gd name="connsiteX114" fmla="*/ 1032 w 1919435"/>
                <a:gd name="connsiteY114" fmla="*/ 1051175 h 1914275"/>
                <a:gd name="connsiteX115" fmla="*/ 0 w 1919435"/>
                <a:gd name="connsiteY115" fmla="*/ 987194 h 1914275"/>
                <a:gd name="connsiteX116" fmla="*/ 1198616 w 1919435"/>
                <a:gd name="connsiteY116" fmla="*/ 960879 h 1914275"/>
                <a:gd name="connsiteX117" fmla="*/ 958686 w 1919435"/>
                <a:gd name="connsiteY117" fmla="*/ 720949 h 1914275"/>
                <a:gd name="connsiteX118" fmla="*/ 720304 w 1919435"/>
                <a:gd name="connsiteY118" fmla="*/ 959331 h 1914275"/>
                <a:gd name="connsiteX119" fmla="*/ 957654 w 1919435"/>
                <a:gd name="connsiteY119" fmla="*/ 1198744 h 1914275"/>
                <a:gd name="connsiteX120" fmla="*/ 1198616 w 1919435"/>
                <a:gd name="connsiteY120" fmla="*/ 960879 h 1914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1919435" h="1914275">
                  <a:moveTo>
                    <a:pt x="0" y="987194"/>
                  </a:moveTo>
                  <a:cubicBezTo>
                    <a:pt x="8256" y="971714"/>
                    <a:pt x="21155" y="963975"/>
                    <a:pt x="37667" y="959846"/>
                  </a:cubicBezTo>
                  <a:cubicBezTo>
                    <a:pt x="82041" y="947979"/>
                    <a:pt x="125383" y="934564"/>
                    <a:pt x="169757" y="922696"/>
                  </a:cubicBezTo>
                  <a:cubicBezTo>
                    <a:pt x="196587" y="915473"/>
                    <a:pt x="212583" y="900509"/>
                    <a:pt x="215163" y="872130"/>
                  </a:cubicBezTo>
                  <a:cubicBezTo>
                    <a:pt x="215679" y="864907"/>
                    <a:pt x="216710" y="857683"/>
                    <a:pt x="217743" y="850459"/>
                  </a:cubicBezTo>
                  <a:cubicBezTo>
                    <a:pt x="220323" y="826209"/>
                    <a:pt x="209487" y="809697"/>
                    <a:pt x="189364" y="797830"/>
                  </a:cubicBezTo>
                  <a:cubicBezTo>
                    <a:pt x="149118" y="774611"/>
                    <a:pt x="109388" y="750876"/>
                    <a:pt x="69657" y="727657"/>
                  </a:cubicBezTo>
                  <a:cubicBezTo>
                    <a:pt x="40246" y="710629"/>
                    <a:pt x="35087" y="697730"/>
                    <a:pt x="43858" y="664708"/>
                  </a:cubicBezTo>
                  <a:cubicBezTo>
                    <a:pt x="44890" y="661612"/>
                    <a:pt x="45406" y="658516"/>
                    <a:pt x="46438" y="655936"/>
                  </a:cubicBezTo>
                  <a:cubicBezTo>
                    <a:pt x="59337" y="613110"/>
                    <a:pt x="70689" y="604854"/>
                    <a:pt x="114547" y="608982"/>
                  </a:cubicBezTo>
                  <a:cubicBezTo>
                    <a:pt x="156857" y="613110"/>
                    <a:pt x="199167" y="617754"/>
                    <a:pt x="241478" y="623429"/>
                  </a:cubicBezTo>
                  <a:cubicBezTo>
                    <a:pt x="275016" y="627557"/>
                    <a:pt x="289463" y="621881"/>
                    <a:pt x="306491" y="593503"/>
                  </a:cubicBezTo>
                  <a:cubicBezTo>
                    <a:pt x="330741" y="554288"/>
                    <a:pt x="329710" y="541905"/>
                    <a:pt x="301331" y="505271"/>
                  </a:cubicBezTo>
                  <a:cubicBezTo>
                    <a:pt x="274500" y="470700"/>
                    <a:pt x="248185" y="435614"/>
                    <a:pt x="222386" y="400527"/>
                  </a:cubicBezTo>
                  <a:cubicBezTo>
                    <a:pt x="206907" y="379888"/>
                    <a:pt x="206907" y="362861"/>
                    <a:pt x="222386" y="342222"/>
                  </a:cubicBezTo>
                  <a:cubicBezTo>
                    <a:pt x="230126" y="331902"/>
                    <a:pt x="238382" y="321583"/>
                    <a:pt x="248185" y="313327"/>
                  </a:cubicBezTo>
                  <a:cubicBezTo>
                    <a:pt x="267792" y="296816"/>
                    <a:pt x="281208" y="294752"/>
                    <a:pt x="303395" y="307135"/>
                  </a:cubicBezTo>
                  <a:cubicBezTo>
                    <a:pt x="342609" y="328806"/>
                    <a:pt x="382856" y="348929"/>
                    <a:pt x="420522" y="373180"/>
                  </a:cubicBezTo>
                  <a:cubicBezTo>
                    <a:pt x="463864" y="401043"/>
                    <a:pt x="493791" y="382468"/>
                    <a:pt x="525265" y="343770"/>
                  </a:cubicBezTo>
                  <a:cubicBezTo>
                    <a:pt x="535585" y="330870"/>
                    <a:pt x="531973" y="313843"/>
                    <a:pt x="527845" y="298364"/>
                  </a:cubicBezTo>
                  <a:cubicBezTo>
                    <a:pt x="516493" y="254506"/>
                    <a:pt x="505142" y="210647"/>
                    <a:pt x="493791" y="166789"/>
                  </a:cubicBezTo>
                  <a:cubicBezTo>
                    <a:pt x="485535" y="135315"/>
                    <a:pt x="490694" y="122415"/>
                    <a:pt x="518557" y="105904"/>
                  </a:cubicBezTo>
                  <a:cubicBezTo>
                    <a:pt x="524749" y="102292"/>
                    <a:pt x="530941" y="98680"/>
                    <a:pt x="537649" y="95585"/>
                  </a:cubicBezTo>
                  <a:cubicBezTo>
                    <a:pt x="571187" y="80105"/>
                    <a:pt x="586150" y="83717"/>
                    <a:pt x="608853" y="113128"/>
                  </a:cubicBezTo>
                  <a:cubicBezTo>
                    <a:pt x="636200" y="147698"/>
                    <a:pt x="663547" y="182785"/>
                    <a:pt x="690894" y="217355"/>
                  </a:cubicBezTo>
                  <a:cubicBezTo>
                    <a:pt x="716693" y="249346"/>
                    <a:pt x="777062" y="249346"/>
                    <a:pt x="802861" y="216839"/>
                  </a:cubicBezTo>
                  <a:cubicBezTo>
                    <a:pt x="813697" y="202908"/>
                    <a:pt x="813697" y="185365"/>
                    <a:pt x="816277" y="169369"/>
                  </a:cubicBezTo>
                  <a:cubicBezTo>
                    <a:pt x="822468" y="129123"/>
                    <a:pt x="827628" y="88877"/>
                    <a:pt x="832788" y="48631"/>
                  </a:cubicBezTo>
                  <a:cubicBezTo>
                    <a:pt x="836916" y="16640"/>
                    <a:pt x="845687" y="7868"/>
                    <a:pt x="877677" y="2193"/>
                  </a:cubicBezTo>
                  <a:cubicBezTo>
                    <a:pt x="891093" y="-387"/>
                    <a:pt x="904509" y="-387"/>
                    <a:pt x="917924" y="645"/>
                  </a:cubicBezTo>
                  <a:cubicBezTo>
                    <a:pt x="937531" y="1677"/>
                    <a:pt x="950947" y="11996"/>
                    <a:pt x="956106" y="31603"/>
                  </a:cubicBezTo>
                  <a:cubicBezTo>
                    <a:pt x="968490" y="75461"/>
                    <a:pt x="981389" y="119835"/>
                    <a:pt x="993772" y="163693"/>
                  </a:cubicBezTo>
                  <a:cubicBezTo>
                    <a:pt x="1006672" y="208584"/>
                    <a:pt x="1043822" y="229739"/>
                    <a:pt x="1089745" y="217871"/>
                  </a:cubicBezTo>
                  <a:cubicBezTo>
                    <a:pt x="1104707" y="214259"/>
                    <a:pt x="1113479" y="203424"/>
                    <a:pt x="1120703" y="191040"/>
                  </a:cubicBezTo>
                  <a:cubicBezTo>
                    <a:pt x="1144438" y="150278"/>
                    <a:pt x="1168689" y="109516"/>
                    <a:pt x="1192940" y="68754"/>
                  </a:cubicBezTo>
                  <a:cubicBezTo>
                    <a:pt x="1208419" y="42439"/>
                    <a:pt x="1221835" y="36763"/>
                    <a:pt x="1251245" y="44503"/>
                  </a:cubicBezTo>
                  <a:cubicBezTo>
                    <a:pt x="1310067" y="59466"/>
                    <a:pt x="1317806" y="72366"/>
                    <a:pt x="1309035" y="137895"/>
                  </a:cubicBezTo>
                  <a:cubicBezTo>
                    <a:pt x="1303875" y="177109"/>
                    <a:pt x="1299231" y="216323"/>
                    <a:pt x="1294587" y="255538"/>
                  </a:cubicBezTo>
                  <a:cubicBezTo>
                    <a:pt x="1294071" y="259665"/>
                    <a:pt x="1294071" y="263793"/>
                    <a:pt x="1294587" y="267921"/>
                  </a:cubicBezTo>
                  <a:cubicBezTo>
                    <a:pt x="1301295" y="309715"/>
                    <a:pt x="1364760" y="338610"/>
                    <a:pt x="1399331" y="314359"/>
                  </a:cubicBezTo>
                  <a:cubicBezTo>
                    <a:pt x="1438545" y="286496"/>
                    <a:pt x="1476211" y="257085"/>
                    <a:pt x="1514394" y="228191"/>
                  </a:cubicBezTo>
                  <a:cubicBezTo>
                    <a:pt x="1542256" y="207036"/>
                    <a:pt x="1556188" y="207552"/>
                    <a:pt x="1584050" y="229223"/>
                  </a:cubicBezTo>
                  <a:cubicBezTo>
                    <a:pt x="1587663" y="232319"/>
                    <a:pt x="1591274" y="234898"/>
                    <a:pt x="1594886" y="238510"/>
                  </a:cubicBezTo>
                  <a:cubicBezTo>
                    <a:pt x="1627393" y="269469"/>
                    <a:pt x="1628941" y="278757"/>
                    <a:pt x="1606754" y="317971"/>
                  </a:cubicBezTo>
                  <a:cubicBezTo>
                    <a:pt x="1585599" y="355637"/>
                    <a:pt x="1565475" y="393819"/>
                    <a:pt x="1543288" y="430970"/>
                  </a:cubicBezTo>
                  <a:cubicBezTo>
                    <a:pt x="1527293" y="458317"/>
                    <a:pt x="1534517" y="481020"/>
                    <a:pt x="1552060" y="504239"/>
                  </a:cubicBezTo>
                  <a:cubicBezTo>
                    <a:pt x="1569604" y="527458"/>
                    <a:pt x="1589726" y="538809"/>
                    <a:pt x="1619137" y="531069"/>
                  </a:cubicBezTo>
                  <a:cubicBezTo>
                    <a:pt x="1664543" y="519202"/>
                    <a:pt x="1709949" y="507850"/>
                    <a:pt x="1754839" y="495467"/>
                  </a:cubicBezTo>
                  <a:cubicBezTo>
                    <a:pt x="1783734" y="487727"/>
                    <a:pt x="1796634" y="492371"/>
                    <a:pt x="1812629" y="517654"/>
                  </a:cubicBezTo>
                  <a:cubicBezTo>
                    <a:pt x="1819853" y="528490"/>
                    <a:pt x="1826044" y="539841"/>
                    <a:pt x="1830172" y="552225"/>
                  </a:cubicBezTo>
                  <a:cubicBezTo>
                    <a:pt x="1837912" y="574412"/>
                    <a:pt x="1834299" y="588343"/>
                    <a:pt x="1815724" y="603306"/>
                  </a:cubicBezTo>
                  <a:cubicBezTo>
                    <a:pt x="1777026" y="634265"/>
                    <a:pt x="1738844" y="665224"/>
                    <a:pt x="1699630" y="695666"/>
                  </a:cubicBezTo>
                  <a:cubicBezTo>
                    <a:pt x="1680022" y="710629"/>
                    <a:pt x="1674862" y="729205"/>
                    <a:pt x="1678990" y="751908"/>
                  </a:cubicBezTo>
                  <a:cubicBezTo>
                    <a:pt x="1680539" y="759647"/>
                    <a:pt x="1683119" y="766871"/>
                    <a:pt x="1685182" y="774611"/>
                  </a:cubicBezTo>
                  <a:cubicBezTo>
                    <a:pt x="1691890" y="798862"/>
                    <a:pt x="1707885" y="812277"/>
                    <a:pt x="1732652" y="815373"/>
                  </a:cubicBezTo>
                  <a:cubicBezTo>
                    <a:pt x="1779606" y="821565"/>
                    <a:pt x="1826560" y="828272"/>
                    <a:pt x="1872998" y="834464"/>
                  </a:cubicBezTo>
                  <a:cubicBezTo>
                    <a:pt x="1900861" y="838076"/>
                    <a:pt x="1915308" y="851491"/>
                    <a:pt x="1918404" y="879354"/>
                  </a:cubicBezTo>
                  <a:cubicBezTo>
                    <a:pt x="1919952" y="892770"/>
                    <a:pt x="1921500" y="906185"/>
                    <a:pt x="1919952" y="919600"/>
                  </a:cubicBezTo>
                  <a:cubicBezTo>
                    <a:pt x="1917372" y="940755"/>
                    <a:pt x="1906536" y="952623"/>
                    <a:pt x="1886930" y="958299"/>
                  </a:cubicBezTo>
                  <a:cubicBezTo>
                    <a:pt x="1843071" y="970682"/>
                    <a:pt x="1798697" y="983065"/>
                    <a:pt x="1754839" y="995965"/>
                  </a:cubicBezTo>
                  <a:cubicBezTo>
                    <a:pt x="1712013" y="1008348"/>
                    <a:pt x="1692406" y="1040855"/>
                    <a:pt x="1701178" y="1085229"/>
                  </a:cubicBezTo>
                  <a:cubicBezTo>
                    <a:pt x="1704273" y="1102256"/>
                    <a:pt x="1714077" y="1113092"/>
                    <a:pt x="1728524" y="1121348"/>
                  </a:cubicBezTo>
                  <a:cubicBezTo>
                    <a:pt x="1768771" y="1145083"/>
                    <a:pt x="1809016" y="1168817"/>
                    <a:pt x="1849779" y="1192552"/>
                  </a:cubicBezTo>
                  <a:cubicBezTo>
                    <a:pt x="1879706" y="1210096"/>
                    <a:pt x="1884350" y="1220415"/>
                    <a:pt x="1876094" y="1253954"/>
                  </a:cubicBezTo>
                  <a:cubicBezTo>
                    <a:pt x="1875578" y="1256018"/>
                    <a:pt x="1875578" y="1258082"/>
                    <a:pt x="1875062" y="1260145"/>
                  </a:cubicBezTo>
                  <a:cubicBezTo>
                    <a:pt x="1862678" y="1300908"/>
                    <a:pt x="1848747" y="1321031"/>
                    <a:pt x="1802309" y="1312259"/>
                  </a:cubicBezTo>
                  <a:cubicBezTo>
                    <a:pt x="1760515" y="1304003"/>
                    <a:pt x="1717689" y="1302456"/>
                    <a:pt x="1675379" y="1296264"/>
                  </a:cubicBezTo>
                  <a:cubicBezTo>
                    <a:pt x="1645452" y="1292136"/>
                    <a:pt x="1625845" y="1304003"/>
                    <a:pt x="1611398" y="1329286"/>
                  </a:cubicBezTo>
                  <a:cubicBezTo>
                    <a:pt x="1596434" y="1355085"/>
                    <a:pt x="1589726" y="1379336"/>
                    <a:pt x="1610365" y="1405651"/>
                  </a:cubicBezTo>
                  <a:cubicBezTo>
                    <a:pt x="1638228" y="1441254"/>
                    <a:pt x="1665059" y="1477888"/>
                    <a:pt x="1692406" y="1514006"/>
                  </a:cubicBezTo>
                  <a:cubicBezTo>
                    <a:pt x="1715109" y="1543417"/>
                    <a:pt x="1715109" y="1555285"/>
                    <a:pt x="1692406" y="1584695"/>
                  </a:cubicBezTo>
                  <a:cubicBezTo>
                    <a:pt x="1691374" y="1585727"/>
                    <a:pt x="1690342" y="1587275"/>
                    <a:pt x="1689310" y="1588307"/>
                  </a:cubicBezTo>
                  <a:cubicBezTo>
                    <a:pt x="1659383" y="1620298"/>
                    <a:pt x="1647516" y="1634229"/>
                    <a:pt x="1600562" y="1605850"/>
                  </a:cubicBezTo>
                  <a:cubicBezTo>
                    <a:pt x="1564444" y="1584179"/>
                    <a:pt x="1526261" y="1565604"/>
                    <a:pt x="1490659" y="1543933"/>
                  </a:cubicBezTo>
                  <a:cubicBezTo>
                    <a:pt x="1461248" y="1526390"/>
                    <a:pt x="1438545" y="1536709"/>
                    <a:pt x="1415326" y="1554769"/>
                  </a:cubicBezTo>
                  <a:cubicBezTo>
                    <a:pt x="1392107" y="1572312"/>
                    <a:pt x="1382819" y="1593467"/>
                    <a:pt x="1391075" y="1622877"/>
                  </a:cubicBezTo>
                  <a:cubicBezTo>
                    <a:pt x="1403974" y="1668284"/>
                    <a:pt x="1415326" y="1714205"/>
                    <a:pt x="1426677" y="1760128"/>
                  </a:cubicBezTo>
                  <a:cubicBezTo>
                    <a:pt x="1432870" y="1784894"/>
                    <a:pt x="1427710" y="1798310"/>
                    <a:pt x="1406554" y="1811725"/>
                  </a:cubicBezTo>
                  <a:cubicBezTo>
                    <a:pt x="1395203" y="1818949"/>
                    <a:pt x="1383335" y="1825657"/>
                    <a:pt x="1370436" y="1830300"/>
                  </a:cubicBezTo>
                  <a:cubicBezTo>
                    <a:pt x="1347733" y="1838556"/>
                    <a:pt x="1331222" y="1834428"/>
                    <a:pt x="1316258" y="1815337"/>
                  </a:cubicBezTo>
                  <a:cubicBezTo>
                    <a:pt x="1287879" y="1779735"/>
                    <a:pt x="1259501" y="1743616"/>
                    <a:pt x="1231122" y="1707498"/>
                  </a:cubicBezTo>
                  <a:cubicBezTo>
                    <a:pt x="1203775" y="1673443"/>
                    <a:pt x="1154242" y="1668800"/>
                    <a:pt x="1121219" y="1698210"/>
                  </a:cubicBezTo>
                  <a:cubicBezTo>
                    <a:pt x="1112447" y="1705950"/>
                    <a:pt x="1108320" y="1715753"/>
                    <a:pt x="1106771" y="1727105"/>
                  </a:cubicBezTo>
                  <a:cubicBezTo>
                    <a:pt x="1100064" y="1774575"/>
                    <a:pt x="1092324" y="1821529"/>
                    <a:pt x="1087165" y="1868999"/>
                  </a:cubicBezTo>
                  <a:cubicBezTo>
                    <a:pt x="1084068" y="1893766"/>
                    <a:pt x="1074265" y="1911309"/>
                    <a:pt x="1050014" y="1919049"/>
                  </a:cubicBezTo>
                  <a:cubicBezTo>
                    <a:pt x="1029375" y="1919049"/>
                    <a:pt x="1008220" y="1919049"/>
                    <a:pt x="987581" y="1919049"/>
                  </a:cubicBezTo>
                  <a:cubicBezTo>
                    <a:pt x="973133" y="1910277"/>
                    <a:pt x="964878" y="1897377"/>
                    <a:pt x="960234" y="1880866"/>
                  </a:cubicBezTo>
                  <a:cubicBezTo>
                    <a:pt x="947851" y="1835460"/>
                    <a:pt x="933919" y="1790054"/>
                    <a:pt x="921535" y="1744132"/>
                  </a:cubicBezTo>
                  <a:cubicBezTo>
                    <a:pt x="914828" y="1719881"/>
                    <a:pt x="899865" y="1706982"/>
                    <a:pt x="875614" y="1703886"/>
                  </a:cubicBezTo>
                  <a:cubicBezTo>
                    <a:pt x="866326" y="1702854"/>
                    <a:pt x="857038" y="1701306"/>
                    <a:pt x="847751" y="1700790"/>
                  </a:cubicBezTo>
                  <a:cubicBezTo>
                    <a:pt x="826080" y="1699242"/>
                    <a:pt x="811117" y="1709046"/>
                    <a:pt x="800281" y="1727105"/>
                  </a:cubicBezTo>
                  <a:cubicBezTo>
                    <a:pt x="796153" y="1733813"/>
                    <a:pt x="792541" y="1740520"/>
                    <a:pt x="788414" y="1747228"/>
                  </a:cubicBezTo>
                  <a:cubicBezTo>
                    <a:pt x="766742" y="1783862"/>
                    <a:pt x="745587" y="1821013"/>
                    <a:pt x="723401" y="1857131"/>
                  </a:cubicBezTo>
                  <a:cubicBezTo>
                    <a:pt x="711533" y="1877254"/>
                    <a:pt x="697085" y="1882414"/>
                    <a:pt x="674383" y="1877254"/>
                  </a:cubicBezTo>
                  <a:cubicBezTo>
                    <a:pt x="660451" y="1874158"/>
                    <a:pt x="647552" y="1869515"/>
                    <a:pt x="634652" y="1863839"/>
                  </a:cubicBezTo>
                  <a:cubicBezTo>
                    <a:pt x="611949" y="1853003"/>
                    <a:pt x="604726" y="1839072"/>
                    <a:pt x="607822" y="1813789"/>
                  </a:cubicBezTo>
                  <a:cubicBezTo>
                    <a:pt x="613497" y="1766835"/>
                    <a:pt x="618141" y="1719881"/>
                    <a:pt x="624848" y="1672927"/>
                  </a:cubicBezTo>
                  <a:cubicBezTo>
                    <a:pt x="629492" y="1639905"/>
                    <a:pt x="611949" y="1621846"/>
                    <a:pt x="586150" y="1607398"/>
                  </a:cubicBezTo>
                  <a:cubicBezTo>
                    <a:pt x="560868" y="1593467"/>
                    <a:pt x="538165" y="1591403"/>
                    <a:pt x="514430" y="1611010"/>
                  </a:cubicBezTo>
                  <a:cubicBezTo>
                    <a:pt x="481407" y="1637325"/>
                    <a:pt x="446836" y="1661576"/>
                    <a:pt x="413814" y="1687375"/>
                  </a:cubicBezTo>
                  <a:cubicBezTo>
                    <a:pt x="380276" y="1713690"/>
                    <a:pt x="365828" y="1719365"/>
                    <a:pt x="324550" y="1682215"/>
                  </a:cubicBezTo>
                  <a:cubicBezTo>
                    <a:pt x="321970" y="1679635"/>
                    <a:pt x="319390" y="1677055"/>
                    <a:pt x="316810" y="1674475"/>
                  </a:cubicBezTo>
                  <a:cubicBezTo>
                    <a:pt x="296687" y="1653836"/>
                    <a:pt x="294623" y="1637841"/>
                    <a:pt x="309071" y="1612558"/>
                  </a:cubicBezTo>
                  <a:cubicBezTo>
                    <a:pt x="331258" y="1572828"/>
                    <a:pt x="353960" y="1532581"/>
                    <a:pt x="376148" y="1492851"/>
                  </a:cubicBezTo>
                  <a:cubicBezTo>
                    <a:pt x="382339" y="1481500"/>
                    <a:pt x="389047" y="1470148"/>
                    <a:pt x="387499" y="1456217"/>
                  </a:cubicBezTo>
                  <a:cubicBezTo>
                    <a:pt x="383887" y="1414423"/>
                    <a:pt x="337449" y="1381400"/>
                    <a:pt x="297203" y="1391720"/>
                  </a:cubicBezTo>
                  <a:cubicBezTo>
                    <a:pt x="250765" y="1403587"/>
                    <a:pt x="204327" y="1415455"/>
                    <a:pt x="158405" y="1427838"/>
                  </a:cubicBezTo>
                  <a:cubicBezTo>
                    <a:pt x="139830" y="1432998"/>
                    <a:pt x="125899" y="1427322"/>
                    <a:pt x="114031" y="1412875"/>
                  </a:cubicBezTo>
                  <a:cubicBezTo>
                    <a:pt x="104228" y="1401007"/>
                    <a:pt x="98036" y="1387592"/>
                    <a:pt x="91844" y="1373660"/>
                  </a:cubicBezTo>
                  <a:cubicBezTo>
                    <a:pt x="81525" y="1349409"/>
                    <a:pt x="86169" y="1331866"/>
                    <a:pt x="106808" y="1315871"/>
                  </a:cubicBezTo>
                  <a:cubicBezTo>
                    <a:pt x="140862" y="1288524"/>
                    <a:pt x="175432" y="1261693"/>
                    <a:pt x="209487" y="1234347"/>
                  </a:cubicBezTo>
                  <a:cubicBezTo>
                    <a:pt x="245605" y="1206484"/>
                    <a:pt x="248701" y="1194616"/>
                    <a:pt x="236834" y="1151274"/>
                  </a:cubicBezTo>
                  <a:cubicBezTo>
                    <a:pt x="228578" y="1122896"/>
                    <a:pt x="211551" y="1107932"/>
                    <a:pt x="181624" y="1104836"/>
                  </a:cubicBezTo>
                  <a:cubicBezTo>
                    <a:pt x="138282" y="1100192"/>
                    <a:pt x="95456" y="1091937"/>
                    <a:pt x="52114" y="1087293"/>
                  </a:cubicBezTo>
                  <a:cubicBezTo>
                    <a:pt x="27347" y="1084713"/>
                    <a:pt x="9804" y="1074910"/>
                    <a:pt x="1032" y="1051175"/>
                  </a:cubicBezTo>
                  <a:cubicBezTo>
                    <a:pt x="0" y="1028988"/>
                    <a:pt x="0" y="1008348"/>
                    <a:pt x="0" y="987194"/>
                  </a:cubicBezTo>
                  <a:close/>
                  <a:moveTo>
                    <a:pt x="1198616" y="960879"/>
                  </a:moveTo>
                  <a:cubicBezTo>
                    <a:pt x="1200163" y="838592"/>
                    <a:pt x="1104192" y="720433"/>
                    <a:pt x="958686" y="720949"/>
                  </a:cubicBezTo>
                  <a:cubicBezTo>
                    <a:pt x="824016" y="721465"/>
                    <a:pt x="720821" y="824145"/>
                    <a:pt x="720304" y="959331"/>
                  </a:cubicBezTo>
                  <a:cubicBezTo>
                    <a:pt x="719788" y="1096581"/>
                    <a:pt x="827628" y="1197712"/>
                    <a:pt x="957654" y="1198744"/>
                  </a:cubicBezTo>
                  <a:cubicBezTo>
                    <a:pt x="1090776" y="1199776"/>
                    <a:pt x="1198100" y="1092969"/>
                    <a:pt x="1198616" y="960879"/>
                  </a:cubicBezTo>
                  <a:close/>
                </a:path>
              </a:pathLst>
            </a:custGeom>
            <a:grpFill/>
            <a:ln w="51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2A8F8B1D-3A60-433E-8DEA-E9695D76ACF7}"/>
                </a:ext>
              </a:extLst>
            </p:cNvPr>
            <p:cNvGrpSpPr/>
            <p:nvPr/>
          </p:nvGrpSpPr>
          <p:grpSpPr>
            <a:xfrm>
              <a:off x="7392963" y="2648852"/>
              <a:ext cx="1838947" cy="1835405"/>
              <a:chOff x="7167947" y="1624190"/>
              <a:chExt cx="2677922" cy="2672763"/>
            </a:xfrm>
            <a:grpFill/>
          </p:grpSpPr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BC21027D-C275-43F0-9DF7-CDBF13331717}"/>
                  </a:ext>
                </a:extLst>
              </p:cNvPr>
              <p:cNvSpPr/>
              <p:nvPr/>
            </p:nvSpPr>
            <p:spPr>
              <a:xfrm>
                <a:off x="7167947" y="1624190"/>
                <a:ext cx="2677922" cy="2672763"/>
              </a:xfrm>
              <a:custGeom>
                <a:avLst/>
                <a:gdLst>
                  <a:gd name="connsiteX0" fmla="*/ 2538684 w 2677922"/>
                  <a:gd name="connsiteY0" fmla="*/ 1897505 h 2672762"/>
                  <a:gd name="connsiteX1" fmla="*/ 2456643 w 2677922"/>
                  <a:gd name="connsiteY1" fmla="*/ 1879446 h 2672762"/>
                  <a:gd name="connsiteX2" fmla="*/ 2389566 w 2677922"/>
                  <a:gd name="connsiteY2" fmla="*/ 1863966 h 2672762"/>
                  <a:gd name="connsiteX3" fmla="*/ 2354479 w 2677922"/>
                  <a:gd name="connsiteY3" fmla="*/ 1874802 h 2672762"/>
                  <a:gd name="connsiteX4" fmla="*/ 2312170 w 2677922"/>
                  <a:gd name="connsiteY4" fmla="*/ 1950651 h 2672762"/>
                  <a:gd name="connsiteX5" fmla="*/ 2322489 w 2677922"/>
                  <a:gd name="connsiteY5" fmla="*/ 1983157 h 2672762"/>
                  <a:gd name="connsiteX6" fmla="*/ 2412785 w 2677922"/>
                  <a:gd name="connsiteY6" fmla="*/ 2080161 h 2672762"/>
                  <a:gd name="connsiteX7" fmla="*/ 2418461 w 2677922"/>
                  <a:gd name="connsiteY7" fmla="*/ 2146722 h 2672762"/>
                  <a:gd name="connsiteX8" fmla="*/ 2414849 w 2677922"/>
                  <a:gd name="connsiteY8" fmla="*/ 2151882 h 2672762"/>
                  <a:gd name="connsiteX9" fmla="*/ 2324037 w 2677922"/>
                  <a:gd name="connsiteY9" fmla="*/ 2174585 h 2672762"/>
                  <a:gd name="connsiteX10" fmla="*/ 2219294 w 2677922"/>
                  <a:gd name="connsiteY10" fmla="*/ 2118859 h 2672762"/>
                  <a:gd name="connsiteX11" fmla="*/ 2178531 w 2677922"/>
                  <a:gd name="connsiteY11" fmla="*/ 2120407 h 2672762"/>
                  <a:gd name="connsiteX12" fmla="*/ 2125386 w 2677922"/>
                  <a:gd name="connsiteY12" fmla="*/ 2172521 h 2672762"/>
                  <a:gd name="connsiteX13" fmla="*/ 2122806 w 2677922"/>
                  <a:gd name="connsiteY13" fmla="*/ 2217411 h 2672762"/>
                  <a:gd name="connsiteX14" fmla="*/ 2184723 w 2677922"/>
                  <a:gd name="connsiteY14" fmla="*/ 2334538 h 2672762"/>
                  <a:gd name="connsiteX15" fmla="*/ 2174404 w 2677922"/>
                  <a:gd name="connsiteY15" fmla="*/ 2395423 h 2672762"/>
                  <a:gd name="connsiteX16" fmla="*/ 2164084 w 2677922"/>
                  <a:gd name="connsiteY16" fmla="*/ 2404711 h 2672762"/>
                  <a:gd name="connsiteX17" fmla="*/ 2075336 w 2677922"/>
                  <a:gd name="connsiteY17" fmla="*/ 2401615 h 2672762"/>
                  <a:gd name="connsiteX18" fmla="*/ 1988652 w 2677922"/>
                  <a:gd name="connsiteY18" fmla="*/ 2320606 h 2672762"/>
                  <a:gd name="connsiteX19" fmla="*/ 1944277 w 2677922"/>
                  <a:gd name="connsiteY19" fmla="*/ 2311835 h 2672762"/>
                  <a:gd name="connsiteX20" fmla="*/ 1883392 w 2677922"/>
                  <a:gd name="connsiteY20" fmla="*/ 2346405 h 2672762"/>
                  <a:gd name="connsiteX21" fmla="*/ 1868429 w 2677922"/>
                  <a:gd name="connsiteY21" fmla="*/ 2391811 h 2672762"/>
                  <a:gd name="connsiteX22" fmla="*/ 1899388 w 2677922"/>
                  <a:gd name="connsiteY22" fmla="*/ 2526997 h 2672762"/>
                  <a:gd name="connsiteX23" fmla="*/ 1879264 w 2677922"/>
                  <a:gd name="connsiteY23" fmla="*/ 2571887 h 2672762"/>
                  <a:gd name="connsiteX24" fmla="*/ 1841082 w 2677922"/>
                  <a:gd name="connsiteY24" fmla="*/ 2588915 h 2672762"/>
                  <a:gd name="connsiteX25" fmla="*/ 1782777 w 2677922"/>
                  <a:gd name="connsiteY25" fmla="*/ 2568276 h 2672762"/>
                  <a:gd name="connsiteX26" fmla="*/ 1715184 w 2677922"/>
                  <a:gd name="connsiteY26" fmla="*/ 2459404 h 2672762"/>
                  <a:gd name="connsiteX27" fmla="*/ 1664618 w 2677922"/>
                  <a:gd name="connsiteY27" fmla="*/ 2435669 h 2672762"/>
                  <a:gd name="connsiteX28" fmla="*/ 1610440 w 2677922"/>
                  <a:gd name="connsiteY28" fmla="*/ 2450117 h 2672762"/>
                  <a:gd name="connsiteX29" fmla="*/ 1577418 w 2677922"/>
                  <a:gd name="connsiteY29" fmla="*/ 2495007 h 2672762"/>
                  <a:gd name="connsiteX30" fmla="*/ 1573806 w 2677922"/>
                  <a:gd name="connsiteY30" fmla="*/ 2616777 h 2672762"/>
                  <a:gd name="connsiteX31" fmla="*/ 1526852 w 2677922"/>
                  <a:gd name="connsiteY31" fmla="*/ 2672503 h 2672762"/>
                  <a:gd name="connsiteX32" fmla="*/ 1497441 w 2677922"/>
                  <a:gd name="connsiteY32" fmla="*/ 2676115 h 2672762"/>
                  <a:gd name="connsiteX33" fmla="*/ 1449972 w 2677922"/>
                  <a:gd name="connsiteY33" fmla="*/ 2644124 h 2672762"/>
                  <a:gd name="connsiteX34" fmla="*/ 1410241 w 2677922"/>
                  <a:gd name="connsiteY34" fmla="*/ 2514614 h 2672762"/>
                  <a:gd name="connsiteX35" fmla="*/ 1373091 w 2677922"/>
                  <a:gd name="connsiteY35" fmla="*/ 2482623 h 2672762"/>
                  <a:gd name="connsiteX36" fmla="*/ 1304982 w 2677922"/>
                  <a:gd name="connsiteY36" fmla="*/ 2483139 h 2672762"/>
                  <a:gd name="connsiteX37" fmla="*/ 1271959 w 2677922"/>
                  <a:gd name="connsiteY37" fmla="*/ 2511518 h 2672762"/>
                  <a:gd name="connsiteX38" fmla="*/ 1234293 w 2677922"/>
                  <a:gd name="connsiteY38" fmla="*/ 2633805 h 2672762"/>
                  <a:gd name="connsiteX39" fmla="*/ 1170828 w 2677922"/>
                  <a:gd name="connsiteY39" fmla="*/ 2674567 h 2672762"/>
                  <a:gd name="connsiteX40" fmla="*/ 1106847 w 2677922"/>
                  <a:gd name="connsiteY40" fmla="*/ 2602330 h 2672762"/>
                  <a:gd name="connsiteX41" fmla="*/ 1103751 w 2677922"/>
                  <a:gd name="connsiteY41" fmla="*/ 2491395 h 2672762"/>
                  <a:gd name="connsiteX42" fmla="*/ 1080532 w 2677922"/>
                  <a:gd name="connsiteY42" fmla="*/ 2454244 h 2672762"/>
                  <a:gd name="connsiteX43" fmla="*/ 1005199 w 2677922"/>
                  <a:gd name="connsiteY43" fmla="*/ 2435153 h 2672762"/>
                  <a:gd name="connsiteX44" fmla="*/ 969080 w 2677922"/>
                  <a:gd name="connsiteY44" fmla="*/ 2454244 h 2672762"/>
                  <a:gd name="connsiteX45" fmla="*/ 900456 w 2677922"/>
                  <a:gd name="connsiteY45" fmla="*/ 2564148 h 2672762"/>
                  <a:gd name="connsiteX46" fmla="*/ 836474 w 2677922"/>
                  <a:gd name="connsiteY46" fmla="*/ 2587367 h 2672762"/>
                  <a:gd name="connsiteX47" fmla="*/ 831830 w 2677922"/>
                  <a:gd name="connsiteY47" fmla="*/ 2585819 h 2672762"/>
                  <a:gd name="connsiteX48" fmla="*/ 785392 w 2677922"/>
                  <a:gd name="connsiteY48" fmla="*/ 2504810 h 2672762"/>
                  <a:gd name="connsiteX49" fmla="*/ 811707 w 2677922"/>
                  <a:gd name="connsiteY49" fmla="*/ 2390779 h 2672762"/>
                  <a:gd name="connsiteX50" fmla="*/ 794680 w 2677922"/>
                  <a:gd name="connsiteY50" fmla="*/ 2344341 h 2672762"/>
                  <a:gd name="connsiteX51" fmla="*/ 739470 w 2677922"/>
                  <a:gd name="connsiteY51" fmla="*/ 2312351 h 2672762"/>
                  <a:gd name="connsiteX52" fmla="*/ 689421 w 2677922"/>
                  <a:gd name="connsiteY52" fmla="*/ 2321638 h 2672762"/>
                  <a:gd name="connsiteX53" fmla="*/ 596029 w 2677922"/>
                  <a:gd name="connsiteY53" fmla="*/ 2408838 h 2672762"/>
                  <a:gd name="connsiteX54" fmla="*/ 530500 w 2677922"/>
                  <a:gd name="connsiteY54" fmla="*/ 2415030 h 2672762"/>
                  <a:gd name="connsiteX55" fmla="*/ 521212 w 2677922"/>
                  <a:gd name="connsiteY55" fmla="*/ 2408838 h 2672762"/>
                  <a:gd name="connsiteX56" fmla="*/ 500573 w 2677922"/>
                  <a:gd name="connsiteY56" fmla="*/ 2322670 h 2672762"/>
                  <a:gd name="connsiteX57" fmla="*/ 556298 w 2677922"/>
                  <a:gd name="connsiteY57" fmla="*/ 2217927 h 2672762"/>
                  <a:gd name="connsiteX58" fmla="*/ 552171 w 2677922"/>
                  <a:gd name="connsiteY58" fmla="*/ 2168909 h 2672762"/>
                  <a:gd name="connsiteX59" fmla="*/ 505733 w 2677922"/>
                  <a:gd name="connsiteY59" fmla="*/ 2122987 h 2672762"/>
                  <a:gd name="connsiteX60" fmla="*/ 457747 w 2677922"/>
                  <a:gd name="connsiteY60" fmla="*/ 2119375 h 2672762"/>
                  <a:gd name="connsiteX61" fmla="*/ 341652 w 2677922"/>
                  <a:gd name="connsiteY61" fmla="*/ 2180777 h 2672762"/>
                  <a:gd name="connsiteX62" fmla="*/ 278187 w 2677922"/>
                  <a:gd name="connsiteY62" fmla="*/ 2168909 h 2672762"/>
                  <a:gd name="connsiteX63" fmla="*/ 274059 w 2677922"/>
                  <a:gd name="connsiteY63" fmla="*/ 2164265 h 2672762"/>
                  <a:gd name="connsiteX64" fmla="*/ 276639 w 2677922"/>
                  <a:gd name="connsiteY64" fmla="*/ 2069325 h 2672762"/>
                  <a:gd name="connsiteX65" fmla="*/ 354551 w 2677922"/>
                  <a:gd name="connsiteY65" fmla="*/ 1986253 h 2672762"/>
                  <a:gd name="connsiteX66" fmla="*/ 363839 w 2677922"/>
                  <a:gd name="connsiteY66" fmla="*/ 1940847 h 2672762"/>
                  <a:gd name="connsiteX67" fmla="*/ 328237 w 2677922"/>
                  <a:gd name="connsiteY67" fmla="*/ 1878930 h 2672762"/>
                  <a:gd name="connsiteX68" fmla="*/ 283347 w 2677922"/>
                  <a:gd name="connsiteY68" fmla="*/ 1866030 h 2672762"/>
                  <a:gd name="connsiteX69" fmla="*/ 170864 w 2677922"/>
                  <a:gd name="connsiteY69" fmla="*/ 1891829 h 2672762"/>
                  <a:gd name="connsiteX70" fmla="*/ 155900 w 2677922"/>
                  <a:gd name="connsiteY70" fmla="*/ 1895441 h 2672762"/>
                  <a:gd name="connsiteX71" fmla="*/ 100175 w 2677922"/>
                  <a:gd name="connsiteY71" fmla="*/ 1868094 h 2672762"/>
                  <a:gd name="connsiteX72" fmla="*/ 87275 w 2677922"/>
                  <a:gd name="connsiteY72" fmla="*/ 1838168 h 2672762"/>
                  <a:gd name="connsiteX73" fmla="*/ 107915 w 2677922"/>
                  <a:gd name="connsiteY73" fmla="*/ 1779862 h 2672762"/>
                  <a:gd name="connsiteX74" fmla="*/ 213690 w 2677922"/>
                  <a:gd name="connsiteY74" fmla="*/ 1713817 h 2672762"/>
                  <a:gd name="connsiteX75" fmla="*/ 238972 w 2677922"/>
                  <a:gd name="connsiteY75" fmla="*/ 1654480 h 2672762"/>
                  <a:gd name="connsiteX76" fmla="*/ 222977 w 2677922"/>
                  <a:gd name="connsiteY76" fmla="*/ 1600818 h 2672762"/>
                  <a:gd name="connsiteX77" fmla="*/ 184279 w 2677922"/>
                  <a:gd name="connsiteY77" fmla="*/ 1575019 h 2672762"/>
                  <a:gd name="connsiteX78" fmla="*/ 59413 w 2677922"/>
                  <a:gd name="connsiteY78" fmla="*/ 1571407 h 2672762"/>
                  <a:gd name="connsiteX79" fmla="*/ 3687 w 2677922"/>
                  <a:gd name="connsiteY79" fmla="*/ 1524453 h 2672762"/>
                  <a:gd name="connsiteX80" fmla="*/ 1623 w 2677922"/>
                  <a:gd name="connsiteY80" fmla="*/ 1513618 h 2672762"/>
                  <a:gd name="connsiteX81" fmla="*/ 48577 w 2677922"/>
                  <a:gd name="connsiteY81" fmla="*/ 1442413 h 2672762"/>
                  <a:gd name="connsiteX82" fmla="*/ 160544 w 2677922"/>
                  <a:gd name="connsiteY82" fmla="*/ 1408358 h 2672762"/>
                  <a:gd name="connsiteX83" fmla="*/ 194083 w 2677922"/>
                  <a:gd name="connsiteY83" fmla="*/ 1370692 h 2672762"/>
                  <a:gd name="connsiteX84" fmla="*/ 192534 w 2677922"/>
                  <a:gd name="connsiteY84" fmla="*/ 1298971 h 2672762"/>
                  <a:gd name="connsiteX85" fmla="*/ 166220 w 2677922"/>
                  <a:gd name="connsiteY85" fmla="*/ 1269560 h 2672762"/>
                  <a:gd name="connsiteX86" fmla="*/ 47029 w 2677922"/>
                  <a:gd name="connsiteY86" fmla="*/ 1232926 h 2672762"/>
                  <a:gd name="connsiteX87" fmla="*/ 1623 w 2677922"/>
                  <a:gd name="connsiteY87" fmla="*/ 1166881 h 2672762"/>
                  <a:gd name="connsiteX88" fmla="*/ 6267 w 2677922"/>
                  <a:gd name="connsiteY88" fmla="*/ 1139534 h 2672762"/>
                  <a:gd name="connsiteX89" fmla="*/ 49093 w 2677922"/>
                  <a:gd name="connsiteY89" fmla="*/ 1105480 h 2672762"/>
                  <a:gd name="connsiteX90" fmla="*/ 164672 w 2677922"/>
                  <a:gd name="connsiteY90" fmla="*/ 1101868 h 2672762"/>
                  <a:gd name="connsiteX91" fmla="*/ 181699 w 2677922"/>
                  <a:gd name="connsiteY91" fmla="*/ 1101352 h 2672762"/>
                  <a:gd name="connsiteX92" fmla="*/ 227621 w 2677922"/>
                  <a:gd name="connsiteY92" fmla="*/ 1065233 h 2672762"/>
                  <a:gd name="connsiteX93" fmla="*/ 241036 w 2677922"/>
                  <a:gd name="connsiteY93" fmla="*/ 1014152 h 2672762"/>
                  <a:gd name="connsiteX94" fmla="*/ 219366 w 2677922"/>
                  <a:gd name="connsiteY94" fmla="*/ 965650 h 2672762"/>
                  <a:gd name="connsiteX95" fmla="*/ 113590 w 2677922"/>
                  <a:gd name="connsiteY95" fmla="*/ 899605 h 2672762"/>
                  <a:gd name="connsiteX96" fmla="*/ 89855 w 2677922"/>
                  <a:gd name="connsiteY96" fmla="*/ 832012 h 2672762"/>
                  <a:gd name="connsiteX97" fmla="*/ 104818 w 2677922"/>
                  <a:gd name="connsiteY97" fmla="*/ 799505 h 2672762"/>
                  <a:gd name="connsiteX98" fmla="*/ 151256 w 2677922"/>
                  <a:gd name="connsiteY98" fmla="*/ 779898 h 2672762"/>
                  <a:gd name="connsiteX99" fmla="*/ 283347 w 2677922"/>
                  <a:gd name="connsiteY99" fmla="*/ 810341 h 2672762"/>
                  <a:gd name="connsiteX100" fmla="*/ 331332 w 2677922"/>
                  <a:gd name="connsiteY100" fmla="*/ 794345 h 2672762"/>
                  <a:gd name="connsiteX101" fmla="*/ 363839 w 2677922"/>
                  <a:gd name="connsiteY101" fmla="*/ 737588 h 2672762"/>
                  <a:gd name="connsiteX102" fmla="*/ 354551 w 2677922"/>
                  <a:gd name="connsiteY102" fmla="*/ 689086 h 2672762"/>
                  <a:gd name="connsiteX103" fmla="*/ 266835 w 2677922"/>
                  <a:gd name="connsiteY103" fmla="*/ 595694 h 2672762"/>
                  <a:gd name="connsiteX104" fmla="*/ 261675 w 2677922"/>
                  <a:gd name="connsiteY104" fmla="*/ 529133 h 2672762"/>
                  <a:gd name="connsiteX105" fmla="*/ 270447 w 2677922"/>
                  <a:gd name="connsiteY105" fmla="*/ 516233 h 2672762"/>
                  <a:gd name="connsiteX106" fmla="*/ 349907 w 2677922"/>
                  <a:gd name="connsiteY106" fmla="*/ 498690 h 2672762"/>
                  <a:gd name="connsiteX107" fmla="*/ 457231 w 2677922"/>
                  <a:gd name="connsiteY107" fmla="*/ 555964 h 2672762"/>
                  <a:gd name="connsiteX108" fmla="*/ 507797 w 2677922"/>
                  <a:gd name="connsiteY108" fmla="*/ 551320 h 2672762"/>
                  <a:gd name="connsiteX109" fmla="*/ 551139 w 2677922"/>
                  <a:gd name="connsiteY109" fmla="*/ 508494 h 2672762"/>
                  <a:gd name="connsiteX110" fmla="*/ 556815 w 2677922"/>
                  <a:gd name="connsiteY110" fmla="*/ 456896 h 2672762"/>
                  <a:gd name="connsiteX111" fmla="*/ 494381 w 2677922"/>
                  <a:gd name="connsiteY111" fmla="*/ 339769 h 2672762"/>
                  <a:gd name="connsiteX112" fmla="*/ 505217 w 2677922"/>
                  <a:gd name="connsiteY112" fmla="*/ 280432 h 2672762"/>
                  <a:gd name="connsiteX113" fmla="*/ 537723 w 2677922"/>
                  <a:gd name="connsiteY113" fmla="*/ 256181 h 2672762"/>
                  <a:gd name="connsiteX114" fmla="*/ 590353 w 2677922"/>
                  <a:gd name="connsiteY114" fmla="*/ 261857 h 2672762"/>
                  <a:gd name="connsiteX115" fmla="*/ 679617 w 2677922"/>
                  <a:gd name="connsiteY115" fmla="*/ 344929 h 2672762"/>
                  <a:gd name="connsiteX116" fmla="*/ 754950 w 2677922"/>
                  <a:gd name="connsiteY116" fmla="*/ 355765 h 2672762"/>
                  <a:gd name="connsiteX117" fmla="*/ 797260 w 2677922"/>
                  <a:gd name="connsiteY117" fmla="*/ 329450 h 2672762"/>
                  <a:gd name="connsiteX118" fmla="*/ 811707 w 2677922"/>
                  <a:gd name="connsiteY118" fmla="*/ 285076 h 2672762"/>
                  <a:gd name="connsiteX119" fmla="*/ 781781 w 2677922"/>
                  <a:gd name="connsiteY119" fmla="*/ 156081 h 2672762"/>
                  <a:gd name="connsiteX120" fmla="*/ 807064 w 2677922"/>
                  <a:gd name="connsiteY120" fmla="*/ 100872 h 2672762"/>
                  <a:gd name="connsiteX121" fmla="*/ 841634 w 2677922"/>
                  <a:gd name="connsiteY121" fmla="*/ 86424 h 2672762"/>
                  <a:gd name="connsiteX122" fmla="*/ 896328 w 2677922"/>
                  <a:gd name="connsiteY122" fmla="*/ 106031 h 2672762"/>
                  <a:gd name="connsiteX123" fmla="*/ 965469 w 2677922"/>
                  <a:gd name="connsiteY123" fmla="*/ 217483 h 2672762"/>
                  <a:gd name="connsiteX124" fmla="*/ 1013455 w 2677922"/>
                  <a:gd name="connsiteY124" fmla="*/ 240702 h 2672762"/>
                  <a:gd name="connsiteX125" fmla="*/ 1077952 w 2677922"/>
                  <a:gd name="connsiteY125" fmla="*/ 222642 h 2672762"/>
                  <a:gd name="connsiteX126" fmla="*/ 1101687 w 2677922"/>
                  <a:gd name="connsiteY126" fmla="*/ 188072 h 2672762"/>
                  <a:gd name="connsiteX127" fmla="*/ 1106847 w 2677922"/>
                  <a:gd name="connsiteY127" fmla="*/ 53918 h 2672762"/>
                  <a:gd name="connsiteX128" fmla="*/ 1145029 w 2677922"/>
                  <a:gd name="connsiteY128" fmla="*/ 4900 h 2672762"/>
                  <a:gd name="connsiteX129" fmla="*/ 1158960 w 2677922"/>
                  <a:gd name="connsiteY129" fmla="*/ 1804 h 2672762"/>
                  <a:gd name="connsiteX130" fmla="*/ 1235841 w 2677922"/>
                  <a:gd name="connsiteY130" fmla="*/ 48758 h 2672762"/>
                  <a:gd name="connsiteX131" fmla="*/ 1269895 w 2677922"/>
                  <a:gd name="connsiteY131" fmla="*/ 162273 h 2672762"/>
                  <a:gd name="connsiteX132" fmla="*/ 1303434 w 2677922"/>
                  <a:gd name="connsiteY132" fmla="*/ 192716 h 2672762"/>
                  <a:gd name="connsiteX133" fmla="*/ 1376702 w 2677922"/>
                  <a:gd name="connsiteY133" fmla="*/ 192716 h 2672762"/>
                  <a:gd name="connsiteX134" fmla="*/ 1409209 w 2677922"/>
                  <a:gd name="connsiteY134" fmla="*/ 163305 h 2672762"/>
                  <a:gd name="connsiteX135" fmla="*/ 1447392 w 2677922"/>
                  <a:gd name="connsiteY135" fmla="*/ 37922 h 2672762"/>
                  <a:gd name="connsiteX136" fmla="*/ 1499505 w 2677922"/>
                  <a:gd name="connsiteY136" fmla="*/ 256 h 2672762"/>
                  <a:gd name="connsiteX137" fmla="*/ 1513436 w 2677922"/>
                  <a:gd name="connsiteY137" fmla="*/ 772 h 2672762"/>
                  <a:gd name="connsiteX138" fmla="*/ 1573290 w 2677922"/>
                  <a:gd name="connsiteY138" fmla="*/ 65269 h 2672762"/>
                  <a:gd name="connsiteX139" fmla="*/ 1576902 w 2677922"/>
                  <a:gd name="connsiteY139" fmla="*/ 185492 h 2672762"/>
                  <a:gd name="connsiteX140" fmla="*/ 1598057 w 2677922"/>
                  <a:gd name="connsiteY140" fmla="*/ 220578 h 2672762"/>
                  <a:gd name="connsiteX141" fmla="*/ 1674422 w 2677922"/>
                  <a:gd name="connsiteY141" fmla="*/ 240702 h 2672762"/>
                  <a:gd name="connsiteX142" fmla="*/ 1710540 w 2677922"/>
                  <a:gd name="connsiteY142" fmla="*/ 221610 h 2672762"/>
                  <a:gd name="connsiteX143" fmla="*/ 1779165 w 2677922"/>
                  <a:gd name="connsiteY143" fmla="*/ 111707 h 2672762"/>
                  <a:gd name="connsiteX144" fmla="*/ 1845726 w 2677922"/>
                  <a:gd name="connsiteY144" fmla="*/ 88488 h 2672762"/>
                  <a:gd name="connsiteX145" fmla="*/ 1857594 w 2677922"/>
                  <a:gd name="connsiteY145" fmla="*/ 92616 h 2672762"/>
                  <a:gd name="connsiteX146" fmla="*/ 1895260 w 2677922"/>
                  <a:gd name="connsiteY146" fmla="*/ 166401 h 2672762"/>
                  <a:gd name="connsiteX147" fmla="*/ 1868429 w 2677922"/>
                  <a:gd name="connsiteY147" fmla="*/ 281980 h 2672762"/>
                  <a:gd name="connsiteX148" fmla="*/ 1887004 w 2677922"/>
                  <a:gd name="connsiteY148" fmla="*/ 332030 h 2672762"/>
                  <a:gd name="connsiteX149" fmla="*/ 1946857 w 2677922"/>
                  <a:gd name="connsiteY149" fmla="*/ 365052 h 2672762"/>
                  <a:gd name="connsiteX150" fmla="*/ 1986588 w 2677922"/>
                  <a:gd name="connsiteY150" fmla="*/ 355765 h 2672762"/>
                  <a:gd name="connsiteX151" fmla="*/ 2081528 w 2677922"/>
                  <a:gd name="connsiteY151" fmla="*/ 267532 h 2672762"/>
                  <a:gd name="connsiteX152" fmla="*/ 2151701 w 2677922"/>
                  <a:gd name="connsiteY152" fmla="*/ 261857 h 2672762"/>
                  <a:gd name="connsiteX153" fmla="*/ 2155312 w 2677922"/>
                  <a:gd name="connsiteY153" fmla="*/ 264437 h 2672762"/>
                  <a:gd name="connsiteX154" fmla="*/ 2177500 w 2677922"/>
                  <a:gd name="connsiteY154" fmla="*/ 353701 h 2672762"/>
                  <a:gd name="connsiteX155" fmla="*/ 2122290 w 2677922"/>
                  <a:gd name="connsiteY155" fmla="*/ 456896 h 2672762"/>
                  <a:gd name="connsiteX156" fmla="*/ 2126934 w 2677922"/>
                  <a:gd name="connsiteY156" fmla="*/ 505914 h 2672762"/>
                  <a:gd name="connsiteX157" fmla="*/ 2173372 w 2677922"/>
                  <a:gd name="connsiteY157" fmla="*/ 551836 h 2672762"/>
                  <a:gd name="connsiteX158" fmla="*/ 2219810 w 2677922"/>
                  <a:gd name="connsiteY158" fmla="*/ 555964 h 2672762"/>
                  <a:gd name="connsiteX159" fmla="*/ 2336937 w 2677922"/>
                  <a:gd name="connsiteY159" fmla="*/ 494046 h 2672762"/>
                  <a:gd name="connsiteX160" fmla="*/ 2400917 w 2677922"/>
                  <a:gd name="connsiteY160" fmla="*/ 507462 h 2672762"/>
                  <a:gd name="connsiteX161" fmla="*/ 2420525 w 2677922"/>
                  <a:gd name="connsiteY161" fmla="*/ 533777 h 2672762"/>
                  <a:gd name="connsiteX162" fmla="*/ 2415365 w 2677922"/>
                  <a:gd name="connsiteY162" fmla="*/ 591566 h 2672762"/>
                  <a:gd name="connsiteX163" fmla="*/ 2321973 w 2677922"/>
                  <a:gd name="connsiteY163" fmla="*/ 692182 h 2672762"/>
                  <a:gd name="connsiteX164" fmla="*/ 2313718 w 2677922"/>
                  <a:gd name="connsiteY164" fmla="*/ 733460 h 2672762"/>
                  <a:gd name="connsiteX165" fmla="*/ 2349320 w 2677922"/>
                  <a:gd name="connsiteY165" fmla="*/ 795377 h 2672762"/>
                  <a:gd name="connsiteX166" fmla="*/ 2394726 w 2677922"/>
                  <a:gd name="connsiteY166" fmla="*/ 810341 h 2672762"/>
                  <a:gd name="connsiteX167" fmla="*/ 2526816 w 2677922"/>
                  <a:gd name="connsiteY167" fmla="*/ 780414 h 2672762"/>
                  <a:gd name="connsiteX168" fmla="*/ 2575834 w 2677922"/>
                  <a:gd name="connsiteY168" fmla="*/ 803117 h 2672762"/>
                  <a:gd name="connsiteX169" fmla="*/ 2591313 w 2677922"/>
                  <a:gd name="connsiteY169" fmla="*/ 838719 h 2672762"/>
                  <a:gd name="connsiteX170" fmla="*/ 2570158 w 2677922"/>
                  <a:gd name="connsiteY170" fmla="*/ 896509 h 2672762"/>
                  <a:gd name="connsiteX171" fmla="*/ 2461287 w 2677922"/>
                  <a:gd name="connsiteY171" fmla="*/ 964102 h 2672762"/>
                  <a:gd name="connsiteX172" fmla="*/ 2438068 w 2677922"/>
                  <a:gd name="connsiteY172" fmla="*/ 1014668 h 2672762"/>
                  <a:gd name="connsiteX173" fmla="*/ 2454063 w 2677922"/>
                  <a:gd name="connsiteY173" fmla="*/ 1073489 h 2672762"/>
                  <a:gd name="connsiteX174" fmla="*/ 2492762 w 2677922"/>
                  <a:gd name="connsiteY174" fmla="*/ 1100836 h 2672762"/>
                  <a:gd name="connsiteX175" fmla="*/ 2628464 w 2677922"/>
                  <a:gd name="connsiteY175" fmla="*/ 1105996 h 2672762"/>
                  <a:gd name="connsiteX176" fmla="*/ 2672322 w 2677922"/>
                  <a:gd name="connsiteY176" fmla="*/ 1140566 h 2672762"/>
                  <a:gd name="connsiteX177" fmla="*/ 2677998 w 2677922"/>
                  <a:gd name="connsiteY177" fmla="*/ 1182360 h 2672762"/>
                  <a:gd name="connsiteX178" fmla="*/ 2644459 w 2677922"/>
                  <a:gd name="connsiteY178" fmla="*/ 1229830 h 2672762"/>
                  <a:gd name="connsiteX179" fmla="*/ 2522172 w 2677922"/>
                  <a:gd name="connsiteY179" fmla="*/ 1267497 h 2672762"/>
                  <a:gd name="connsiteX180" fmla="*/ 2483990 w 2677922"/>
                  <a:gd name="connsiteY180" fmla="*/ 1315998 h 2672762"/>
                  <a:gd name="connsiteX181" fmla="*/ 2486570 w 2677922"/>
                  <a:gd name="connsiteY181" fmla="*/ 1379980 h 2672762"/>
                  <a:gd name="connsiteX182" fmla="*/ 2512885 w 2677922"/>
                  <a:gd name="connsiteY182" fmla="*/ 1407842 h 2672762"/>
                  <a:gd name="connsiteX183" fmla="*/ 2641363 w 2677922"/>
                  <a:gd name="connsiteY183" fmla="*/ 1447057 h 2672762"/>
                  <a:gd name="connsiteX184" fmla="*/ 2677998 w 2677922"/>
                  <a:gd name="connsiteY184" fmla="*/ 1498138 h 2672762"/>
                  <a:gd name="connsiteX185" fmla="*/ 2677998 w 2677922"/>
                  <a:gd name="connsiteY185" fmla="*/ 1507426 h 2672762"/>
                  <a:gd name="connsiteX186" fmla="*/ 2611952 w 2677922"/>
                  <a:gd name="connsiteY186" fmla="*/ 1572955 h 2672762"/>
                  <a:gd name="connsiteX187" fmla="*/ 2490182 w 2677922"/>
                  <a:gd name="connsiteY187" fmla="*/ 1576567 h 2672762"/>
                  <a:gd name="connsiteX188" fmla="*/ 2457675 w 2677922"/>
                  <a:gd name="connsiteY188" fmla="*/ 1596690 h 2672762"/>
                  <a:gd name="connsiteX189" fmla="*/ 2437036 w 2677922"/>
                  <a:gd name="connsiteY189" fmla="*/ 1673055 h 2672762"/>
                  <a:gd name="connsiteX190" fmla="*/ 2457159 w 2677922"/>
                  <a:gd name="connsiteY190" fmla="*/ 1710205 h 2672762"/>
                  <a:gd name="connsiteX191" fmla="*/ 2564483 w 2677922"/>
                  <a:gd name="connsiteY191" fmla="*/ 1777282 h 2672762"/>
                  <a:gd name="connsiteX192" fmla="*/ 2588733 w 2677922"/>
                  <a:gd name="connsiteY192" fmla="*/ 1845907 h 2672762"/>
                  <a:gd name="connsiteX193" fmla="*/ 2571706 w 2677922"/>
                  <a:gd name="connsiteY193" fmla="*/ 1880994 h 2672762"/>
                  <a:gd name="connsiteX194" fmla="*/ 2538684 w 2677922"/>
                  <a:gd name="connsiteY194" fmla="*/ 1897505 h 2672762"/>
                  <a:gd name="connsiteX195" fmla="*/ 1338521 w 2677922"/>
                  <a:gd name="connsiteY195" fmla="*/ 2312867 h 2672762"/>
                  <a:gd name="connsiteX196" fmla="*/ 2316814 w 2677922"/>
                  <a:gd name="connsiteY196" fmla="*/ 1335605 h 2672762"/>
                  <a:gd name="connsiteX197" fmla="*/ 1340068 w 2677922"/>
                  <a:gd name="connsiteY197" fmla="*/ 359376 h 2672762"/>
                  <a:gd name="connsiteX198" fmla="*/ 361775 w 2677922"/>
                  <a:gd name="connsiteY198" fmla="*/ 1331994 h 2672762"/>
                  <a:gd name="connsiteX199" fmla="*/ 1338521 w 2677922"/>
                  <a:gd name="connsiteY199" fmla="*/ 2312867 h 2672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</a:cxnLst>
                <a:rect l="l" t="t" r="r" b="b"/>
                <a:pathLst>
                  <a:path w="2677922" h="2672762">
                    <a:moveTo>
                      <a:pt x="2538684" y="1897505"/>
                    </a:moveTo>
                    <a:cubicBezTo>
                      <a:pt x="2511337" y="1891313"/>
                      <a:pt x="2483990" y="1885121"/>
                      <a:pt x="2456643" y="1879446"/>
                    </a:cubicBezTo>
                    <a:cubicBezTo>
                      <a:pt x="2434456" y="1874286"/>
                      <a:pt x="2411753" y="1869642"/>
                      <a:pt x="2389566" y="1863966"/>
                    </a:cubicBezTo>
                    <a:cubicBezTo>
                      <a:pt x="2375119" y="1860354"/>
                      <a:pt x="2363767" y="1864482"/>
                      <a:pt x="2354479" y="1874802"/>
                    </a:cubicBezTo>
                    <a:cubicBezTo>
                      <a:pt x="2335389" y="1896989"/>
                      <a:pt x="2320425" y="1922272"/>
                      <a:pt x="2312170" y="1950651"/>
                    </a:cubicBezTo>
                    <a:cubicBezTo>
                      <a:pt x="2308042" y="1964066"/>
                      <a:pt x="2314234" y="1973869"/>
                      <a:pt x="2322489" y="1983157"/>
                    </a:cubicBezTo>
                    <a:cubicBezTo>
                      <a:pt x="2352416" y="2015664"/>
                      <a:pt x="2382858" y="2048170"/>
                      <a:pt x="2412785" y="2080161"/>
                    </a:cubicBezTo>
                    <a:cubicBezTo>
                      <a:pt x="2435488" y="2104412"/>
                      <a:pt x="2436520" y="2118859"/>
                      <a:pt x="2418461" y="2146722"/>
                    </a:cubicBezTo>
                    <a:cubicBezTo>
                      <a:pt x="2417429" y="2148270"/>
                      <a:pt x="2416397" y="2150334"/>
                      <a:pt x="2414849" y="2151882"/>
                    </a:cubicBezTo>
                    <a:cubicBezTo>
                      <a:pt x="2380795" y="2197804"/>
                      <a:pt x="2365831" y="2198320"/>
                      <a:pt x="2324037" y="2174585"/>
                    </a:cubicBezTo>
                    <a:cubicBezTo>
                      <a:pt x="2289982" y="2154978"/>
                      <a:pt x="2253864" y="2137434"/>
                      <a:pt x="2219294" y="2118859"/>
                    </a:cubicBezTo>
                    <a:cubicBezTo>
                      <a:pt x="2204846" y="2111120"/>
                      <a:pt x="2191431" y="2111120"/>
                      <a:pt x="2178531" y="2120407"/>
                    </a:cubicBezTo>
                    <a:cubicBezTo>
                      <a:pt x="2157892" y="2134855"/>
                      <a:pt x="2140349" y="2152398"/>
                      <a:pt x="2125386" y="2172521"/>
                    </a:cubicBezTo>
                    <a:cubicBezTo>
                      <a:pt x="2114550" y="2186968"/>
                      <a:pt x="2114034" y="2201416"/>
                      <a:pt x="2122806" y="2217411"/>
                    </a:cubicBezTo>
                    <a:cubicBezTo>
                      <a:pt x="2143961" y="2256109"/>
                      <a:pt x="2164600" y="2295323"/>
                      <a:pt x="2184723" y="2334538"/>
                    </a:cubicBezTo>
                    <a:cubicBezTo>
                      <a:pt x="2198655" y="2361885"/>
                      <a:pt x="2196591" y="2374268"/>
                      <a:pt x="2174404" y="2395423"/>
                    </a:cubicBezTo>
                    <a:cubicBezTo>
                      <a:pt x="2170792" y="2398519"/>
                      <a:pt x="2167696" y="2402131"/>
                      <a:pt x="2164084" y="2404711"/>
                    </a:cubicBezTo>
                    <a:cubicBezTo>
                      <a:pt x="2131062" y="2428962"/>
                      <a:pt x="2114034" y="2440829"/>
                      <a:pt x="2075336" y="2401615"/>
                    </a:cubicBezTo>
                    <a:cubicBezTo>
                      <a:pt x="2047473" y="2373236"/>
                      <a:pt x="2017547" y="2347953"/>
                      <a:pt x="1988652" y="2320606"/>
                    </a:cubicBezTo>
                    <a:cubicBezTo>
                      <a:pt x="1975236" y="2307707"/>
                      <a:pt x="1960789" y="2305127"/>
                      <a:pt x="1944277" y="2311835"/>
                    </a:cubicBezTo>
                    <a:cubicBezTo>
                      <a:pt x="1922607" y="2320606"/>
                      <a:pt x="1901968" y="2331958"/>
                      <a:pt x="1883392" y="2346405"/>
                    </a:cubicBezTo>
                    <a:cubicBezTo>
                      <a:pt x="1867913" y="2358273"/>
                      <a:pt x="1863785" y="2373236"/>
                      <a:pt x="1868429" y="2391811"/>
                    </a:cubicBezTo>
                    <a:cubicBezTo>
                      <a:pt x="1879264" y="2436701"/>
                      <a:pt x="1889584" y="2482107"/>
                      <a:pt x="1899388" y="2526997"/>
                    </a:cubicBezTo>
                    <a:cubicBezTo>
                      <a:pt x="1903516" y="2546604"/>
                      <a:pt x="1896808" y="2561568"/>
                      <a:pt x="1879264" y="2571887"/>
                    </a:cubicBezTo>
                    <a:cubicBezTo>
                      <a:pt x="1867397" y="2579111"/>
                      <a:pt x="1854498" y="2584787"/>
                      <a:pt x="1841082" y="2588915"/>
                    </a:cubicBezTo>
                    <a:cubicBezTo>
                      <a:pt x="1813736" y="2597686"/>
                      <a:pt x="1798256" y="2592526"/>
                      <a:pt x="1782777" y="2568276"/>
                    </a:cubicBezTo>
                    <a:cubicBezTo>
                      <a:pt x="1760074" y="2532157"/>
                      <a:pt x="1736855" y="2496555"/>
                      <a:pt x="1715184" y="2459404"/>
                    </a:cubicBezTo>
                    <a:cubicBezTo>
                      <a:pt x="1703316" y="2439281"/>
                      <a:pt x="1687837" y="2431542"/>
                      <a:pt x="1664618" y="2435669"/>
                    </a:cubicBezTo>
                    <a:cubicBezTo>
                      <a:pt x="1646043" y="2439281"/>
                      <a:pt x="1627984" y="2443925"/>
                      <a:pt x="1610440" y="2450117"/>
                    </a:cubicBezTo>
                    <a:cubicBezTo>
                      <a:pt x="1586190" y="2458888"/>
                      <a:pt x="1578450" y="2469208"/>
                      <a:pt x="1577418" y="2495007"/>
                    </a:cubicBezTo>
                    <a:cubicBezTo>
                      <a:pt x="1575870" y="2535769"/>
                      <a:pt x="1574838" y="2576015"/>
                      <a:pt x="1573806" y="2616777"/>
                    </a:cubicBezTo>
                    <a:cubicBezTo>
                      <a:pt x="1572774" y="2653928"/>
                      <a:pt x="1563487" y="2665795"/>
                      <a:pt x="1526852" y="2672503"/>
                    </a:cubicBezTo>
                    <a:cubicBezTo>
                      <a:pt x="1517049" y="2674567"/>
                      <a:pt x="1507245" y="2675599"/>
                      <a:pt x="1497441" y="2676115"/>
                    </a:cubicBezTo>
                    <a:cubicBezTo>
                      <a:pt x="1473191" y="2677663"/>
                      <a:pt x="1457711" y="2667859"/>
                      <a:pt x="1449972" y="2644124"/>
                    </a:cubicBezTo>
                    <a:cubicBezTo>
                      <a:pt x="1436040" y="2600782"/>
                      <a:pt x="1422624" y="2557956"/>
                      <a:pt x="1410241" y="2514614"/>
                    </a:cubicBezTo>
                    <a:cubicBezTo>
                      <a:pt x="1404565" y="2495007"/>
                      <a:pt x="1392698" y="2485719"/>
                      <a:pt x="1373091" y="2482623"/>
                    </a:cubicBezTo>
                    <a:cubicBezTo>
                      <a:pt x="1350388" y="2479527"/>
                      <a:pt x="1327685" y="2479527"/>
                      <a:pt x="1304982" y="2483139"/>
                    </a:cubicBezTo>
                    <a:cubicBezTo>
                      <a:pt x="1287955" y="2485719"/>
                      <a:pt x="1277119" y="2494491"/>
                      <a:pt x="1271959" y="2511518"/>
                    </a:cubicBezTo>
                    <a:cubicBezTo>
                      <a:pt x="1260092" y="2552280"/>
                      <a:pt x="1247192" y="2593042"/>
                      <a:pt x="1234293" y="2633805"/>
                    </a:cubicBezTo>
                    <a:cubicBezTo>
                      <a:pt x="1222941" y="2670439"/>
                      <a:pt x="1208494" y="2679727"/>
                      <a:pt x="1170828" y="2674567"/>
                    </a:cubicBezTo>
                    <a:cubicBezTo>
                      <a:pt x="1114070" y="2666827"/>
                      <a:pt x="1107362" y="2659087"/>
                      <a:pt x="1106847" y="2602330"/>
                    </a:cubicBezTo>
                    <a:cubicBezTo>
                      <a:pt x="1106331" y="2565180"/>
                      <a:pt x="1104783" y="2528545"/>
                      <a:pt x="1103751" y="2491395"/>
                    </a:cubicBezTo>
                    <a:cubicBezTo>
                      <a:pt x="1103234" y="2474368"/>
                      <a:pt x="1096527" y="2460952"/>
                      <a:pt x="1080532" y="2454244"/>
                    </a:cubicBezTo>
                    <a:cubicBezTo>
                      <a:pt x="1056281" y="2443925"/>
                      <a:pt x="1031514" y="2436701"/>
                      <a:pt x="1005199" y="2435153"/>
                    </a:cubicBezTo>
                    <a:cubicBezTo>
                      <a:pt x="989203" y="2434121"/>
                      <a:pt x="977852" y="2440313"/>
                      <a:pt x="969080" y="2454244"/>
                    </a:cubicBezTo>
                    <a:cubicBezTo>
                      <a:pt x="946894" y="2491395"/>
                      <a:pt x="923159" y="2527513"/>
                      <a:pt x="900456" y="2564148"/>
                    </a:cubicBezTo>
                    <a:cubicBezTo>
                      <a:pt x="882396" y="2593042"/>
                      <a:pt x="868465" y="2598202"/>
                      <a:pt x="836474" y="2587367"/>
                    </a:cubicBezTo>
                    <a:cubicBezTo>
                      <a:pt x="834926" y="2586851"/>
                      <a:pt x="833379" y="2586335"/>
                      <a:pt x="831830" y="2585819"/>
                    </a:cubicBezTo>
                    <a:cubicBezTo>
                      <a:pt x="782297" y="2565696"/>
                      <a:pt x="772493" y="2554344"/>
                      <a:pt x="785392" y="2504810"/>
                    </a:cubicBezTo>
                    <a:cubicBezTo>
                      <a:pt x="795196" y="2467144"/>
                      <a:pt x="802420" y="2428962"/>
                      <a:pt x="811707" y="2390779"/>
                    </a:cubicBezTo>
                    <a:cubicBezTo>
                      <a:pt x="816351" y="2371172"/>
                      <a:pt x="811191" y="2356209"/>
                      <a:pt x="794680" y="2344341"/>
                    </a:cubicBezTo>
                    <a:cubicBezTo>
                      <a:pt x="777137" y="2331958"/>
                      <a:pt x="759078" y="2321122"/>
                      <a:pt x="739470" y="2312351"/>
                    </a:cubicBezTo>
                    <a:cubicBezTo>
                      <a:pt x="720895" y="2304095"/>
                      <a:pt x="704900" y="2307191"/>
                      <a:pt x="689421" y="2321638"/>
                    </a:cubicBezTo>
                    <a:cubicBezTo>
                      <a:pt x="658462" y="2351049"/>
                      <a:pt x="626988" y="2379944"/>
                      <a:pt x="596029" y="2408838"/>
                    </a:cubicBezTo>
                    <a:cubicBezTo>
                      <a:pt x="572810" y="2431026"/>
                      <a:pt x="557847" y="2432057"/>
                      <a:pt x="530500" y="2415030"/>
                    </a:cubicBezTo>
                    <a:cubicBezTo>
                      <a:pt x="527404" y="2412966"/>
                      <a:pt x="524308" y="2410902"/>
                      <a:pt x="521212" y="2408838"/>
                    </a:cubicBezTo>
                    <a:cubicBezTo>
                      <a:pt x="481482" y="2380460"/>
                      <a:pt x="477870" y="2365496"/>
                      <a:pt x="500573" y="2322670"/>
                    </a:cubicBezTo>
                    <a:cubicBezTo>
                      <a:pt x="519148" y="2287584"/>
                      <a:pt x="537207" y="2252497"/>
                      <a:pt x="556298" y="2217927"/>
                    </a:cubicBezTo>
                    <a:cubicBezTo>
                      <a:pt x="566102" y="2199868"/>
                      <a:pt x="564555" y="2184388"/>
                      <a:pt x="552171" y="2168909"/>
                    </a:cubicBezTo>
                    <a:cubicBezTo>
                      <a:pt x="538756" y="2151882"/>
                      <a:pt x="523276" y="2136402"/>
                      <a:pt x="505733" y="2122987"/>
                    </a:cubicBezTo>
                    <a:cubicBezTo>
                      <a:pt x="490254" y="2111120"/>
                      <a:pt x="474774" y="2110088"/>
                      <a:pt x="457747" y="2119375"/>
                    </a:cubicBezTo>
                    <a:cubicBezTo>
                      <a:pt x="419564" y="2140014"/>
                      <a:pt x="380866" y="2160653"/>
                      <a:pt x="341652" y="2180777"/>
                    </a:cubicBezTo>
                    <a:cubicBezTo>
                      <a:pt x="314305" y="2195224"/>
                      <a:pt x="298310" y="2191612"/>
                      <a:pt x="278187" y="2168909"/>
                    </a:cubicBezTo>
                    <a:cubicBezTo>
                      <a:pt x="276639" y="2167361"/>
                      <a:pt x="275607" y="2165813"/>
                      <a:pt x="274059" y="2164265"/>
                    </a:cubicBezTo>
                    <a:cubicBezTo>
                      <a:pt x="238456" y="2122987"/>
                      <a:pt x="238972" y="2108540"/>
                      <a:pt x="276639" y="2069325"/>
                    </a:cubicBezTo>
                    <a:cubicBezTo>
                      <a:pt x="302954" y="2041463"/>
                      <a:pt x="327721" y="2013084"/>
                      <a:pt x="354551" y="1986253"/>
                    </a:cubicBezTo>
                    <a:cubicBezTo>
                      <a:pt x="367967" y="1972322"/>
                      <a:pt x="370547" y="1957874"/>
                      <a:pt x="363839" y="1940847"/>
                    </a:cubicBezTo>
                    <a:cubicBezTo>
                      <a:pt x="355067" y="1918660"/>
                      <a:pt x="342684" y="1898021"/>
                      <a:pt x="328237" y="1878930"/>
                    </a:cubicBezTo>
                    <a:cubicBezTo>
                      <a:pt x="316369" y="1863450"/>
                      <a:pt x="300374" y="1861902"/>
                      <a:pt x="283347" y="1866030"/>
                    </a:cubicBezTo>
                    <a:cubicBezTo>
                      <a:pt x="245680" y="1874802"/>
                      <a:pt x="208530" y="1883573"/>
                      <a:pt x="170864" y="1891829"/>
                    </a:cubicBezTo>
                    <a:cubicBezTo>
                      <a:pt x="165704" y="1892861"/>
                      <a:pt x="160544" y="1894409"/>
                      <a:pt x="155900" y="1895441"/>
                    </a:cubicBezTo>
                    <a:cubicBezTo>
                      <a:pt x="127521" y="1900601"/>
                      <a:pt x="113074" y="1893893"/>
                      <a:pt x="100175" y="1868094"/>
                    </a:cubicBezTo>
                    <a:cubicBezTo>
                      <a:pt x="95531" y="1858291"/>
                      <a:pt x="90887" y="1848487"/>
                      <a:pt x="87275" y="1838168"/>
                    </a:cubicBezTo>
                    <a:cubicBezTo>
                      <a:pt x="77988" y="1810821"/>
                      <a:pt x="83147" y="1795341"/>
                      <a:pt x="107915" y="1779862"/>
                    </a:cubicBezTo>
                    <a:cubicBezTo>
                      <a:pt x="143001" y="1757675"/>
                      <a:pt x="178603" y="1735488"/>
                      <a:pt x="213690" y="1713817"/>
                    </a:cubicBezTo>
                    <a:cubicBezTo>
                      <a:pt x="241552" y="1696274"/>
                      <a:pt x="245680" y="1686470"/>
                      <a:pt x="238972" y="1654480"/>
                    </a:cubicBezTo>
                    <a:cubicBezTo>
                      <a:pt x="234845" y="1636420"/>
                      <a:pt x="230201" y="1617845"/>
                      <a:pt x="222977" y="1600818"/>
                    </a:cubicBezTo>
                    <a:cubicBezTo>
                      <a:pt x="215753" y="1583791"/>
                      <a:pt x="203370" y="1575535"/>
                      <a:pt x="184279" y="1575019"/>
                    </a:cubicBezTo>
                    <a:cubicBezTo>
                      <a:pt x="142485" y="1574503"/>
                      <a:pt x="101207" y="1572955"/>
                      <a:pt x="59413" y="1571407"/>
                    </a:cubicBezTo>
                    <a:cubicBezTo>
                      <a:pt x="21746" y="1570375"/>
                      <a:pt x="10395" y="1560572"/>
                      <a:pt x="3687" y="1524453"/>
                    </a:cubicBezTo>
                    <a:cubicBezTo>
                      <a:pt x="3171" y="1520841"/>
                      <a:pt x="2139" y="1517230"/>
                      <a:pt x="1623" y="1513618"/>
                    </a:cubicBezTo>
                    <a:cubicBezTo>
                      <a:pt x="-4053" y="1467696"/>
                      <a:pt x="3687" y="1455828"/>
                      <a:pt x="48577" y="1442413"/>
                    </a:cubicBezTo>
                    <a:cubicBezTo>
                      <a:pt x="85727" y="1431061"/>
                      <a:pt x="122877" y="1418678"/>
                      <a:pt x="160544" y="1408358"/>
                    </a:cubicBezTo>
                    <a:cubicBezTo>
                      <a:pt x="181183" y="1402683"/>
                      <a:pt x="192018" y="1390815"/>
                      <a:pt x="194083" y="1370692"/>
                    </a:cubicBezTo>
                    <a:cubicBezTo>
                      <a:pt x="196147" y="1346957"/>
                      <a:pt x="197178" y="1322706"/>
                      <a:pt x="192534" y="1298971"/>
                    </a:cubicBezTo>
                    <a:cubicBezTo>
                      <a:pt x="189954" y="1283492"/>
                      <a:pt x="181183" y="1274204"/>
                      <a:pt x="166220" y="1269560"/>
                    </a:cubicBezTo>
                    <a:cubicBezTo>
                      <a:pt x="126490" y="1257693"/>
                      <a:pt x="86759" y="1245310"/>
                      <a:pt x="47029" y="1232926"/>
                    </a:cubicBezTo>
                    <a:cubicBezTo>
                      <a:pt x="3687" y="1219511"/>
                      <a:pt x="-957" y="1212287"/>
                      <a:pt x="1623" y="1166881"/>
                    </a:cubicBezTo>
                    <a:cubicBezTo>
                      <a:pt x="2139" y="1157593"/>
                      <a:pt x="4203" y="1148306"/>
                      <a:pt x="6267" y="1139534"/>
                    </a:cubicBezTo>
                    <a:cubicBezTo>
                      <a:pt x="12459" y="1116831"/>
                      <a:pt x="25358" y="1106512"/>
                      <a:pt x="49093" y="1105480"/>
                    </a:cubicBezTo>
                    <a:cubicBezTo>
                      <a:pt x="87791" y="1103932"/>
                      <a:pt x="125974" y="1102900"/>
                      <a:pt x="164672" y="1101868"/>
                    </a:cubicBezTo>
                    <a:cubicBezTo>
                      <a:pt x="170348" y="1101868"/>
                      <a:pt x="176023" y="1101352"/>
                      <a:pt x="181699" y="1101352"/>
                    </a:cubicBezTo>
                    <a:cubicBezTo>
                      <a:pt x="207498" y="1102384"/>
                      <a:pt x="220913" y="1087936"/>
                      <a:pt x="227621" y="1065233"/>
                    </a:cubicBezTo>
                    <a:cubicBezTo>
                      <a:pt x="232781" y="1048206"/>
                      <a:pt x="237425" y="1031179"/>
                      <a:pt x="241036" y="1014152"/>
                    </a:cubicBezTo>
                    <a:cubicBezTo>
                      <a:pt x="245680" y="990417"/>
                      <a:pt x="240005" y="979065"/>
                      <a:pt x="219366" y="965650"/>
                    </a:cubicBezTo>
                    <a:cubicBezTo>
                      <a:pt x="184279" y="943463"/>
                      <a:pt x="148676" y="921276"/>
                      <a:pt x="113590" y="899605"/>
                    </a:cubicBezTo>
                    <a:cubicBezTo>
                      <a:pt x="82116" y="879997"/>
                      <a:pt x="77472" y="867614"/>
                      <a:pt x="89855" y="832012"/>
                    </a:cubicBezTo>
                    <a:cubicBezTo>
                      <a:pt x="93467" y="820660"/>
                      <a:pt x="98111" y="809309"/>
                      <a:pt x="104818" y="799505"/>
                    </a:cubicBezTo>
                    <a:cubicBezTo>
                      <a:pt x="115654" y="782994"/>
                      <a:pt x="130617" y="774738"/>
                      <a:pt x="151256" y="779898"/>
                    </a:cubicBezTo>
                    <a:cubicBezTo>
                      <a:pt x="195114" y="790217"/>
                      <a:pt x="239489" y="799505"/>
                      <a:pt x="283347" y="810341"/>
                    </a:cubicBezTo>
                    <a:cubicBezTo>
                      <a:pt x="303469" y="815500"/>
                      <a:pt x="318949" y="810857"/>
                      <a:pt x="331332" y="794345"/>
                    </a:cubicBezTo>
                    <a:cubicBezTo>
                      <a:pt x="344232" y="776802"/>
                      <a:pt x="355584" y="757711"/>
                      <a:pt x="363839" y="737588"/>
                    </a:cubicBezTo>
                    <a:cubicBezTo>
                      <a:pt x="371063" y="719529"/>
                      <a:pt x="368999" y="704049"/>
                      <a:pt x="354551" y="689086"/>
                    </a:cubicBezTo>
                    <a:cubicBezTo>
                      <a:pt x="324625" y="658643"/>
                      <a:pt x="296246" y="627169"/>
                      <a:pt x="266835" y="595694"/>
                    </a:cubicBezTo>
                    <a:cubicBezTo>
                      <a:pt x="244132" y="570927"/>
                      <a:pt x="243100" y="556996"/>
                      <a:pt x="261675" y="529133"/>
                    </a:cubicBezTo>
                    <a:cubicBezTo>
                      <a:pt x="264771" y="525005"/>
                      <a:pt x="267351" y="520361"/>
                      <a:pt x="270447" y="516233"/>
                    </a:cubicBezTo>
                    <a:cubicBezTo>
                      <a:pt x="296762" y="481663"/>
                      <a:pt x="311209" y="478567"/>
                      <a:pt x="349907" y="498690"/>
                    </a:cubicBezTo>
                    <a:cubicBezTo>
                      <a:pt x="386026" y="517781"/>
                      <a:pt x="422144" y="536357"/>
                      <a:pt x="457231" y="555964"/>
                    </a:cubicBezTo>
                    <a:cubicBezTo>
                      <a:pt x="475806" y="566283"/>
                      <a:pt x="492318" y="564219"/>
                      <a:pt x="507797" y="551320"/>
                    </a:cubicBezTo>
                    <a:cubicBezTo>
                      <a:pt x="523276" y="538421"/>
                      <a:pt x="537723" y="523973"/>
                      <a:pt x="551139" y="508494"/>
                    </a:cubicBezTo>
                    <a:cubicBezTo>
                      <a:pt x="564555" y="492499"/>
                      <a:pt x="567650" y="476503"/>
                      <a:pt x="556815" y="456896"/>
                    </a:cubicBezTo>
                    <a:cubicBezTo>
                      <a:pt x="535143" y="418198"/>
                      <a:pt x="515020" y="378983"/>
                      <a:pt x="494381" y="339769"/>
                    </a:cubicBezTo>
                    <a:cubicBezTo>
                      <a:pt x="480966" y="313970"/>
                      <a:pt x="484062" y="300039"/>
                      <a:pt x="505217" y="280432"/>
                    </a:cubicBezTo>
                    <a:cubicBezTo>
                      <a:pt x="515020" y="271144"/>
                      <a:pt x="525856" y="263405"/>
                      <a:pt x="537723" y="256181"/>
                    </a:cubicBezTo>
                    <a:cubicBezTo>
                      <a:pt x="558362" y="244313"/>
                      <a:pt x="572810" y="245861"/>
                      <a:pt x="590353" y="261857"/>
                    </a:cubicBezTo>
                    <a:cubicBezTo>
                      <a:pt x="620280" y="289203"/>
                      <a:pt x="650207" y="317066"/>
                      <a:pt x="679617" y="344929"/>
                    </a:cubicBezTo>
                    <a:cubicBezTo>
                      <a:pt x="710576" y="374340"/>
                      <a:pt x="717284" y="375372"/>
                      <a:pt x="754950" y="355765"/>
                    </a:cubicBezTo>
                    <a:cubicBezTo>
                      <a:pt x="769913" y="348025"/>
                      <a:pt x="783845" y="339769"/>
                      <a:pt x="797260" y="329450"/>
                    </a:cubicBezTo>
                    <a:cubicBezTo>
                      <a:pt x="811707" y="317582"/>
                      <a:pt x="816351" y="303651"/>
                      <a:pt x="811707" y="285076"/>
                    </a:cubicBezTo>
                    <a:cubicBezTo>
                      <a:pt x="800872" y="242249"/>
                      <a:pt x="791585" y="198907"/>
                      <a:pt x="781781" y="156081"/>
                    </a:cubicBezTo>
                    <a:cubicBezTo>
                      <a:pt x="775589" y="128218"/>
                      <a:pt x="782297" y="114287"/>
                      <a:pt x="807064" y="100872"/>
                    </a:cubicBezTo>
                    <a:cubicBezTo>
                      <a:pt x="818415" y="95196"/>
                      <a:pt x="829766" y="90552"/>
                      <a:pt x="841634" y="86424"/>
                    </a:cubicBezTo>
                    <a:cubicBezTo>
                      <a:pt x="866917" y="78685"/>
                      <a:pt x="881364" y="83328"/>
                      <a:pt x="896328" y="106031"/>
                    </a:cubicBezTo>
                    <a:cubicBezTo>
                      <a:pt x="920062" y="142666"/>
                      <a:pt x="943798" y="179300"/>
                      <a:pt x="965469" y="217483"/>
                    </a:cubicBezTo>
                    <a:cubicBezTo>
                      <a:pt x="976820" y="237090"/>
                      <a:pt x="992299" y="243797"/>
                      <a:pt x="1013455" y="240702"/>
                    </a:cubicBezTo>
                    <a:cubicBezTo>
                      <a:pt x="1035641" y="237090"/>
                      <a:pt x="1057313" y="231414"/>
                      <a:pt x="1077952" y="222642"/>
                    </a:cubicBezTo>
                    <a:cubicBezTo>
                      <a:pt x="1092915" y="215935"/>
                      <a:pt x="1101171" y="205615"/>
                      <a:pt x="1101687" y="188072"/>
                    </a:cubicBezTo>
                    <a:cubicBezTo>
                      <a:pt x="1102719" y="143182"/>
                      <a:pt x="1105298" y="98808"/>
                      <a:pt x="1106847" y="53918"/>
                    </a:cubicBezTo>
                    <a:cubicBezTo>
                      <a:pt x="1107878" y="25023"/>
                      <a:pt x="1117166" y="12640"/>
                      <a:pt x="1145029" y="4900"/>
                    </a:cubicBezTo>
                    <a:cubicBezTo>
                      <a:pt x="1149672" y="3868"/>
                      <a:pt x="1154316" y="2320"/>
                      <a:pt x="1158960" y="1804"/>
                    </a:cubicBezTo>
                    <a:cubicBezTo>
                      <a:pt x="1210042" y="-3872"/>
                      <a:pt x="1222426" y="1804"/>
                      <a:pt x="1235841" y="48758"/>
                    </a:cubicBezTo>
                    <a:cubicBezTo>
                      <a:pt x="1246676" y="86940"/>
                      <a:pt x="1259576" y="124091"/>
                      <a:pt x="1269895" y="162273"/>
                    </a:cubicBezTo>
                    <a:cubicBezTo>
                      <a:pt x="1275055" y="180332"/>
                      <a:pt x="1285890" y="190136"/>
                      <a:pt x="1303434" y="192716"/>
                    </a:cubicBezTo>
                    <a:cubicBezTo>
                      <a:pt x="1327685" y="195812"/>
                      <a:pt x="1352452" y="195812"/>
                      <a:pt x="1376702" y="192716"/>
                    </a:cubicBezTo>
                    <a:cubicBezTo>
                      <a:pt x="1393730" y="190652"/>
                      <a:pt x="1404049" y="180332"/>
                      <a:pt x="1409209" y="163305"/>
                    </a:cubicBezTo>
                    <a:cubicBezTo>
                      <a:pt x="1421593" y="121511"/>
                      <a:pt x="1434492" y="79717"/>
                      <a:pt x="1447392" y="37922"/>
                    </a:cubicBezTo>
                    <a:cubicBezTo>
                      <a:pt x="1457195" y="6964"/>
                      <a:pt x="1466998" y="-260"/>
                      <a:pt x="1499505" y="256"/>
                    </a:cubicBezTo>
                    <a:cubicBezTo>
                      <a:pt x="1504149" y="256"/>
                      <a:pt x="1508793" y="256"/>
                      <a:pt x="1513436" y="772"/>
                    </a:cubicBezTo>
                    <a:cubicBezTo>
                      <a:pt x="1559358" y="5416"/>
                      <a:pt x="1572258" y="19347"/>
                      <a:pt x="1573290" y="65269"/>
                    </a:cubicBezTo>
                    <a:cubicBezTo>
                      <a:pt x="1574322" y="105515"/>
                      <a:pt x="1575870" y="145246"/>
                      <a:pt x="1576902" y="185492"/>
                    </a:cubicBezTo>
                    <a:cubicBezTo>
                      <a:pt x="1577418" y="201487"/>
                      <a:pt x="1583093" y="213871"/>
                      <a:pt x="1598057" y="220578"/>
                    </a:cubicBezTo>
                    <a:cubicBezTo>
                      <a:pt x="1622308" y="231414"/>
                      <a:pt x="1647590" y="238638"/>
                      <a:pt x="1674422" y="240702"/>
                    </a:cubicBezTo>
                    <a:cubicBezTo>
                      <a:pt x="1690933" y="241733"/>
                      <a:pt x="1702285" y="235026"/>
                      <a:pt x="1710540" y="221610"/>
                    </a:cubicBezTo>
                    <a:cubicBezTo>
                      <a:pt x="1733243" y="184976"/>
                      <a:pt x="1756462" y="148342"/>
                      <a:pt x="1779165" y="111707"/>
                    </a:cubicBezTo>
                    <a:cubicBezTo>
                      <a:pt x="1798772" y="80749"/>
                      <a:pt x="1810640" y="76621"/>
                      <a:pt x="1845726" y="88488"/>
                    </a:cubicBezTo>
                    <a:cubicBezTo>
                      <a:pt x="1849854" y="90036"/>
                      <a:pt x="1853466" y="91068"/>
                      <a:pt x="1857594" y="92616"/>
                    </a:cubicBezTo>
                    <a:cubicBezTo>
                      <a:pt x="1898356" y="110159"/>
                      <a:pt x="1905063" y="123059"/>
                      <a:pt x="1895260" y="166401"/>
                    </a:cubicBezTo>
                    <a:cubicBezTo>
                      <a:pt x="1886488" y="205099"/>
                      <a:pt x="1877717" y="243281"/>
                      <a:pt x="1868429" y="281980"/>
                    </a:cubicBezTo>
                    <a:cubicBezTo>
                      <a:pt x="1863269" y="303135"/>
                      <a:pt x="1868429" y="319646"/>
                      <a:pt x="1887004" y="332030"/>
                    </a:cubicBezTo>
                    <a:cubicBezTo>
                      <a:pt x="1906096" y="344929"/>
                      <a:pt x="1925187" y="356796"/>
                      <a:pt x="1946857" y="365052"/>
                    </a:cubicBezTo>
                    <a:cubicBezTo>
                      <a:pt x="1962337" y="370728"/>
                      <a:pt x="1974720" y="367116"/>
                      <a:pt x="1986588" y="355765"/>
                    </a:cubicBezTo>
                    <a:cubicBezTo>
                      <a:pt x="2018062" y="325838"/>
                      <a:pt x="2049537" y="296943"/>
                      <a:pt x="2081528" y="267532"/>
                    </a:cubicBezTo>
                    <a:cubicBezTo>
                      <a:pt x="2107843" y="242765"/>
                      <a:pt x="2122290" y="241733"/>
                      <a:pt x="2151701" y="261857"/>
                    </a:cubicBezTo>
                    <a:cubicBezTo>
                      <a:pt x="2153248" y="262889"/>
                      <a:pt x="2154281" y="263405"/>
                      <a:pt x="2155312" y="264437"/>
                    </a:cubicBezTo>
                    <a:cubicBezTo>
                      <a:pt x="2205363" y="300555"/>
                      <a:pt x="2198139" y="316034"/>
                      <a:pt x="2177500" y="353701"/>
                    </a:cubicBezTo>
                    <a:cubicBezTo>
                      <a:pt x="2158925" y="387755"/>
                      <a:pt x="2141381" y="422842"/>
                      <a:pt x="2122290" y="456896"/>
                    </a:cubicBezTo>
                    <a:cubicBezTo>
                      <a:pt x="2112487" y="474955"/>
                      <a:pt x="2114550" y="490435"/>
                      <a:pt x="2126934" y="505914"/>
                    </a:cubicBezTo>
                    <a:cubicBezTo>
                      <a:pt x="2140865" y="522941"/>
                      <a:pt x="2156345" y="538421"/>
                      <a:pt x="2173372" y="551836"/>
                    </a:cubicBezTo>
                    <a:cubicBezTo>
                      <a:pt x="2187819" y="563187"/>
                      <a:pt x="2202783" y="564735"/>
                      <a:pt x="2219810" y="555964"/>
                    </a:cubicBezTo>
                    <a:cubicBezTo>
                      <a:pt x="2258508" y="534809"/>
                      <a:pt x="2297722" y="514170"/>
                      <a:pt x="2336937" y="494046"/>
                    </a:cubicBezTo>
                    <a:cubicBezTo>
                      <a:pt x="2364799" y="479599"/>
                      <a:pt x="2380795" y="482695"/>
                      <a:pt x="2400917" y="507462"/>
                    </a:cubicBezTo>
                    <a:cubicBezTo>
                      <a:pt x="2408141" y="515717"/>
                      <a:pt x="2414849" y="524489"/>
                      <a:pt x="2420525" y="533777"/>
                    </a:cubicBezTo>
                    <a:cubicBezTo>
                      <a:pt x="2434972" y="556480"/>
                      <a:pt x="2433424" y="571443"/>
                      <a:pt x="2415365" y="591566"/>
                    </a:cubicBezTo>
                    <a:cubicBezTo>
                      <a:pt x="2384406" y="625105"/>
                      <a:pt x="2353448" y="659159"/>
                      <a:pt x="2321973" y="692182"/>
                    </a:cubicBezTo>
                    <a:cubicBezTo>
                      <a:pt x="2310106" y="704565"/>
                      <a:pt x="2307526" y="717981"/>
                      <a:pt x="2313718" y="733460"/>
                    </a:cubicBezTo>
                    <a:cubicBezTo>
                      <a:pt x="2323005" y="755647"/>
                      <a:pt x="2334357" y="776286"/>
                      <a:pt x="2349320" y="795377"/>
                    </a:cubicBezTo>
                    <a:cubicBezTo>
                      <a:pt x="2361187" y="810857"/>
                      <a:pt x="2375635" y="814984"/>
                      <a:pt x="2394726" y="810341"/>
                    </a:cubicBezTo>
                    <a:cubicBezTo>
                      <a:pt x="2438584" y="799505"/>
                      <a:pt x="2482958" y="789701"/>
                      <a:pt x="2526816" y="780414"/>
                    </a:cubicBezTo>
                    <a:cubicBezTo>
                      <a:pt x="2550035" y="775254"/>
                      <a:pt x="2563967" y="781962"/>
                      <a:pt x="2575834" y="803117"/>
                    </a:cubicBezTo>
                    <a:cubicBezTo>
                      <a:pt x="2582026" y="814468"/>
                      <a:pt x="2587186" y="826336"/>
                      <a:pt x="2591313" y="838719"/>
                    </a:cubicBezTo>
                    <a:cubicBezTo>
                      <a:pt x="2600085" y="867098"/>
                      <a:pt x="2595441" y="880514"/>
                      <a:pt x="2570158" y="896509"/>
                    </a:cubicBezTo>
                    <a:cubicBezTo>
                      <a:pt x="2534040" y="919212"/>
                      <a:pt x="2498437" y="942947"/>
                      <a:pt x="2461287" y="964102"/>
                    </a:cubicBezTo>
                    <a:cubicBezTo>
                      <a:pt x="2440132" y="976485"/>
                      <a:pt x="2434456" y="992997"/>
                      <a:pt x="2438068" y="1014668"/>
                    </a:cubicBezTo>
                    <a:cubicBezTo>
                      <a:pt x="2441164" y="1034791"/>
                      <a:pt x="2446840" y="1054398"/>
                      <a:pt x="2454063" y="1073489"/>
                    </a:cubicBezTo>
                    <a:cubicBezTo>
                      <a:pt x="2460771" y="1091032"/>
                      <a:pt x="2472638" y="1100320"/>
                      <a:pt x="2492762" y="1100836"/>
                    </a:cubicBezTo>
                    <a:cubicBezTo>
                      <a:pt x="2538168" y="1101352"/>
                      <a:pt x="2583058" y="1104448"/>
                      <a:pt x="2628464" y="1105996"/>
                    </a:cubicBezTo>
                    <a:cubicBezTo>
                      <a:pt x="2653230" y="1107028"/>
                      <a:pt x="2665614" y="1116831"/>
                      <a:pt x="2672322" y="1140566"/>
                    </a:cubicBezTo>
                    <a:cubicBezTo>
                      <a:pt x="2676449" y="1153982"/>
                      <a:pt x="2677998" y="1167913"/>
                      <a:pt x="2677998" y="1182360"/>
                    </a:cubicBezTo>
                    <a:cubicBezTo>
                      <a:pt x="2677998" y="1210223"/>
                      <a:pt x="2670258" y="1221575"/>
                      <a:pt x="2644459" y="1229830"/>
                    </a:cubicBezTo>
                    <a:cubicBezTo>
                      <a:pt x="2603697" y="1242730"/>
                      <a:pt x="2562934" y="1255113"/>
                      <a:pt x="2522172" y="1267497"/>
                    </a:cubicBezTo>
                    <a:cubicBezTo>
                      <a:pt x="2492762" y="1276268"/>
                      <a:pt x="2485022" y="1285556"/>
                      <a:pt x="2483990" y="1315998"/>
                    </a:cubicBezTo>
                    <a:cubicBezTo>
                      <a:pt x="2483474" y="1337153"/>
                      <a:pt x="2481926" y="1358824"/>
                      <a:pt x="2486570" y="1379980"/>
                    </a:cubicBezTo>
                    <a:cubicBezTo>
                      <a:pt x="2489666" y="1394427"/>
                      <a:pt x="2498437" y="1403199"/>
                      <a:pt x="2512885" y="1407842"/>
                    </a:cubicBezTo>
                    <a:cubicBezTo>
                      <a:pt x="2555711" y="1420742"/>
                      <a:pt x="2598537" y="1433641"/>
                      <a:pt x="2641363" y="1447057"/>
                    </a:cubicBezTo>
                    <a:cubicBezTo>
                      <a:pt x="2671290" y="1456344"/>
                      <a:pt x="2678514" y="1466664"/>
                      <a:pt x="2677998" y="1498138"/>
                    </a:cubicBezTo>
                    <a:cubicBezTo>
                      <a:pt x="2677998" y="1501234"/>
                      <a:pt x="2677998" y="1504330"/>
                      <a:pt x="2677998" y="1507426"/>
                    </a:cubicBezTo>
                    <a:cubicBezTo>
                      <a:pt x="2675934" y="1555928"/>
                      <a:pt x="2660454" y="1571407"/>
                      <a:pt x="2611952" y="1572955"/>
                    </a:cubicBezTo>
                    <a:cubicBezTo>
                      <a:pt x="2571190" y="1573987"/>
                      <a:pt x="2530944" y="1576051"/>
                      <a:pt x="2490182" y="1576567"/>
                    </a:cubicBezTo>
                    <a:cubicBezTo>
                      <a:pt x="2474702" y="1577083"/>
                      <a:pt x="2463867" y="1583791"/>
                      <a:pt x="2457675" y="1596690"/>
                    </a:cubicBezTo>
                    <a:cubicBezTo>
                      <a:pt x="2446324" y="1620941"/>
                      <a:pt x="2439100" y="1646224"/>
                      <a:pt x="2437036" y="1673055"/>
                    </a:cubicBezTo>
                    <a:cubicBezTo>
                      <a:pt x="2435488" y="1690082"/>
                      <a:pt x="2442712" y="1701434"/>
                      <a:pt x="2457159" y="1710205"/>
                    </a:cubicBezTo>
                    <a:cubicBezTo>
                      <a:pt x="2493278" y="1732392"/>
                      <a:pt x="2528880" y="1754579"/>
                      <a:pt x="2564483" y="1777282"/>
                    </a:cubicBezTo>
                    <a:cubicBezTo>
                      <a:pt x="2596989" y="1797405"/>
                      <a:pt x="2601117" y="1809789"/>
                      <a:pt x="2588733" y="1845907"/>
                    </a:cubicBezTo>
                    <a:cubicBezTo>
                      <a:pt x="2584606" y="1858291"/>
                      <a:pt x="2578930" y="1870158"/>
                      <a:pt x="2571706" y="1880994"/>
                    </a:cubicBezTo>
                    <a:cubicBezTo>
                      <a:pt x="2564998" y="1890797"/>
                      <a:pt x="2554163" y="1897505"/>
                      <a:pt x="2538684" y="1897505"/>
                    </a:cubicBezTo>
                    <a:close/>
                    <a:moveTo>
                      <a:pt x="1338521" y="2312867"/>
                    </a:moveTo>
                    <a:cubicBezTo>
                      <a:pt x="1869461" y="2314931"/>
                      <a:pt x="2317329" y="1887701"/>
                      <a:pt x="2316814" y="1335605"/>
                    </a:cubicBezTo>
                    <a:cubicBezTo>
                      <a:pt x="2316298" y="792797"/>
                      <a:pt x="1880813" y="359892"/>
                      <a:pt x="1340068" y="359376"/>
                    </a:cubicBezTo>
                    <a:cubicBezTo>
                      <a:pt x="796228" y="358860"/>
                      <a:pt x="363839" y="794861"/>
                      <a:pt x="361775" y="1331994"/>
                    </a:cubicBezTo>
                    <a:cubicBezTo>
                      <a:pt x="359711" y="1882026"/>
                      <a:pt x="806032" y="2314415"/>
                      <a:pt x="1338521" y="2312867"/>
                    </a:cubicBezTo>
                    <a:close/>
                  </a:path>
                </a:pathLst>
              </a:custGeom>
              <a:grpFill/>
              <a:ln w="51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FE31230A-3F00-4E5D-AB2B-619EA30B194D}"/>
                  </a:ext>
                </a:extLst>
              </p:cNvPr>
              <p:cNvSpPr/>
              <p:nvPr/>
            </p:nvSpPr>
            <p:spPr>
              <a:xfrm>
                <a:off x="7558586" y="2011427"/>
                <a:ext cx="1898797" cy="1893637"/>
              </a:xfrm>
              <a:custGeom>
                <a:avLst/>
                <a:gdLst>
                  <a:gd name="connsiteX0" fmla="*/ 30 w 1898796"/>
                  <a:gd name="connsiteY0" fmla="*/ 947852 h 1893636"/>
                  <a:gd name="connsiteX1" fmla="*/ 950461 w 1898796"/>
                  <a:gd name="connsiteY1" fmla="*/ 2 h 1893636"/>
                  <a:gd name="connsiteX2" fmla="*/ 1898827 w 1898796"/>
                  <a:gd name="connsiteY2" fmla="*/ 950948 h 1893636"/>
                  <a:gd name="connsiteX3" fmla="*/ 946849 w 1898796"/>
                  <a:gd name="connsiteY3" fmla="*/ 1898283 h 1893636"/>
                  <a:gd name="connsiteX4" fmla="*/ 30 w 1898796"/>
                  <a:gd name="connsiteY4" fmla="*/ 947852 h 1893636"/>
                  <a:gd name="connsiteX5" fmla="*/ 1187811 w 1898796"/>
                  <a:gd name="connsiteY5" fmla="*/ 949916 h 1893636"/>
                  <a:gd name="connsiteX6" fmla="*/ 949429 w 1898796"/>
                  <a:gd name="connsiteY6" fmla="*/ 710503 h 1893636"/>
                  <a:gd name="connsiteX7" fmla="*/ 710532 w 1898796"/>
                  <a:gd name="connsiteY7" fmla="*/ 948368 h 1893636"/>
                  <a:gd name="connsiteX8" fmla="*/ 948397 w 1898796"/>
                  <a:gd name="connsiteY8" fmla="*/ 1188298 h 1893636"/>
                  <a:gd name="connsiteX9" fmla="*/ 1187811 w 1898796"/>
                  <a:gd name="connsiteY9" fmla="*/ 949916 h 1893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898796" h="1893636">
                    <a:moveTo>
                      <a:pt x="30" y="947852"/>
                    </a:moveTo>
                    <a:cubicBezTo>
                      <a:pt x="-3065" y="428263"/>
                      <a:pt x="426228" y="-1030"/>
                      <a:pt x="950461" y="2"/>
                    </a:cubicBezTo>
                    <a:cubicBezTo>
                      <a:pt x="1472114" y="1034"/>
                      <a:pt x="1899859" y="427747"/>
                      <a:pt x="1898827" y="950948"/>
                    </a:cubicBezTo>
                    <a:cubicBezTo>
                      <a:pt x="1897795" y="1468473"/>
                      <a:pt x="1477790" y="1899315"/>
                      <a:pt x="946849" y="1898283"/>
                    </a:cubicBezTo>
                    <a:cubicBezTo>
                      <a:pt x="411781" y="1896735"/>
                      <a:pt x="-4097" y="1460218"/>
                      <a:pt x="30" y="947852"/>
                    </a:cubicBezTo>
                    <a:close/>
                    <a:moveTo>
                      <a:pt x="1187811" y="949916"/>
                    </a:moveTo>
                    <a:cubicBezTo>
                      <a:pt x="1188327" y="817310"/>
                      <a:pt x="1084099" y="710503"/>
                      <a:pt x="949429" y="710503"/>
                    </a:cubicBezTo>
                    <a:cubicBezTo>
                      <a:pt x="805987" y="710503"/>
                      <a:pt x="710015" y="828146"/>
                      <a:pt x="710532" y="948368"/>
                    </a:cubicBezTo>
                    <a:cubicBezTo>
                      <a:pt x="711048" y="1081490"/>
                      <a:pt x="815791" y="1188298"/>
                      <a:pt x="948397" y="1188298"/>
                    </a:cubicBezTo>
                    <a:cubicBezTo>
                      <a:pt x="1081003" y="1188298"/>
                      <a:pt x="1187294" y="1083038"/>
                      <a:pt x="1187811" y="949916"/>
                    </a:cubicBezTo>
                    <a:close/>
                  </a:path>
                </a:pathLst>
              </a:custGeom>
              <a:grpFill/>
              <a:ln w="51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BED5CE5D-67E4-403F-B3DA-7E99871E9C8C}"/>
              </a:ext>
            </a:extLst>
          </p:cNvPr>
          <p:cNvSpPr/>
          <p:nvPr userDrawn="1"/>
        </p:nvSpPr>
        <p:spPr>
          <a:xfrm>
            <a:off x="529815" y="248541"/>
            <a:ext cx="577306" cy="577307"/>
          </a:xfrm>
          <a:custGeom>
            <a:avLst/>
            <a:gdLst>
              <a:gd name="connsiteX0" fmla="*/ 686157 w 1243505"/>
              <a:gd name="connsiteY0" fmla="*/ 1016068 h 1243505"/>
              <a:gd name="connsiteX1" fmla="*/ 560258 w 1243505"/>
              <a:gd name="connsiteY1" fmla="*/ 1016068 h 1243505"/>
              <a:gd name="connsiteX2" fmla="*/ 545811 w 1243505"/>
              <a:gd name="connsiteY2" fmla="*/ 1026903 h 1243505"/>
              <a:gd name="connsiteX3" fmla="*/ 533944 w 1243505"/>
              <a:gd name="connsiteY3" fmla="*/ 1088821 h 1243505"/>
              <a:gd name="connsiteX4" fmla="*/ 505565 w 1243505"/>
              <a:gd name="connsiteY4" fmla="*/ 1169829 h 1243505"/>
              <a:gd name="connsiteX5" fmla="*/ 469447 w 1243505"/>
              <a:gd name="connsiteY5" fmla="*/ 1240002 h 1243505"/>
              <a:gd name="connsiteX6" fmla="*/ 452935 w 1243505"/>
              <a:gd name="connsiteY6" fmla="*/ 1246710 h 1243505"/>
              <a:gd name="connsiteX7" fmla="*/ 305366 w 1243505"/>
              <a:gd name="connsiteY7" fmla="*/ 1185824 h 1243505"/>
              <a:gd name="connsiteX8" fmla="*/ 298142 w 1243505"/>
              <a:gd name="connsiteY8" fmla="*/ 1168281 h 1243505"/>
              <a:gd name="connsiteX9" fmla="*/ 333744 w 1243505"/>
              <a:gd name="connsiteY9" fmla="*/ 1059410 h 1243505"/>
              <a:gd name="connsiteX10" fmla="*/ 342000 w 1243505"/>
              <a:gd name="connsiteY10" fmla="*/ 1043415 h 1243505"/>
              <a:gd name="connsiteX11" fmla="*/ 395662 w 1243505"/>
              <a:gd name="connsiteY11" fmla="*/ 962922 h 1243505"/>
              <a:gd name="connsiteX12" fmla="*/ 393598 w 1243505"/>
              <a:gd name="connsiteY12" fmla="*/ 947959 h 1243505"/>
              <a:gd name="connsiteX13" fmla="*/ 299174 w 1243505"/>
              <a:gd name="connsiteY13" fmla="*/ 853535 h 1243505"/>
              <a:gd name="connsiteX14" fmla="*/ 285243 w 1243505"/>
              <a:gd name="connsiteY14" fmla="*/ 851471 h 1243505"/>
              <a:gd name="connsiteX15" fmla="*/ 230549 w 1243505"/>
              <a:gd name="connsiteY15" fmla="*/ 888106 h 1243505"/>
              <a:gd name="connsiteX16" fmla="*/ 148509 w 1243505"/>
              <a:gd name="connsiteY16" fmla="*/ 926804 h 1243505"/>
              <a:gd name="connsiteX17" fmla="*/ 78852 w 1243505"/>
              <a:gd name="connsiteY17" fmla="*/ 949507 h 1243505"/>
              <a:gd name="connsiteX18" fmla="*/ 62340 w 1243505"/>
              <a:gd name="connsiteY18" fmla="*/ 942799 h 1243505"/>
              <a:gd name="connsiteX19" fmla="*/ 939 w 1243505"/>
              <a:gd name="connsiteY19" fmla="*/ 794198 h 1243505"/>
              <a:gd name="connsiteX20" fmla="*/ 7131 w 1243505"/>
              <a:gd name="connsiteY20" fmla="*/ 778718 h 1243505"/>
              <a:gd name="connsiteX21" fmla="*/ 114454 w 1243505"/>
              <a:gd name="connsiteY21" fmla="*/ 725056 h 1243505"/>
              <a:gd name="connsiteX22" fmla="*/ 189787 w 1243505"/>
              <a:gd name="connsiteY22" fmla="*/ 708545 h 1243505"/>
              <a:gd name="connsiteX23" fmla="*/ 221261 w 1243505"/>
              <a:gd name="connsiteY23" fmla="*/ 702354 h 1243505"/>
              <a:gd name="connsiteX24" fmla="*/ 231581 w 1243505"/>
              <a:gd name="connsiteY24" fmla="*/ 688938 h 1243505"/>
              <a:gd name="connsiteX25" fmla="*/ 225905 w 1243505"/>
              <a:gd name="connsiteY25" fmla="*/ 631149 h 1243505"/>
              <a:gd name="connsiteX26" fmla="*/ 231581 w 1243505"/>
              <a:gd name="connsiteY26" fmla="*/ 559428 h 1243505"/>
              <a:gd name="connsiteX27" fmla="*/ 220745 w 1243505"/>
              <a:gd name="connsiteY27" fmla="*/ 544980 h 1243505"/>
              <a:gd name="connsiteX28" fmla="*/ 172760 w 1243505"/>
              <a:gd name="connsiteY28" fmla="*/ 535693 h 1243505"/>
              <a:gd name="connsiteX29" fmla="*/ 27770 w 1243505"/>
              <a:gd name="connsiteY29" fmla="*/ 478419 h 1243505"/>
              <a:gd name="connsiteX30" fmla="*/ 8163 w 1243505"/>
              <a:gd name="connsiteY30" fmla="*/ 431465 h 1243505"/>
              <a:gd name="connsiteX31" fmla="*/ 62340 w 1243505"/>
              <a:gd name="connsiteY31" fmla="*/ 305051 h 1243505"/>
              <a:gd name="connsiteX32" fmla="*/ 79884 w 1243505"/>
              <a:gd name="connsiteY32" fmla="*/ 297827 h 1243505"/>
              <a:gd name="connsiteX33" fmla="*/ 188755 w 1243505"/>
              <a:gd name="connsiteY33" fmla="*/ 333430 h 1243505"/>
              <a:gd name="connsiteX34" fmla="*/ 204750 w 1243505"/>
              <a:gd name="connsiteY34" fmla="*/ 341685 h 1243505"/>
              <a:gd name="connsiteX35" fmla="*/ 285243 w 1243505"/>
              <a:gd name="connsiteY35" fmla="*/ 395347 h 1243505"/>
              <a:gd name="connsiteX36" fmla="*/ 300206 w 1243505"/>
              <a:gd name="connsiteY36" fmla="*/ 393283 h 1243505"/>
              <a:gd name="connsiteX37" fmla="*/ 393598 w 1243505"/>
              <a:gd name="connsiteY37" fmla="*/ 299891 h 1243505"/>
              <a:gd name="connsiteX38" fmla="*/ 395662 w 1243505"/>
              <a:gd name="connsiteY38" fmla="*/ 283896 h 1243505"/>
              <a:gd name="connsiteX39" fmla="*/ 353352 w 1243505"/>
              <a:gd name="connsiteY39" fmla="*/ 220947 h 1243505"/>
              <a:gd name="connsiteX40" fmla="*/ 325489 w 1243505"/>
              <a:gd name="connsiteY40" fmla="*/ 162125 h 1243505"/>
              <a:gd name="connsiteX41" fmla="*/ 299690 w 1243505"/>
              <a:gd name="connsiteY41" fmla="*/ 82665 h 1243505"/>
              <a:gd name="connsiteX42" fmla="*/ 307946 w 1243505"/>
              <a:gd name="connsiteY42" fmla="*/ 61510 h 1243505"/>
              <a:gd name="connsiteX43" fmla="*/ 451903 w 1243505"/>
              <a:gd name="connsiteY43" fmla="*/ 2172 h 1243505"/>
              <a:gd name="connsiteX44" fmla="*/ 470478 w 1243505"/>
              <a:gd name="connsiteY44" fmla="*/ 9396 h 1243505"/>
              <a:gd name="connsiteX45" fmla="*/ 522076 w 1243505"/>
              <a:gd name="connsiteY45" fmla="*/ 111559 h 1243505"/>
              <a:gd name="connsiteX46" fmla="*/ 537555 w 1243505"/>
              <a:gd name="connsiteY46" fmla="*/ 177605 h 1243505"/>
              <a:gd name="connsiteX47" fmla="*/ 546843 w 1243505"/>
              <a:gd name="connsiteY47" fmla="*/ 223011 h 1243505"/>
              <a:gd name="connsiteX48" fmla="*/ 559227 w 1243505"/>
              <a:gd name="connsiteY48" fmla="*/ 231782 h 1243505"/>
              <a:gd name="connsiteX49" fmla="*/ 688737 w 1243505"/>
              <a:gd name="connsiteY49" fmla="*/ 231782 h 1243505"/>
              <a:gd name="connsiteX50" fmla="*/ 704216 w 1243505"/>
              <a:gd name="connsiteY50" fmla="*/ 220431 h 1243505"/>
              <a:gd name="connsiteX51" fmla="*/ 716600 w 1243505"/>
              <a:gd name="connsiteY51" fmla="*/ 156966 h 1243505"/>
              <a:gd name="connsiteX52" fmla="*/ 743430 w 1243505"/>
              <a:gd name="connsiteY52" fmla="*/ 79569 h 1243505"/>
              <a:gd name="connsiteX53" fmla="*/ 780065 w 1243505"/>
              <a:gd name="connsiteY53" fmla="*/ 8364 h 1243505"/>
              <a:gd name="connsiteX54" fmla="*/ 797092 w 1243505"/>
              <a:gd name="connsiteY54" fmla="*/ 1140 h 1243505"/>
              <a:gd name="connsiteX55" fmla="*/ 944146 w 1243505"/>
              <a:gd name="connsiteY55" fmla="*/ 62542 h 1243505"/>
              <a:gd name="connsiteX56" fmla="*/ 950853 w 1243505"/>
              <a:gd name="connsiteY56" fmla="*/ 79053 h 1243505"/>
              <a:gd name="connsiteX57" fmla="*/ 914735 w 1243505"/>
              <a:gd name="connsiteY57" fmla="*/ 189472 h 1243505"/>
              <a:gd name="connsiteX58" fmla="*/ 906479 w 1243505"/>
              <a:gd name="connsiteY58" fmla="*/ 205467 h 1243505"/>
              <a:gd name="connsiteX59" fmla="*/ 853334 w 1243505"/>
              <a:gd name="connsiteY59" fmla="*/ 284928 h 1243505"/>
              <a:gd name="connsiteX60" fmla="*/ 855398 w 1243505"/>
              <a:gd name="connsiteY60" fmla="*/ 300923 h 1243505"/>
              <a:gd name="connsiteX61" fmla="*/ 948789 w 1243505"/>
              <a:gd name="connsiteY61" fmla="*/ 394315 h 1243505"/>
              <a:gd name="connsiteX62" fmla="*/ 963753 w 1243505"/>
              <a:gd name="connsiteY62" fmla="*/ 396379 h 1243505"/>
              <a:gd name="connsiteX63" fmla="*/ 1015866 w 1243505"/>
              <a:gd name="connsiteY63" fmla="*/ 360777 h 1243505"/>
              <a:gd name="connsiteX64" fmla="*/ 1099971 w 1243505"/>
              <a:gd name="connsiteY64" fmla="*/ 320530 h 1243505"/>
              <a:gd name="connsiteX65" fmla="*/ 1168596 w 1243505"/>
              <a:gd name="connsiteY65" fmla="*/ 298343 h 1243505"/>
              <a:gd name="connsiteX66" fmla="*/ 1186139 w 1243505"/>
              <a:gd name="connsiteY66" fmla="*/ 305567 h 1243505"/>
              <a:gd name="connsiteX67" fmla="*/ 1247024 w 1243505"/>
              <a:gd name="connsiteY67" fmla="*/ 453136 h 1243505"/>
              <a:gd name="connsiteX68" fmla="*/ 1240317 w 1243505"/>
              <a:gd name="connsiteY68" fmla="*/ 469648 h 1243505"/>
              <a:gd name="connsiteX69" fmla="*/ 1135573 w 1243505"/>
              <a:gd name="connsiteY69" fmla="*/ 522277 h 1243505"/>
              <a:gd name="connsiteX70" fmla="*/ 1059209 w 1243505"/>
              <a:gd name="connsiteY70" fmla="*/ 539821 h 1243505"/>
              <a:gd name="connsiteX71" fmla="*/ 1040117 w 1243505"/>
              <a:gd name="connsiteY71" fmla="*/ 543433 h 1243505"/>
              <a:gd name="connsiteX72" fmla="*/ 1017930 w 1243505"/>
              <a:gd name="connsiteY72" fmla="*/ 572843 h 1243505"/>
              <a:gd name="connsiteX73" fmla="*/ 1016383 w 1243505"/>
              <a:gd name="connsiteY73" fmla="*/ 688422 h 1243505"/>
              <a:gd name="connsiteX74" fmla="*/ 1028250 w 1243505"/>
              <a:gd name="connsiteY74" fmla="*/ 703386 h 1243505"/>
              <a:gd name="connsiteX75" fmla="*/ 1118030 w 1243505"/>
              <a:gd name="connsiteY75" fmla="*/ 720929 h 1243505"/>
              <a:gd name="connsiteX76" fmla="*/ 1142281 w 1243505"/>
              <a:gd name="connsiteY76" fmla="*/ 729184 h 1243505"/>
              <a:gd name="connsiteX77" fmla="*/ 1237737 w 1243505"/>
              <a:gd name="connsiteY77" fmla="*/ 777686 h 1243505"/>
              <a:gd name="connsiteX78" fmla="*/ 1246508 w 1243505"/>
              <a:gd name="connsiteY78" fmla="*/ 797809 h 1243505"/>
              <a:gd name="connsiteX79" fmla="*/ 1186655 w 1243505"/>
              <a:gd name="connsiteY79" fmla="*/ 941767 h 1243505"/>
              <a:gd name="connsiteX80" fmla="*/ 1167564 w 1243505"/>
              <a:gd name="connsiteY80" fmla="*/ 950023 h 1243505"/>
              <a:gd name="connsiteX81" fmla="*/ 1062304 w 1243505"/>
              <a:gd name="connsiteY81" fmla="*/ 915452 h 1243505"/>
              <a:gd name="connsiteX82" fmla="*/ 1042697 w 1243505"/>
              <a:gd name="connsiteY82" fmla="*/ 905649 h 1243505"/>
              <a:gd name="connsiteX83" fmla="*/ 963237 w 1243505"/>
              <a:gd name="connsiteY83" fmla="*/ 852503 h 1243505"/>
              <a:gd name="connsiteX84" fmla="*/ 947241 w 1243505"/>
              <a:gd name="connsiteY84" fmla="*/ 855083 h 1243505"/>
              <a:gd name="connsiteX85" fmla="*/ 855914 w 1243505"/>
              <a:gd name="connsiteY85" fmla="*/ 946927 h 1243505"/>
              <a:gd name="connsiteX86" fmla="*/ 853850 w 1243505"/>
              <a:gd name="connsiteY86" fmla="*/ 966018 h 1243505"/>
              <a:gd name="connsiteX87" fmla="*/ 890484 w 1243505"/>
              <a:gd name="connsiteY87" fmla="*/ 1020711 h 1243505"/>
              <a:gd name="connsiteX88" fmla="*/ 925054 w 1243505"/>
              <a:gd name="connsiteY88" fmla="*/ 1093464 h 1243505"/>
              <a:gd name="connsiteX89" fmla="*/ 949821 w 1243505"/>
              <a:gd name="connsiteY89" fmla="*/ 1169313 h 1243505"/>
              <a:gd name="connsiteX90" fmla="*/ 943114 w 1243505"/>
              <a:gd name="connsiteY90" fmla="*/ 1185824 h 1243505"/>
              <a:gd name="connsiteX91" fmla="*/ 794512 w 1243505"/>
              <a:gd name="connsiteY91" fmla="*/ 1247226 h 1243505"/>
              <a:gd name="connsiteX92" fmla="*/ 779033 w 1243505"/>
              <a:gd name="connsiteY92" fmla="*/ 1241034 h 1243505"/>
              <a:gd name="connsiteX93" fmla="*/ 724855 w 1243505"/>
              <a:gd name="connsiteY93" fmla="*/ 1134226 h 1243505"/>
              <a:gd name="connsiteX94" fmla="*/ 718148 w 1243505"/>
              <a:gd name="connsiteY94" fmla="*/ 1105332 h 1243505"/>
              <a:gd name="connsiteX95" fmla="*/ 703184 w 1243505"/>
              <a:gd name="connsiteY95" fmla="*/ 1031031 h 1243505"/>
              <a:gd name="connsiteX96" fmla="*/ 686157 w 1243505"/>
              <a:gd name="connsiteY96" fmla="*/ 1016068 h 1243505"/>
              <a:gd name="connsiteX97" fmla="*/ 624240 w 1243505"/>
              <a:gd name="connsiteY97" fmla="*/ 791102 h 1243505"/>
              <a:gd name="connsiteX98" fmla="*/ 790900 w 1243505"/>
              <a:gd name="connsiteY98" fmla="*/ 623925 h 1243505"/>
              <a:gd name="connsiteX99" fmla="*/ 624240 w 1243505"/>
              <a:gd name="connsiteY99" fmla="*/ 458296 h 1243505"/>
              <a:gd name="connsiteX100" fmla="*/ 458095 w 1243505"/>
              <a:gd name="connsiteY100" fmla="*/ 624441 h 1243505"/>
              <a:gd name="connsiteX101" fmla="*/ 624240 w 1243505"/>
              <a:gd name="connsiteY101" fmla="*/ 791102 h 1243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</a:cxnLst>
            <a:rect l="l" t="t" r="r" b="b"/>
            <a:pathLst>
              <a:path w="1243505" h="1243505">
                <a:moveTo>
                  <a:pt x="686157" y="1016068"/>
                </a:moveTo>
                <a:cubicBezTo>
                  <a:pt x="644363" y="1024840"/>
                  <a:pt x="602053" y="1021743"/>
                  <a:pt x="560258" y="1016068"/>
                </a:cubicBezTo>
                <a:cubicBezTo>
                  <a:pt x="550455" y="1015036"/>
                  <a:pt x="547359" y="1018132"/>
                  <a:pt x="545811" y="1026903"/>
                </a:cubicBezTo>
                <a:cubicBezTo>
                  <a:pt x="542199" y="1047542"/>
                  <a:pt x="537039" y="1068181"/>
                  <a:pt x="533944" y="1088821"/>
                </a:cubicBezTo>
                <a:cubicBezTo>
                  <a:pt x="529816" y="1117715"/>
                  <a:pt x="519496" y="1144030"/>
                  <a:pt x="505565" y="1169829"/>
                </a:cubicBezTo>
                <a:cubicBezTo>
                  <a:pt x="492666" y="1192532"/>
                  <a:pt x="481314" y="1216267"/>
                  <a:pt x="469447" y="1240002"/>
                </a:cubicBezTo>
                <a:cubicBezTo>
                  <a:pt x="465835" y="1247741"/>
                  <a:pt x="461191" y="1249290"/>
                  <a:pt x="452935" y="1246710"/>
                </a:cubicBezTo>
                <a:cubicBezTo>
                  <a:pt x="401853" y="1231230"/>
                  <a:pt x="352836" y="1211107"/>
                  <a:pt x="305366" y="1185824"/>
                </a:cubicBezTo>
                <a:cubicBezTo>
                  <a:pt x="297110" y="1181696"/>
                  <a:pt x="295562" y="1177053"/>
                  <a:pt x="298142" y="1168281"/>
                </a:cubicBezTo>
                <a:cubicBezTo>
                  <a:pt x="310525" y="1132163"/>
                  <a:pt x="321877" y="1095528"/>
                  <a:pt x="333744" y="1059410"/>
                </a:cubicBezTo>
                <a:cubicBezTo>
                  <a:pt x="335808" y="1053734"/>
                  <a:pt x="338904" y="1048574"/>
                  <a:pt x="342000" y="1043415"/>
                </a:cubicBezTo>
                <a:cubicBezTo>
                  <a:pt x="360059" y="1016584"/>
                  <a:pt x="377602" y="989753"/>
                  <a:pt x="395662" y="962922"/>
                </a:cubicBezTo>
                <a:cubicBezTo>
                  <a:pt x="399790" y="956730"/>
                  <a:pt x="399790" y="952603"/>
                  <a:pt x="393598" y="947959"/>
                </a:cubicBezTo>
                <a:cubicBezTo>
                  <a:pt x="356963" y="921644"/>
                  <a:pt x="326005" y="889653"/>
                  <a:pt x="299174" y="853535"/>
                </a:cubicBezTo>
                <a:cubicBezTo>
                  <a:pt x="295046" y="847859"/>
                  <a:pt x="290918" y="847859"/>
                  <a:pt x="285243" y="851471"/>
                </a:cubicBezTo>
                <a:cubicBezTo>
                  <a:pt x="267183" y="863855"/>
                  <a:pt x="248092" y="875206"/>
                  <a:pt x="230549" y="888106"/>
                </a:cubicBezTo>
                <a:cubicBezTo>
                  <a:pt x="205782" y="906681"/>
                  <a:pt x="178435" y="918548"/>
                  <a:pt x="148509" y="926804"/>
                </a:cubicBezTo>
                <a:cubicBezTo>
                  <a:pt x="124774" y="933511"/>
                  <a:pt x="101555" y="941767"/>
                  <a:pt x="78852" y="949507"/>
                </a:cubicBezTo>
                <a:cubicBezTo>
                  <a:pt x="71112" y="952087"/>
                  <a:pt x="66468" y="950539"/>
                  <a:pt x="62340" y="942799"/>
                </a:cubicBezTo>
                <a:cubicBezTo>
                  <a:pt x="36541" y="895329"/>
                  <a:pt x="15902" y="845795"/>
                  <a:pt x="939" y="794198"/>
                </a:cubicBezTo>
                <a:cubicBezTo>
                  <a:pt x="-1125" y="786458"/>
                  <a:pt x="-93" y="782330"/>
                  <a:pt x="7131" y="778718"/>
                </a:cubicBezTo>
                <a:cubicBezTo>
                  <a:pt x="42733" y="760659"/>
                  <a:pt x="77820" y="741052"/>
                  <a:pt x="114454" y="725056"/>
                </a:cubicBezTo>
                <a:cubicBezTo>
                  <a:pt x="137673" y="714737"/>
                  <a:pt x="164504" y="714221"/>
                  <a:pt x="189787" y="708545"/>
                </a:cubicBezTo>
                <a:cubicBezTo>
                  <a:pt x="200106" y="705965"/>
                  <a:pt x="210942" y="704417"/>
                  <a:pt x="221261" y="702354"/>
                </a:cubicBezTo>
                <a:cubicBezTo>
                  <a:pt x="229001" y="700806"/>
                  <a:pt x="233129" y="698226"/>
                  <a:pt x="231581" y="688938"/>
                </a:cubicBezTo>
                <a:cubicBezTo>
                  <a:pt x="229001" y="669847"/>
                  <a:pt x="226937" y="650756"/>
                  <a:pt x="225905" y="631149"/>
                </a:cubicBezTo>
                <a:cubicBezTo>
                  <a:pt x="224873" y="606898"/>
                  <a:pt x="229517" y="583163"/>
                  <a:pt x="231581" y="559428"/>
                </a:cubicBezTo>
                <a:cubicBezTo>
                  <a:pt x="232613" y="549624"/>
                  <a:pt x="229001" y="546528"/>
                  <a:pt x="220745" y="544980"/>
                </a:cubicBezTo>
                <a:cubicBezTo>
                  <a:pt x="204750" y="542401"/>
                  <a:pt x="188755" y="537757"/>
                  <a:pt x="172760" y="535693"/>
                </a:cubicBezTo>
                <a:cubicBezTo>
                  <a:pt x="118582" y="530533"/>
                  <a:pt x="74208" y="502154"/>
                  <a:pt x="27770" y="478419"/>
                </a:cubicBezTo>
                <a:cubicBezTo>
                  <a:pt x="-2157" y="463456"/>
                  <a:pt x="-1125" y="463456"/>
                  <a:pt x="8163" y="431465"/>
                </a:cubicBezTo>
                <a:cubicBezTo>
                  <a:pt x="21062" y="387091"/>
                  <a:pt x="41701" y="345813"/>
                  <a:pt x="62340" y="305051"/>
                </a:cubicBezTo>
                <a:cubicBezTo>
                  <a:pt x="66468" y="296795"/>
                  <a:pt x="71112" y="295247"/>
                  <a:pt x="79884" y="297827"/>
                </a:cubicBezTo>
                <a:cubicBezTo>
                  <a:pt x="116002" y="310211"/>
                  <a:pt x="152636" y="321562"/>
                  <a:pt x="188755" y="333430"/>
                </a:cubicBezTo>
                <a:cubicBezTo>
                  <a:pt x="194430" y="335494"/>
                  <a:pt x="199590" y="338589"/>
                  <a:pt x="204750" y="341685"/>
                </a:cubicBezTo>
                <a:cubicBezTo>
                  <a:pt x="231581" y="359745"/>
                  <a:pt x="258412" y="377288"/>
                  <a:pt x="285243" y="395347"/>
                </a:cubicBezTo>
                <a:cubicBezTo>
                  <a:pt x="291434" y="399475"/>
                  <a:pt x="295562" y="399475"/>
                  <a:pt x="300206" y="393283"/>
                </a:cubicBezTo>
                <a:cubicBezTo>
                  <a:pt x="326521" y="357165"/>
                  <a:pt x="357479" y="326206"/>
                  <a:pt x="393598" y="299891"/>
                </a:cubicBezTo>
                <a:cubicBezTo>
                  <a:pt x="400305" y="294731"/>
                  <a:pt x="399790" y="290604"/>
                  <a:pt x="395662" y="283896"/>
                </a:cubicBezTo>
                <a:cubicBezTo>
                  <a:pt x="381214" y="263257"/>
                  <a:pt x="367799" y="241586"/>
                  <a:pt x="353352" y="220947"/>
                </a:cubicBezTo>
                <a:cubicBezTo>
                  <a:pt x="340452" y="202887"/>
                  <a:pt x="331681" y="183280"/>
                  <a:pt x="325489" y="162125"/>
                </a:cubicBezTo>
                <a:cubicBezTo>
                  <a:pt x="317749" y="135294"/>
                  <a:pt x="308978" y="108980"/>
                  <a:pt x="299690" y="82665"/>
                </a:cubicBezTo>
                <a:cubicBezTo>
                  <a:pt x="296078" y="72345"/>
                  <a:pt x="297626" y="66669"/>
                  <a:pt x="307946" y="61510"/>
                </a:cubicBezTo>
                <a:cubicBezTo>
                  <a:pt x="353867" y="37259"/>
                  <a:pt x="401853" y="17136"/>
                  <a:pt x="451903" y="2172"/>
                </a:cubicBezTo>
                <a:cubicBezTo>
                  <a:pt x="461191" y="-408"/>
                  <a:pt x="465835" y="624"/>
                  <a:pt x="470478" y="9396"/>
                </a:cubicBezTo>
                <a:cubicBezTo>
                  <a:pt x="487506" y="43451"/>
                  <a:pt x="505565" y="77505"/>
                  <a:pt x="522076" y="111559"/>
                </a:cubicBezTo>
                <a:cubicBezTo>
                  <a:pt x="531880" y="132199"/>
                  <a:pt x="532396" y="155934"/>
                  <a:pt x="537555" y="177605"/>
                </a:cubicBezTo>
                <a:cubicBezTo>
                  <a:pt x="541167" y="192568"/>
                  <a:pt x="543747" y="208047"/>
                  <a:pt x="546843" y="223011"/>
                </a:cubicBezTo>
                <a:cubicBezTo>
                  <a:pt x="548391" y="230234"/>
                  <a:pt x="550971" y="232814"/>
                  <a:pt x="559227" y="231782"/>
                </a:cubicBezTo>
                <a:cubicBezTo>
                  <a:pt x="602569" y="225590"/>
                  <a:pt x="645395" y="225074"/>
                  <a:pt x="688737" y="231782"/>
                </a:cubicBezTo>
                <a:cubicBezTo>
                  <a:pt x="699056" y="233330"/>
                  <a:pt x="702152" y="229718"/>
                  <a:pt x="704216" y="220431"/>
                </a:cubicBezTo>
                <a:cubicBezTo>
                  <a:pt x="707828" y="199276"/>
                  <a:pt x="713504" y="178636"/>
                  <a:pt x="716600" y="156966"/>
                </a:cubicBezTo>
                <a:cubicBezTo>
                  <a:pt x="720727" y="129103"/>
                  <a:pt x="730531" y="103820"/>
                  <a:pt x="743430" y="79569"/>
                </a:cubicBezTo>
                <a:cubicBezTo>
                  <a:pt x="756330" y="56350"/>
                  <a:pt x="768197" y="32099"/>
                  <a:pt x="780065" y="8364"/>
                </a:cubicBezTo>
                <a:cubicBezTo>
                  <a:pt x="784193" y="108"/>
                  <a:pt x="788320" y="-1440"/>
                  <a:pt x="797092" y="1140"/>
                </a:cubicBezTo>
                <a:cubicBezTo>
                  <a:pt x="848174" y="16620"/>
                  <a:pt x="897192" y="36743"/>
                  <a:pt x="944146" y="62542"/>
                </a:cubicBezTo>
                <a:cubicBezTo>
                  <a:pt x="951885" y="66669"/>
                  <a:pt x="953949" y="70797"/>
                  <a:pt x="950853" y="79053"/>
                </a:cubicBezTo>
                <a:cubicBezTo>
                  <a:pt x="938470" y="115687"/>
                  <a:pt x="927118" y="152838"/>
                  <a:pt x="914735" y="189472"/>
                </a:cubicBezTo>
                <a:cubicBezTo>
                  <a:pt x="912671" y="195148"/>
                  <a:pt x="909575" y="200308"/>
                  <a:pt x="906479" y="205467"/>
                </a:cubicBezTo>
                <a:cubicBezTo>
                  <a:pt x="888936" y="231782"/>
                  <a:pt x="871393" y="258613"/>
                  <a:pt x="853334" y="284928"/>
                </a:cubicBezTo>
                <a:cubicBezTo>
                  <a:pt x="848690" y="291635"/>
                  <a:pt x="849206" y="296279"/>
                  <a:pt x="855398" y="300923"/>
                </a:cubicBezTo>
                <a:cubicBezTo>
                  <a:pt x="891516" y="327238"/>
                  <a:pt x="922475" y="358713"/>
                  <a:pt x="948789" y="394315"/>
                </a:cubicBezTo>
                <a:cubicBezTo>
                  <a:pt x="953433" y="401023"/>
                  <a:pt x="957561" y="400507"/>
                  <a:pt x="963753" y="396379"/>
                </a:cubicBezTo>
                <a:cubicBezTo>
                  <a:pt x="981296" y="384511"/>
                  <a:pt x="999355" y="373676"/>
                  <a:pt x="1015866" y="360777"/>
                </a:cubicBezTo>
                <a:cubicBezTo>
                  <a:pt x="1041149" y="341685"/>
                  <a:pt x="1069528" y="329302"/>
                  <a:pt x="1099971" y="320530"/>
                </a:cubicBezTo>
                <a:cubicBezTo>
                  <a:pt x="1123190" y="314339"/>
                  <a:pt x="1145893" y="306083"/>
                  <a:pt x="1168596" y="298343"/>
                </a:cubicBezTo>
                <a:cubicBezTo>
                  <a:pt x="1177368" y="295247"/>
                  <a:pt x="1181495" y="297311"/>
                  <a:pt x="1186139" y="305567"/>
                </a:cubicBezTo>
                <a:cubicBezTo>
                  <a:pt x="1211422" y="352521"/>
                  <a:pt x="1232061" y="401539"/>
                  <a:pt x="1247024" y="453136"/>
                </a:cubicBezTo>
                <a:cubicBezTo>
                  <a:pt x="1249604" y="461392"/>
                  <a:pt x="1247540" y="465520"/>
                  <a:pt x="1240317" y="469648"/>
                </a:cubicBezTo>
                <a:cubicBezTo>
                  <a:pt x="1205230" y="487191"/>
                  <a:pt x="1171176" y="506282"/>
                  <a:pt x="1135573" y="522277"/>
                </a:cubicBezTo>
                <a:cubicBezTo>
                  <a:pt x="1111838" y="533113"/>
                  <a:pt x="1084492" y="533629"/>
                  <a:pt x="1059209" y="539821"/>
                </a:cubicBezTo>
                <a:cubicBezTo>
                  <a:pt x="1053017" y="541369"/>
                  <a:pt x="1046309" y="542401"/>
                  <a:pt x="1040117" y="543433"/>
                </a:cubicBezTo>
                <a:cubicBezTo>
                  <a:pt x="1015866" y="548592"/>
                  <a:pt x="1014318" y="548592"/>
                  <a:pt x="1017930" y="572843"/>
                </a:cubicBezTo>
                <a:cubicBezTo>
                  <a:pt x="1024122" y="611541"/>
                  <a:pt x="1021542" y="649724"/>
                  <a:pt x="1016383" y="688422"/>
                </a:cubicBezTo>
                <a:cubicBezTo>
                  <a:pt x="1014835" y="699258"/>
                  <a:pt x="1019478" y="701837"/>
                  <a:pt x="1028250" y="703386"/>
                </a:cubicBezTo>
                <a:cubicBezTo>
                  <a:pt x="1058177" y="709061"/>
                  <a:pt x="1088103" y="715253"/>
                  <a:pt x="1118030" y="720929"/>
                </a:cubicBezTo>
                <a:cubicBezTo>
                  <a:pt x="1126802" y="722477"/>
                  <a:pt x="1134541" y="725572"/>
                  <a:pt x="1142281" y="729184"/>
                </a:cubicBezTo>
                <a:cubicBezTo>
                  <a:pt x="1173756" y="745696"/>
                  <a:pt x="1205746" y="762207"/>
                  <a:pt x="1237737" y="777686"/>
                </a:cubicBezTo>
                <a:cubicBezTo>
                  <a:pt x="1247024" y="782330"/>
                  <a:pt x="1249604" y="786974"/>
                  <a:pt x="1246508" y="797809"/>
                </a:cubicBezTo>
                <a:cubicBezTo>
                  <a:pt x="1231545" y="847859"/>
                  <a:pt x="1211422" y="895329"/>
                  <a:pt x="1186655" y="941767"/>
                </a:cubicBezTo>
                <a:cubicBezTo>
                  <a:pt x="1182011" y="950539"/>
                  <a:pt x="1177368" y="953634"/>
                  <a:pt x="1167564" y="950023"/>
                </a:cubicBezTo>
                <a:cubicBezTo>
                  <a:pt x="1132477" y="938155"/>
                  <a:pt x="1097391" y="926804"/>
                  <a:pt x="1062304" y="915452"/>
                </a:cubicBezTo>
                <a:cubicBezTo>
                  <a:pt x="1055081" y="913388"/>
                  <a:pt x="1048889" y="909776"/>
                  <a:pt x="1042697" y="905649"/>
                </a:cubicBezTo>
                <a:cubicBezTo>
                  <a:pt x="1016383" y="888106"/>
                  <a:pt x="989552" y="870562"/>
                  <a:pt x="963237" y="852503"/>
                </a:cubicBezTo>
                <a:cubicBezTo>
                  <a:pt x="956529" y="847859"/>
                  <a:pt x="952401" y="848375"/>
                  <a:pt x="947241" y="855083"/>
                </a:cubicBezTo>
                <a:cubicBezTo>
                  <a:pt x="921443" y="890169"/>
                  <a:pt x="891000" y="921128"/>
                  <a:pt x="855914" y="946927"/>
                </a:cubicBezTo>
                <a:cubicBezTo>
                  <a:pt x="847658" y="953119"/>
                  <a:pt x="848174" y="958278"/>
                  <a:pt x="853850" y="966018"/>
                </a:cubicBezTo>
                <a:cubicBezTo>
                  <a:pt x="866749" y="984077"/>
                  <a:pt x="877584" y="1002652"/>
                  <a:pt x="890484" y="1020711"/>
                </a:cubicBezTo>
                <a:cubicBezTo>
                  <a:pt x="906479" y="1042899"/>
                  <a:pt x="917831" y="1067149"/>
                  <a:pt x="925054" y="1093464"/>
                </a:cubicBezTo>
                <a:cubicBezTo>
                  <a:pt x="932278" y="1119263"/>
                  <a:pt x="941050" y="1144030"/>
                  <a:pt x="949821" y="1169313"/>
                </a:cubicBezTo>
                <a:cubicBezTo>
                  <a:pt x="952401" y="1177053"/>
                  <a:pt x="950853" y="1181696"/>
                  <a:pt x="943114" y="1185824"/>
                </a:cubicBezTo>
                <a:cubicBezTo>
                  <a:pt x="895644" y="1211623"/>
                  <a:pt x="846110" y="1232262"/>
                  <a:pt x="794512" y="1247226"/>
                </a:cubicBezTo>
                <a:cubicBezTo>
                  <a:pt x="786773" y="1249290"/>
                  <a:pt x="782645" y="1248258"/>
                  <a:pt x="779033" y="1241034"/>
                </a:cubicBezTo>
                <a:cubicBezTo>
                  <a:pt x="760974" y="1205432"/>
                  <a:pt x="742399" y="1169829"/>
                  <a:pt x="724855" y="1134226"/>
                </a:cubicBezTo>
                <a:cubicBezTo>
                  <a:pt x="720211" y="1125455"/>
                  <a:pt x="720211" y="1115136"/>
                  <a:pt x="718148" y="1105332"/>
                </a:cubicBezTo>
                <a:cubicBezTo>
                  <a:pt x="712988" y="1080565"/>
                  <a:pt x="708344" y="1055798"/>
                  <a:pt x="703184" y="1031031"/>
                </a:cubicBezTo>
                <a:cubicBezTo>
                  <a:pt x="700604" y="1015552"/>
                  <a:pt x="701120" y="1015552"/>
                  <a:pt x="686157" y="1016068"/>
                </a:cubicBezTo>
                <a:close/>
                <a:moveTo>
                  <a:pt x="624240" y="791102"/>
                </a:moveTo>
                <a:cubicBezTo>
                  <a:pt x="720211" y="788522"/>
                  <a:pt x="791416" y="716801"/>
                  <a:pt x="790900" y="623925"/>
                </a:cubicBezTo>
                <a:cubicBezTo>
                  <a:pt x="790384" y="528985"/>
                  <a:pt x="717632" y="457780"/>
                  <a:pt x="624240" y="458296"/>
                </a:cubicBezTo>
                <a:cubicBezTo>
                  <a:pt x="530332" y="458296"/>
                  <a:pt x="458095" y="530533"/>
                  <a:pt x="458095" y="624441"/>
                </a:cubicBezTo>
                <a:cubicBezTo>
                  <a:pt x="458095" y="718349"/>
                  <a:pt x="530848" y="788522"/>
                  <a:pt x="624240" y="791102"/>
                </a:cubicBezTo>
                <a:close/>
              </a:path>
            </a:pathLst>
          </a:custGeom>
          <a:solidFill>
            <a:schemeClr val="bg1">
              <a:alpha val="5000"/>
            </a:schemeClr>
          </a:solidFill>
          <a:ln w="51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170C0C8B-A623-4A77-8067-AE3A11119257}"/>
              </a:ext>
            </a:extLst>
          </p:cNvPr>
          <p:cNvSpPr/>
          <p:nvPr userDrawn="1"/>
        </p:nvSpPr>
        <p:spPr>
          <a:xfrm>
            <a:off x="7565721" y="431683"/>
            <a:ext cx="1263772" cy="1286476"/>
          </a:xfrm>
          <a:custGeom>
            <a:avLst/>
            <a:gdLst>
              <a:gd name="connsiteX0" fmla="*/ 879664 w 1723364"/>
              <a:gd name="connsiteY0" fmla="*/ 267 h 1754322"/>
              <a:gd name="connsiteX1" fmla="*/ 964801 w 1723364"/>
              <a:gd name="connsiteY1" fmla="*/ 5943 h 1754322"/>
              <a:gd name="connsiteX2" fmla="*/ 979248 w 1723364"/>
              <a:gd name="connsiteY2" fmla="*/ 18843 h 1754322"/>
              <a:gd name="connsiteX3" fmla="*/ 977700 w 1723364"/>
              <a:gd name="connsiteY3" fmla="*/ 158673 h 1754322"/>
              <a:gd name="connsiteX4" fmla="*/ 968928 w 1723364"/>
              <a:gd name="connsiteY4" fmla="*/ 213366 h 1754322"/>
              <a:gd name="connsiteX5" fmla="*/ 979764 w 1723364"/>
              <a:gd name="connsiteY5" fmla="*/ 229877 h 1754322"/>
              <a:gd name="connsiteX6" fmla="*/ 1149520 w 1723364"/>
              <a:gd name="connsiteY6" fmla="*/ 285087 h 1754322"/>
              <a:gd name="connsiteX7" fmla="*/ 1166548 w 1723364"/>
              <a:gd name="connsiteY7" fmla="*/ 278379 h 1754322"/>
              <a:gd name="connsiteX8" fmla="*/ 1210406 w 1723364"/>
              <a:gd name="connsiteY8" fmla="*/ 190663 h 1754322"/>
              <a:gd name="connsiteX9" fmla="*/ 1263035 w 1723364"/>
              <a:gd name="connsiteY9" fmla="*/ 123070 h 1754322"/>
              <a:gd name="connsiteX10" fmla="*/ 1304314 w 1723364"/>
              <a:gd name="connsiteY10" fmla="*/ 119458 h 1754322"/>
              <a:gd name="connsiteX11" fmla="*/ 1458075 w 1723364"/>
              <a:gd name="connsiteY11" fmla="*/ 231941 h 1754322"/>
              <a:gd name="connsiteX12" fmla="*/ 1462203 w 1723364"/>
              <a:gd name="connsiteY12" fmla="*/ 251549 h 1754322"/>
              <a:gd name="connsiteX13" fmla="*/ 1461171 w 1723364"/>
              <a:gd name="connsiteY13" fmla="*/ 254128 h 1754322"/>
              <a:gd name="connsiteX14" fmla="*/ 1396158 w 1723364"/>
              <a:gd name="connsiteY14" fmla="*/ 347004 h 1754322"/>
              <a:gd name="connsiteX15" fmla="*/ 1337336 w 1723364"/>
              <a:gd name="connsiteY15" fmla="*/ 404794 h 1754322"/>
              <a:gd name="connsiteX16" fmla="*/ 1336304 w 1723364"/>
              <a:gd name="connsiteY16" fmla="*/ 419757 h 1754322"/>
              <a:gd name="connsiteX17" fmla="*/ 1369327 w 1723364"/>
              <a:gd name="connsiteY17" fmla="*/ 457939 h 1754322"/>
              <a:gd name="connsiteX18" fmla="*/ 1442596 w 1723364"/>
              <a:gd name="connsiteY18" fmla="*/ 565263 h 1754322"/>
              <a:gd name="connsiteX19" fmla="*/ 1462719 w 1723364"/>
              <a:gd name="connsiteY19" fmla="*/ 570938 h 1754322"/>
              <a:gd name="connsiteX20" fmla="*/ 1573138 w 1723364"/>
              <a:gd name="connsiteY20" fmla="*/ 514697 h 1754322"/>
              <a:gd name="connsiteX21" fmla="*/ 1650018 w 1723364"/>
              <a:gd name="connsiteY21" fmla="*/ 501281 h 1754322"/>
              <a:gd name="connsiteX22" fmla="*/ 1659822 w 1723364"/>
              <a:gd name="connsiteY22" fmla="*/ 509537 h 1754322"/>
              <a:gd name="connsiteX23" fmla="*/ 1724835 w 1723364"/>
              <a:gd name="connsiteY23" fmla="*/ 709220 h 1754322"/>
              <a:gd name="connsiteX24" fmla="*/ 1717611 w 1723364"/>
              <a:gd name="connsiteY24" fmla="*/ 723668 h 1754322"/>
              <a:gd name="connsiteX25" fmla="*/ 1671173 w 1723364"/>
              <a:gd name="connsiteY25" fmla="*/ 748950 h 1754322"/>
              <a:gd name="connsiteX26" fmla="*/ 1618544 w 1723364"/>
              <a:gd name="connsiteY26" fmla="*/ 760302 h 1754322"/>
              <a:gd name="connsiteX27" fmla="*/ 1529280 w 1723364"/>
              <a:gd name="connsiteY27" fmla="*/ 774234 h 1754322"/>
              <a:gd name="connsiteX28" fmla="*/ 1515349 w 1723364"/>
              <a:gd name="connsiteY28" fmla="*/ 791777 h 1754322"/>
              <a:gd name="connsiteX29" fmla="*/ 1521024 w 1723364"/>
              <a:gd name="connsiteY29" fmla="*/ 857306 h 1754322"/>
              <a:gd name="connsiteX30" fmla="*/ 1516380 w 1723364"/>
              <a:gd name="connsiteY30" fmla="*/ 953794 h 1754322"/>
              <a:gd name="connsiteX31" fmla="*/ 1538567 w 1723364"/>
              <a:gd name="connsiteY31" fmla="*/ 983720 h 1754322"/>
              <a:gd name="connsiteX32" fmla="*/ 1653114 w 1723364"/>
              <a:gd name="connsiteY32" fmla="*/ 1001779 h 1754322"/>
              <a:gd name="connsiteX33" fmla="*/ 1700584 w 1723364"/>
              <a:gd name="connsiteY33" fmla="*/ 1024483 h 1754322"/>
              <a:gd name="connsiteX34" fmla="*/ 1719675 w 1723364"/>
              <a:gd name="connsiteY34" fmla="*/ 1067825 h 1754322"/>
              <a:gd name="connsiteX35" fmla="*/ 1661370 w 1723364"/>
              <a:gd name="connsiteY35" fmla="*/ 1243773 h 1754322"/>
              <a:gd name="connsiteX36" fmla="*/ 1641763 w 1723364"/>
              <a:gd name="connsiteY36" fmla="*/ 1255124 h 1754322"/>
              <a:gd name="connsiteX37" fmla="*/ 1541663 w 1723364"/>
              <a:gd name="connsiteY37" fmla="*/ 1226230 h 1754322"/>
              <a:gd name="connsiteX38" fmla="*/ 1461687 w 1723364"/>
              <a:gd name="connsiteY38" fmla="*/ 1184436 h 1754322"/>
              <a:gd name="connsiteX39" fmla="*/ 1444143 w 1723364"/>
              <a:gd name="connsiteY39" fmla="*/ 1189079 h 1754322"/>
              <a:gd name="connsiteX40" fmla="*/ 1339400 w 1723364"/>
              <a:gd name="connsiteY40" fmla="*/ 1333553 h 1754322"/>
              <a:gd name="connsiteX41" fmla="*/ 1339916 w 1723364"/>
              <a:gd name="connsiteY41" fmla="*/ 1353160 h 1754322"/>
              <a:gd name="connsiteX42" fmla="*/ 1430212 w 1723364"/>
              <a:gd name="connsiteY42" fmla="*/ 1443456 h 1754322"/>
              <a:gd name="connsiteX43" fmla="*/ 1465814 w 1723364"/>
              <a:gd name="connsiteY43" fmla="*/ 1511565 h 1754322"/>
              <a:gd name="connsiteX44" fmla="*/ 1461171 w 1723364"/>
              <a:gd name="connsiteY44" fmla="*/ 1521369 h 1754322"/>
              <a:gd name="connsiteX45" fmla="*/ 1290382 w 1723364"/>
              <a:gd name="connsiteY45" fmla="*/ 1645203 h 1754322"/>
              <a:gd name="connsiteX46" fmla="*/ 1275419 w 1723364"/>
              <a:gd name="connsiteY46" fmla="*/ 1643655 h 1754322"/>
              <a:gd name="connsiteX47" fmla="*/ 1207310 w 1723364"/>
              <a:gd name="connsiteY47" fmla="*/ 1558003 h 1754322"/>
              <a:gd name="connsiteX48" fmla="*/ 1167064 w 1723364"/>
              <a:gd name="connsiteY48" fmla="*/ 1477511 h 1754322"/>
              <a:gd name="connsiteX49" fmla="*/ 1150036 w 1723364"/>
              <a:gd name="connsiteY49" fmla="*/ 1470803 h 1754322"/>
              <a:gd name="connsiteX50" fmla="*/ 981312 w 1723364"/>
              <a:gd name="connsiteY50" fmla="*/ 1526013 h 1754322"/>
              <a:gd name="connsiteX51" fmla="*/ 969960 w 1723364"/>
              <a:gd name="connsiteY51" fmla="*/ 1544072 h 1754322"/>
              <a:gd name="connsiteX52" fmla="*/ 989052 w 1723364"/>
              <a:gd name="connsiteY52" fmla="*/ 1663779 h 1754322"/>
              <a:gd name="connsiteX53" fmla="*/ 978216 w 1723364"/>
              <a:gd name="connsiteY53" fmla="*/ 1743755 h 1754322"/>
              <a:gd name="connsiteX54" fmla="*/ 966864 w 1723364"/>
              <a:gd name="connsiteY54" fmla="*/ 1749947 h 1754322"/>
              <a:gd name="connsiteX55" fmla="*/ 758410 w 1723364"/>
              <a:gd name="connsiteY55" fmla="*/ 1749947 h 1754322"/>
              <a:gd name="connsiteX56" fmla="*/ 745510 w 1723364"/>
              <a:gd name="connsiteY56" fmla="*/ 1737047 h 1754322"/>
              <a:gd name="connsiteX57" fmla="*/ 747058 w 1723364"/>
              <a:gd name="connsiteY57" fmla="*/ 1598249 h 1754322"/>
              <a:gd name="connsiteX58" fmla="*/ 756346 w 1723364"/>
              <a:gd name="connsiteY58" fmla="*/ 1543556 h 1754322"/>
              <a:gd name="connsiteX59" fmla="*/ 744478 w 1723364"/>
              <a:gd name="connsiteY59" fmla="*/ 1525496 h 1754322"/>
              <a:gd name="connsiteX60" fmla="*/ 575754 w 1723364"/>
              <a:gd name="connsiteY60" fmla="*/ 1470287 h 1754322"/>
              <a:gd name="connsiteX61" fmla="*/ 559758 w 1723364"/>
              <a:gd name="connsiteY61" fmla="*/ 1475963 h 1754322"/>
              <a:gd name="connsiteX62" fmla="*/ 504549 w 1723364"/>
              <a:gd name="connsiteY62" fmla="*/ 1585350 h 1754322"/>
              <a:gd name="connsiteX63" fmla="*/ 447275 w 1723364"/>
              <a:gd name="connsiteY63" fmla="*/ 1645719 h 1754322"/>
              <a:gd name="connsiteX64" fmla="*/ 434376 w 1723364"/>
              <a:gd name="connsiteY64" fmla="*/ 1643655 h 1754322"/>
              <a:gd name="connsiteX65" fmla="*/ 290418 w 1723364"/>
              <a:gd name="connsiteY65" fmla="*/ 1542008 h 1754322"/>
              <a:gd name="connsiteX66" fmla="*/ 265651 w 1723364"/>
              <a:gd name="connsiteY66" fmla="*/ 1521369 h 1754322"/>
              <a:gd name="connsiteX67" fmla="*/ 262039 w 1723364"/>
              <a:gd name="connsiteY67" fmla="*/ 1505889 h 1754322"/>
              <a:gd name="connsiteX68" fmla="*/ 321893 w 1723364"/>
              <a:gd name="connsiteY68" fmla="*/ 1415593 h 1754322"/>
              <a:gd name="connsiteX69" fmla="*/ 386906 w 1723364"/>
              <a:gd name="connsiteY69" fmla="*/ 1351096 h 1754322"/>
              <a:gd name="connsiteX70" fmla="*/ 387938 w 1723364"/>
              <a:gd name="connsiteY70" fmla="*/ 1334069 h 1754322"/>
              <a:gd name="connsiteX71" fmla="*/ 354915 w 1723364"/>
              <a:gd name="connsiteY71" fmla="*/ 1295887 h 1754322"/>
              <a:gd name="connsiteX72" fmla="*/ 282678 w 1723364"/>
              <a:gd name="connsiteY72" fmla="*/ 1189595 h 1754322"/>
              <a:gd name="connsiteX73" fmla="*/ 262555 w 1723364"/>
              <a:gd name="connsiteY73" fmla="*/ 1183920 h 1754322"/>
              <a:gd name="connsiteX74" fmla="*/ 152136 w 1723364"/>
              <a:gd name="connsiteY74" fmla="*/ 1240161 h 1754322"/>
              <a:gd name="connsiteX75" fmla="*/ 75256 w 1723364"/>
              <a:gd name="connsiteY75" fmla="*/ 1253577 h 1754322"/>
              <a:gd name="connsiteX76" fmla="*/ 65452 w 1723364"/>
              <a:gd name="connsiteY76" fmla="*/ 1245321 h 1754322"/>
              <a:gd name="connsiteX77" fmla="*/ 439 w 1723364"/>
              <a:gd name="connsiteY77" fmla="*/ 1045637 h 1754322"/>
              <a:gd name="connsiteX78" fmla="*/ 7663 w 1723364"/>
              <a:gd name="connsiteY78" fmla="*/ 1031190 h 1754322"/>
              <a:gd name="connsiteX79" fmla="*/ 54101 w 1723364"/>
              <a:gd name="connsiteY79" fmla="*/ 1005907 h 1754322"/>
              <a:gd name="connsiteX80" fmla="*/ 106730 w 1723364"/>
              <a:gd name="connsiteY80" fmla="*/ 994556 h 1754322"/>
              <a:gd name="connsiteX81" fmla="*/ 197026 w 1723364"/>
              <a:gd name="connsiteY81" fmla="*/ 980109 h 1754322"/>
              <a:gd name="connsiteX82" fmla="*/ 209410 w 1723364"/>
              <a:gd name="connsiteY82" fmla="*/ 964113 h 1754322"/>
              <a:gd name="connsiteX83" fmla="*/ 203734 w 1723364"/>
              <a:gd name="connsiteY83" fmla="*/ 897552 h 1754322"/>
              <a:gd name="connsiteX84" fmla="*/ 208378 w 1723364"/>
              <a:gd name="connsiteY84" fmla="*/ 801064 h 1754322"/>
              <a:gd name="connsiteX85" fmla="*/ 185159 w 1723364"/>
              <a:gd name="connsiteY85" fmla="*/ 770622 h 1754322"/>
              <a:gd name="connsiteX86" fmla="*/ 73192 w 1723364"/>
              <a:gd name="connsiteY86" fmla="*/ 753079 h 1754322"/>
              <a:gd name="connsiteX87" fmla="*/ 24690 w 1723364"/>
              <a:gd name="connsiteY87" fmla="*/ 730375 h 1754322"/>
              <a:gd name="connsiteX88" fmla="*/ 5599 w 1723364"/>
              <a:gd name="connsiteY88" fmla="*/ 687033 h 1754322"/>
              <a:gd name="connsiteX89" fmla="*/ 63904 w 1723364"/>
              <a:gd name="connsiteY89" fmla="*/ 511085 h 1754322"/>
              <a:gd name="connsiteX90" fmla="*/ 83511 w 1723364"/>
              <a:gd name="connsiteY90" fmla="*/ 499733 h 1754322"/>
              <a:gd name="connsiteX91" fmla="*/ 183611 w 1723364"/>
              <a:gd name="connsiteY91" fmla="*/ 528628 h 1754322"/>
              <a:gd name="connsiteX92" fmla="*/ 262555 w 1723364"/>
              <a:gd name="connsiteY92" fmla="*/ 569390 h 1754322"/>
              <a:gd name="connsiteX93" fmla="*/ 282163 w 1723364"/>
              <a:gd name="connsiteY93" fmla="*/ 564231 h 1754322"/>
              <a:gd name="connsiteX94" fmla="*/ 386906 w 1723364"/>
              <a:gd name="connsiteY94" fmla="*/ 419757 h 1754322"/>
              <a:gd name="connsiteX95" fmla="*/ 386390 w 1723364"/>
              <a:gd name="connsiteY95" fmla="*/ 402214 h 1754322"/>
              <a:gd name="connsiteX96" fmla="*/ 296094 w 1723364"/>
              <a:gd name="connsiteY96" fmla="*/ 311918 h 1754322"/>
              <a:gd name="connsiteX97" fmla="*/ 259975 w 1723364"/>
              <a:gd name="connsiteY97" fmla="*/ 242777 h 1754322"/>
              <a:gd name="connsiteX98" fmla="*/ 264619 w 1723364"/>
              <a:gd name="connsiteY98" fmla="*/ 232973 h 1754322"/>
              <a:gd name="connsiteX99" fmla="*/ 435408 w 1723364"/>
              <a:gd name="connsiteY99" fmla="*/ 109139 h 1754322"/>
              <a:gd name="connsiteX100" fmla="*/ 450371 w 1723364"/>
              <a:gd name="connsiteY100" fmla="*/ 110687 h 1754322"/>
              <a:gd name="connsiteX101" fmla="*/ 518480 w 1723364"/>
              <a:gd name="connsiteY101" fmla="*/ 196339 h 1754322"/>
              <a:gd name="connsiteX102" fmla="*/ 559758 w 1723364"/>
              <a:gd name="connsiteY102" fmla="*/ 277863 h 1754322"/>
              <a:gd name="connsiteX103" fmla="*/ 574722 w 1723364"/>
              <a:gd name="connsiteY103" fmla="*/ 283539 h 1754322"/>
              <a:gd name="connsiteX104" fmla="*/ 746026 w 1723364"/>
              <a:gd name="connsiteY104" fmla="*/ 227813 h 1754322"/>
              <a:gd name="connsiteX105" fmla="*/ 756346 w 1723364"/>
              <a:gd name="connsiteY105" fmla="*/ 211302 h 1754322"/>
              <a:gd name="connsiteX106" fmla="*/ 737254 w 1723364"/>
              <a:gd name="connsiteY106" fmla="*/ 91596 h 1754322"/>
              <a:gd name="connsiteX107" fmla="*/ 748090 w 1723364"/>
              <a:gd name="connsiteY107" fmla="*/ 10587 h 1754322"/>
              <a:gd name="connsiteX108" fmla="*/ 758410 w 1723364"/>
              <a:gd name="connsiteY108" fmla="*/ 4395 h 1754322"/>
              <a:gd name="connsiteX109" fmla="*/ 879664 w 1723364"/>
              <a:gd name="connsiteY109" fmla="*/ 267 h 1754322"/>
              <a:gd name="connsiteX110" fmla="*/ 861605 w 1723364"/>
              <a:gd name="connsiteY110" fmla="*/ 1409918 h 1754322"/>
              <a:gd name="connsiteX111" fmla="*/ 1392546 w 1723364"/>
              <a:gd name="connsiteY111" fmla="*/ 879493 h 1754322"/>
              <a:gd name="connsiteX112" fmla="*/ 862637 w 1723364"/>
              <a:gd name="connsiteY112" fmla="*/ 348552 h 1754322"/>
              <a:gd name="connsiteX113" fmla="*/ 331180 w 1723364"/>
              <a:gd name="connsiteY113" fmla="*/ 879493 h 1754322"/>
              <a:gd name="connsiteX114" fmla="*/ 861605 w 1723364"/>
              <a:gd name="connsiteY114" fmla="*/ 1409918 h 1754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1723364" h="1754322">
                <a:moveTo>
                  <a:pt x="879664" y="267"/>
                </a:moveTo>
                <a:cubicBezTo>
                  <a:pt x="907527" y="2332"/>
                  <a:pt x="935906" y="4395"/>
                  <a:pt x="964801" y="5943"/>
                </a:cubicBezTo>
                <a:cubicBezTo>
                  <a:pt x="974088" y="6459"/>
                  <a:pt x="976668" y="11103"/>
                  <a:pt x="979248" y="18843"/>
                </a:cubicBezTo>
                <a:cubicBezTo>
                  <a:pt x="994727" y="65797"/>
                  <a:pt x="985956" y="112235"/>
                  <a:pt x="977700" y="158673"/>
                </a:cubicBezTo>
                <a:cubicBezTo>
                  <a:pt x="974604" y="176732"/>
                  <a:pt x="972024" y="195307"/>
                  <a:pt x="968928" y="213366"/>
                </a:cubicBezTo>
                <a:cubicBezTo>
                  <a:pt x="967380" y="222654"/>
                  <a:pt x="969960" y="227813"/>
                  <a:pt x="979764" y="229877"/>
                </a:cubicBezTo>
                <a:cubicBezTo>
                  <a:pt x="1038585" y="240713"/>
                  <a:pt x="1095343" y="259804"/>
                  <a:pt x="1149520" y="285087"/>
                </a:cubicBezTo>
                <a:cubicBezTo>
                  <a:pt x="1158808" y="289215"/>
                  <a:pt x="1162420" y="286119"/>
                  <a:pt x="1166548" y="278379"/>
                </a:cubicBezTo>
                <a:cubicBezTo>
                  <a:pt x="1180995" y="248969"/>
                  <a:pt x="1197506" y="220590"/>
                  <a:pt x="1210406" y="190663"/>
                </a:cubicBezTo>
                <a:cubicBezTo>
                  <a:pt x="1222273" y="163316"/>
                  <a:pt x="1240848" y="142161"/>
                  <a:pt x="1263035" y="123070"/>
                </a:cubicBezTo>
                <a:cubicBezTo>
                  <a:pt x="1282643" y="106043"/>
                  <a:pt x="1282127" y="106559"/>
                  <a:pt x="1304314" y="119458"/>
                </a:cubicBezTo>
                <a:cubicBezTo>
                  <a:pt x="1359523" y="151449"/>
                  <a:pt x="1409573" y="190663"/>
                  <a:pt x="1458075" y="231941"/>
                </a:cubicBezTo>
                <a:cubicBezTo>
                  <a:pt x="1465299" y="238133"/>
                  <a:pt x="1467362" y="243809"/>
                  <a:pt x="1462203" y="251549"/>
                </a:cubicBezTo>
                <a:cubicBezTo>
                  <a:pt x="1461687" y="252064"/>
                  <a:pt x="1461171" y="253096"/>
                  <a:pt x="1461171" y="254128"/>
                </a:cubicBezTo>
                <a:cubicBezTo>
                  <a:pt x="1448271" y="291279"/>
                  <a:pt x="1425052" y="320689"/>
                  <a:pt x="1396158" y="347004"/>
                </a:cubicBezTo>
                <a:cubicBezTo>
                  <a:pt x="1375518" y="365064"/>
                  <a:pt x="1356943" y="385703"/>
                  <a:pt x="1337336" y="404794"/>
                </a:cubicBezTo>
                <a:cubicBezTo>
                  <a:pt x="1332177" y="409954"/>
                  <a:pt x="1330628" y="413565"/>
                  <a:pt x="1336304" y="419757"/>
                </a:cubicBezTo>
                <a:cubicBezTo>
                  <a:pt x="1347656" y="432141"/>
                  <a:pt x="1357459" y="445556"/>
                  <a:pt x="1369327" y="457939"/>
                </a:cubicBezTo>
                <a:cubicBezTo>
                  <a:pt x="1399769" y="489930"/>
                  <a:pt x="1419893" y="528628"/>
                  <a:pt x="1442596" y="565263"/>
                </a:cubicBezTo>
                <a:cubicBezTo>
                  <a:pt x="1448271" y="574550"/>
                  <a:pt x="1452915" y="576098"/>
                  <a:pt x="1462719" y="570938"/>
                </a:cubicBezTo>
                <a:cubicBezTo>
                  <a:pt x="1499353" y="551847"/>
                  <a:pt x="1535988" y="533272"/>
                  <a:pt x="1573138" y="514697"/>
                </a:cubicBezTo>
                <a:cubicBezTo>
                  <a:pt x="1597389" y="502830"/>
                  <a:pt x="1624220" y="504893"/>
                  <a:pt x="1650018" y="501281"/>
                </a:cubicBezTo>
                <a:cubicBezTo>
                  <a:pt x="1655694" y="500250"/>
                  <a:pt x="1658274" y="505409"/>
                  <a:pt x="1659822" y="509537"/>
                </a:cubicBezTo>
                <a:cubicBezTo>
                  <a:pt x="1687685" y="574034"/>
                  <a:pt x="1709872" y="640595"/>
                  <a:pt x="1724835" y="709220"/>
                </a:cubicBezTo>
                <a:cubicBezTo>
                  <a:pt x="1726383" y="716444"/>
                  <a:pt x="1723803" y="720572"/>
                  <a:pt x="1717611" y="723668"/>
                </a:cubicBezTo>
                <a:cubicBezTo>
                  <a:pt x="1702132" y="731923"/>
                  <a:pt x="1686653" y="740695"/>
                  <a:pt x="1671173" y="748950"/>
                </a:cubicBezTo>
                <a:cubicBezTo>
                  <a:pt x="1654662" y="757722"/>
                  <a:pt x="1636087" y="757206"/>
                  <a:pt x="1618544" y="760302"/>
                </a:cubicBezTo>
                <a:cubicBezTo>
                  <a:pt x="1589133" y="765462"/>
                  <a:pt x="1559207" y="770106"/>
                  <a:pt x="1529280" y="774234"/>
                </a:cubicBezTo>
                <a:cubicBezTo>
                  <a:pt x="1517412" y="775781"/>
                  <a:pt x="1514316" y="780941"/>
                  <a:pt x="1515349" y="791777"/>
                </a:cubicBezTo>
                <a:cubicBezTo>
                  <a:pt x="1517412" y="813448"/>
                  <a:pt x="1518444" y="835635"/>
                  <a:pt x="1521024" y="857306"/>
                </a:cubicBezTo>
                <a:cubicBezTo>
                  <a:pt x="1524636" y="889813"/>
                  <a:pt x="1518960" y="921803"/>
                  <a:pt x="1516380" y="953794"/>
                </a:cubicBezTo>
                <a:cubicBezTo>
                  <a:pt x="1514316" y="980109"/>
                  <a:pt x="1513284" y="980109"/>
                  <a:pt x="1538567" y="983720"/>
                </a:cubicBezTo>
                <a:cubicBezTo>
                  <a:pt x="1576750" y="989912"/>
                  <a:pt x="1614932" y="995588"/>
                  <a:pt x="1653114" y="1001779"/>
                </a:cubicBezTo>
                <a:cubicBezTo>
                  <a:pt x="1671173" y="1004875"/>
                  <a:pt x="1685105" y="1016227"/>
                  <a:pt x="1700584" y="1024483"/>
                </a:cubicBezTo>
                <a:cubicBezTo>
                  <a:pt x="1726899" y="1038414"/>
                  <a:pt x="1725867" y="1038930"/>
                  <a:pt x="1719675" y="1067825"/>
                </a:cubicBezTo>
                <a:cubicBezTo>
                  <a:pt x="1706260" y="1128710"/>
                  <a:pt x="1685105" y="1186500"/>
                  <a:pt x="1661370" y="1243773"/>
                </a:cubicBezTo>
                <a:cubicBezTo>
                  <a:pt x="1657242" y="1253577"/>
                  <a:pt x="1651566" y="1256157"/>
                  <a:pt x="1641763" y="1255124"/>
                </a:cubicBezTo>
                <a:cubicBezTo>
                  <a:pt x="1606160" y="1252028"/>
                  <a:pt x="1572622" y="1244805"/>
                  <a:pt x="1541663" y="1226230"/>
                </a:cubicBezTo>
                <a:cubicBezTo>
                  <a:pt x="1515864" y="1210750"/>
                  <a:pt x="1488001" y="1198883"/>
                  <a:pt x="1461687" y="1184436"/>
                </a:cubicBezTo>
                <a:cubicBezTo>
                  <a:pt x="1453947" y="1180308"/>
                  <a:pt x="1448787" y="1180308"/>
                  <a:pt x="1444143" y="1189079"/>
                </a:cubicBezTo>
                <a:cubicBezTo>
                  <a:pt x="1415249" y="1241709"/>
                  <a:pt x="1380162" y="1290211"/>
                  <a:pt x="1339400" y="1333553"/>
                </a:cubicBezTo>
                <a:cubicBezTo>
                  <a:pt x="1332177" y="1341293"/>
                  <a:pt x="1332177" y="1345936"/>
                  <a:pt x="1339916" y="1353160"/>
                </a:cubicBezTo>
                <a:cubicBezTo>
                  <a:pt x="1370359" y="1382571"/>
                  <a:pt x="1400801" y="1412498"/>
                  <a:pt x="1430212" y="1443456"/>
                </a:cubicBezTo>
                <a:cubicBezTo>
                  <a:pt x="1448271" y="1462547"/>
                  <a:pt x="1453947" y="1488862"/>
                  <a:pt x="1465814" y="1511565"/>
                </a:cubicBezTo>
                <a:cubicBezTo>
                  <a:pt x="1467879" y="1515693"/>
                  <a:pt x="1464267" y="1518789"/>
                  <a:pt x="1461171" y="1521369"/>
                </a:cubicBezTo>
                <a:cubicBezTo>
                  <a:pt x="1408025" y="1568323"/>
                  <a:pt x="1351784" y="1610117"/>
                  <a:pt x="1290382" y="1645203"/>
                </a:cubicBezTo>
                <a:cubicBezTo>
                  <a:pt x="1284707" y="1648815"/>
                  <a:pt x="1280579" y="1648299"/>
                  <a:pt x="1275419" y="1643655"/>
                </a:cubicBezTo>
                <a:cubicBezTo>
                  <a:pt x="1247040" y="1619404"/>
                  <a:pt x="1221757" y="1593606"/>
                  <a:pt x="1207310" y="1558003"/>
                </a:cubicBezTo>
                <a:cubicBezTo>
                  <a:pt x="1195958" y="1530140"/>
                  <a:pt x="1179963" y="1504341"/>
                  <a:pt x="1167064" y="1477511"/>
                </a:cubicBezTo>
                <a:cubicBezTo>
                  <a:pt x="1162936" y="1469255"/>
                  <a:pt x="1158808" y="1467191"/>
                  <a:pt x="1150036" y="1470803"/>
                </a:cubicBezTo>
                <a:cubicBezTo>
                  <a:pt x="1096375" y="1496086"/>
                  <a:pt x="1040133" y="1514661"/>
                  <a:pt x="981312" y="1526013"/>
                </a:cubicBezTo>
                <a:cubicBezTo>
                  <a:pt x="969960" y="1528076"/>
                  <a:pt x="967896" y="1534268"/>
                  <a:pt x="969960" y="1544072"/>
                </a:cubicBezTo>
                <a:cubicBezTo>
                  <a:pt x="976668" y="1583802"/>
                  <a:pt x="982860" y="1623532"/>
                  <a:pt x="989052" y="1663779"/>
                </a:cubicBezTo>
                <a:cubicBezTo>
                  <a:pt x="993179" y="1691641"/>
                  <a:pt x="982344" y="1716924"/>
                  <a:pt x="978216" y="1743755"/>
                </a:cubicBezTo>
                <a:cubicBezTo>
                  <a:pt x="977184" y="1749431"/>
                  <a:pt x="971508" y="1749431"/>
                  <a:pt x="966864" y="1749947"/>
                </a:cubicBezTo>
                <a:cubicBezTo>
                  <a:pt x="897207" y="1757170"/>
                  <a:pt x="828067" y="1756655"/>
                  <a:pt x="758410" y="1749947"/>
                </a:cubicBezTo>
                <a:cubicBezTo>
                  <a:pt x="749638" y="1748915"/>
                  <a:pt x="748090" y="1744271"/>
                  <a:pt x="745510" y="1737047"/>
                </a:cubicBezTo>
                <a:cubicBezTo>
                  <a:pt x="730031" y="1690609"/>
                  <a:pt x="738286" y="1644687"/>
                  <a:pt x="747058" y="1598249"/>
                </a:cubicBezTo>
                <a:cubicBezTo>
                  <a:pt x="750154" y="1580190"/>
                  <a:pt x="752734" y="1561615"/>
                  <a:pt x="756346" y="1543556"/>
                </a:cubicBezTo>
                <a:cubicBezTo>
                  <a:pt x="758410" y="1533236"/>
                  <a:pt x="755314" y="1527560"/>
                  <a:pt x="744478" y="1525496"/>
                </a:cubicBezTo>
                <a:cubicBezTo>
                  <a:pt x="685657" y="1514661"/>
                  <a:pt x="629931" y="1496086"/>
                  <a:pt x="575754" y="1470287"/>
                </a:cubicBezTo>
                <a:cubicBezTo>
                  <a:pt x="568014" y="1466675"/>
                  <a:pt x="563886" y="1467707"/>
                  <a:pt x="559758" y="1475963"/>
                </a:cubicBezTo>
                <a:cubicBezTo>
                  <a:pt x="541699" y="1512597"/>
                  <a:pt x="522608" y="1548715"/>
                  <a:pt x="504549" y="1585350"/>
                </a:cubicBezTo>
                <a:cubicBezTo>
                  <a:pt x="491649" y="1611149"/>
                  <a:pt x="466882" y="1626112"/>
                  <a:pt x="447275" y="1645719"/>
                </a:cubicBezTo>
                <a:cubicBezTo>
                  <a:pt x="442631" y="1650363"/>
                  <a:pt x="438504" y="1646235"/>
                  <a:pt x="434376" y="1643655"/>
                </a:cubicBezTo>
                <a:cubicBezTo>
                  <a:pt x="384326" y="1612697"/>
                  <a:pt x="334276" y="1581738"/>
                  <a:pt x="290418" y="1542008"/>
                </a:cubicBezTo>
                <a:cubicBezTo>
                  <a:pt x="282678" y="1534784"/>
                  <a:pt x="273907" y="1528076"/>
                  <a:pt x="265651" y="1521369"/>
                </a:cubicBezTo>
                <a:cubicBezTo>
                  <a:pt x="259975" y="1516725"/>
                  <a:pt x="259459" y="1512597"/>
                  <a:pt x="262039" y="1505889"/>
                </a:cubicBezTo>
                <a:cubicBezTo>
                  <a:pt x="276487" y="1472351"/>
                  <a:pt x="292998" y="1440360"/>
                  <a:pt x="321893" y="1415593"/>
                </a:cubicBezTo>
                <a:cubicBezTo>
                  <a:pt x="345112" y="1395986"/>
                  <a:pt x="365235" y="1372767"/>
                  <a:pt x="386906" y="1351096"/>
                </a:cubicBezTo>
                <a:cubicBezTo>
                  <a:pt x="393098" y="1345421"/>
                  <a:pt x="394129" y="1341293"/>
                  <a:pt x="387938" y="1334069"/>
                </a:cubicBezTo>
                <a:cubicBezTo>
                  <a:pt x="376586" y="1321685"/>
                  <a:pt x="366783" y="1308270"/>
                  <a:pt x="354915" y="1295887"/>
                </a:cubicBezTo>
                <a:cubicBezTo>
                  <a:pt x="324989" y="1264412"/>
                  <a:pt x="305382" y="1225714"/>
                  <a:pt x="282678" y="1189595"/>
                </a:cubicBezTo>
                <a:cubicBezTo>
                  <a:pt x="277003" y="1180308"/>
                  <a:pt x="272359" y="1178760"/>
                  <a:pt x="262555" y="1183920"/>
                </a:cubicBezTo>
                <a:cubicBezTo>
                  <a:pt x="225921" y="1203011"/>
                  <a:pt x="189287" y="1221586"/>
                  <a:pt x="152136" y="1240161"/>
                </a:cubicBezTo>
                <a:cubicBezTo>
                  <a:pt x="127885" y="1252545"/>
                  <a:pt x="101054" y="1249965"/>
                  <a:pt x="75256" y="1253577"/>
                </a:cubicBezTo>
                <a:cubicBezTo>
                  <a:pt x="69580" y="1254608"/>
                  <a:pt x="67000" y="1249965"/>
                  <a:pt x="65452" y="1245321"/>
                </a:cubicBezTo>
                <a:cubicBezTo>
                  <a:pt x="37589" y="1180824"/>
                  <a:pt x="15402" y="1114263"/>
                  <a:pt x="439" y="1045637"/>
                </a:cubicBezTo>
                <a:cubicBezTo>
                  <a:pt x="-1109" y="1038414"/>
                  <a:pt x="1471" y="1034286"/>
                  <a:pt x="7663" y="1031190"/>
                </a:cubicBezTo>
                <a:cubicBezTo>
                  <a:pt x="23142" y="1022935"/>
                  <a:pt x="38621" y="1014163"/>
                  <a:pt x="54101" y="1005907"/>
                </a:cubicBezTo>
                <a:cubicBezTo>
                  <a:pt x="70612" y="997136"/>
                  <a:pt x="89187" y="997652"/>
                  <a:pt x="106730" y="994556"/>
                </a:cubicBezTo>
                <a:cubicBezTo>
                  <a:pt x="136657" y="989396"/>
                  <a:pt x="167099" y="984236"/>
                  <a:pt x="197026" y="980109"/>
                </a:cubicBezTo>
                <a:cubicBezTo>
                  <a:pt x="207346" y="978560"/>
                  <a:pt x="210442" y="973917"/>
                  <a:pt x="209410" y="964113"/>
                </a:cubicBezTo>
                <a:cubicBezTo>
                  <a:pt x="207346" y="941926"/>
                  <a:pt x="206314" y="919739"/>
                  <a:pt x="203734" y="897552"/>
                </a:cubicBezTo>
                <a:cubicBezTo>
                  <a:pt x="200122" y="865045"/>
                  <a:pt x="205798" y="833055"/>
                  <a:pt x="208378" y="801064"/>
                </a:cubicBezTo>
                <a:cubicBezTo>
                  <a:pt x="210442" y="774749"/>
                  <a:pt x="211474" y="774749"/>
                  <a:pt x="185159" y="770622"/>
                </a:cubicBezTo>
                <a:cubicBezTo>
                  <a:pt x="148009" y="764430"/>
                  <a:pt x="110342" y="758754"/>
                  <a:pt x="73192" y="753079"/>
                </a:cubicBezTo>
                <a:cubicBezTo>
                  <a:pt x="54616" y="750499"/>
                  <a:pt x="40169" y="738631"/>
                  <a:pt x="24690" y="730375"/>
                </a:cubicBezTo>
                <a:cubicBezTo>
                  <a:pt x="-1625" y="715928"/>
                  <a:pt x="-593" y="715928"/>
                  <a:pt x="5599" y="687033"/>
                </a:cubicBezTo>
                <a:cubicBezTo>
                  <a:pt x="19014" y="626148"/>
                  <a:pt x="40169" y="568358"/>
                  <a:pt x="63904" y="511085"/>
                </a:cubicBezTo>
                <a:cubicBezTo>
                  <a:pt x="68032" y="501281"/>
                  <a:pt x="73192" y="498701"/>
                  <a:pt x="83511" y="499733"/>
                </a:cubicBezTo>
                <a:cubicBezTo>
                  <a:pt x="119114" y="502830"/>
                  <a:pt x="152652" y="510053"/>
                  <a:pt x="183611" y="528628"/>
                </a:cubicBezTo>
                <a:cubicBezTo>
                  <a:pt x="208894" y="543592"/>
                  <a:pt x="236241" y="555459"/>
                  <a:pt x="262555" y="569390"/>
                </a:cubicBezTo>
                <a:cubicBezTo>
                  <a:pt x="271327" y="574034"/>
                  <a:pt x="277003" y="574034"/>
                  <a:pt x="282163" y="564231"/>
                </a:cubicBezTo>
                <a:cubicBezTo>
                  <a:pt x="311057" y="511601"/>
                  <a:pt x="346144" y="463615"/>
                  <a:pt x="386906" y="419757"/>
                </a:cubicBezTo>
                <a:cubicBezTo>
                  <a:pt x="393614" y="412534"/>
                  <a:pt x="393098" y="408922"/>
                  <a:pt x="386390" y="402214"/>
                </a:cubicBezTo>
                <a:cubicBezTo>
                  <a:pt x="355947" y="372287"/>
                  <a:pt x="325505" y="342360"/>
                  <a:pt x="296094" y="311918"/>
                </a:cubicBezTo>
                <a:cubicBezTo>
                  <a:pt x="277519" y="292827"/>
                  <a:pt x="271843" y="265996"/>
                  <a:pt x="259975" y="242777"/>
                </a:cubicBezTo>
                <a:cubicBezTo>
                  <a:pt x="257912" y="238649"/>
                  <a:pt x="261524" y="235553"/>
                  <a:pt x="264619" y="232973"/>
                </a:cubicBezTo>
                <a:cubicBezTo>
                  <a:pt x="317765" y="186019"/>
                  <a:pt x="374007" y="144225"/>
                  <a:pt x="435408" y="109139"/>
                </a:cubicBezTo>
                <a:cubicBezTo>
                  <a:pt x="441084" y="105527"/>
                  <a:pt x="445211" y="106043"/>
                  <a:pt x="450371" y="110687"/>
                </a:cubicBezTo>
                <a:cubicBezTo>
                  <a:pt x="478750" y="134937"/>
                  <a:pt x="504033" y="160736"/>
                  <a:pt x="518480" y="196339"/>
                </a:cubicBezTo>
                <a:cubicBezTo>
                  <a:pt x="530348" y="224202"/>
                  <a:pt x="545827" y="250516"/>
                  <a:pt x="559758" y="277863"/>
                </a:cubicBezTo>
                <a:cubicBezTo>
                  <a:pt x="563370" y="285087"/>
                  <a:pt x="566982" y="287151"/>
                  <a:pt x="574722" y="283539"/>
                </a:cubicBezTo>
                <a:cubicBezTo>
                  <a:pt x="629415" y="257740"/>
                  <a:pt x="686173" y="238649"/>
                  <a:pt x="746026" y="227813"/>
                </a:cubicBezTo>
                <a:cubicBezTo>
                  <a:pt x="756346" y="225750"/>
                  <a:pt x="757893" y="220074"/>
                  <a:pt x="756346" y="211302"/>
                </a:cubicBezTo>
                <a:cubicBezTo>
                  <a:pt x="749638" y="171572"/>
                  <a:pt x="743446" y="131326"/>
                  <a:pt x="737254" y="91596"/>
                </a:cubicBezTo>
                <a:cubicBezTo>
                  <a:pt x="732611" y="63217"/>
                  <a:pt x="743446" y="37418"/>
                  <a:pt x="748090" y="10587"/>
                </a:cubicBezTo>
                <a:cubicBezTo>
                  <a:pt x="749122" y="5427"/>
                  <a:pt x="753766" y="4395"/>
                  <a:pt x="758410" y="4395"/>
                </a:cubicBezTo>
                <a:cubicBezTo>
                  <a:pt x="797624" y="4395"/>
                  <a:pt x="837870" y="-1280"/>
                  <a:pt x="879664" y="267"/>
                </a:cubicBezTo>
                <a:close/>
                <a:moveTo>
                  <a:pt x="861605" y="1409918"/>
                </a:moveTo>
                <a:cubicBezTo>
                  <a:pt x="1155712" y="1407338"/>
                  <a:pt x="1392030" y="1176180"/>
                  <a:pt x="1392546" y="879493"/>
                </a:cubicBezTo>
                <a:cubicBezTo>
                  <a:pt x="1393062" y="585902"/>
                  <a:pt x="1160356" y="349068"/>
                  <a:pt x="862637" y="348552"/>
                </a:cubicBezTo>
                <a:cubicBezTo>
                  <a:pt x="568014" y="348036"/>
                  <a:pt x="331180" y="581774"/>
                  <a:pt x="331180" y="879493"/>
                </a:cubicBezTo>
                <a:cubicBezTo>
                  <a:pt x="331180" y="1173600"/>
                  <a:pt x="565950" y="1406822"/>
                  <a:pt x="861605" y="1409918"/>
                </a:cubicBezTo>
                <a:close/>
              </a:path>
            </a:pathLst>
          </a:custGeom>
          <a:solidFill>
            <a:schemeClr val="bg1">
              <a:alpha val="5000"/>
            </a:schemeClr>
          </a:solidFill>
          <a:ln w="51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8EDAEFC4-4C0C-4BEB-903F-14C3DBA0B8C0}"/>
              </a:ext>
            </a:extLst>
          </p:cNvPr>
          <p:cNvGrpSpPr/>
          <p:nvPr userDrawn="1"/>
        </p:nvGrpSpPr>
        <p:grpSpPr>
          <a:xfrm rot="19800000">
            <a:off x="206465" y="743263"/>
            <a:ext cx="3054679" cy="1218879"/>
            <a:chOff x="1727363" y="3556278"/>
            <a:chExt cx="3054679" cy="1218879"/>
          </a:xfrm>
          <a:solidFill>
            <a:schemeClr val="bg1">
              <a:alpha val="5000"/>
            </a:schemeClr>
          </a:solidFill>
        </p:grpSpPr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A1906127-6506-4703-A9AE-51223C1418C5}"/>
                </a:ext>
              </a:extLst>
            </p:cNvPr>
            <p:cNvSpPr/>
            <p:nvPr/>
          </p:nvSpPr>
          <p:spPr>
            <a:xfrm>
              <a:off x="2753518" y="3683131"/>
              <a:ext cx="796648" cy="799367"/>
            </a:xfrm>
            <a:custGeom>
              <a:avLst/>
              <a:gdLst>
                <a:gd name="connsiteX0" fmla="*/ 817500 w 1511813"/>
                <a:gd name="connsiteY0" fmla="*/ 1518710 h 1516973"/>
                <a:gd name="connsiteX1" fmla="*/ 802537 w 1511813"/>
                <a:gd name="connsiteY1" fmla="*/ 1507875 h 1516973"/>
                <a:gd name="connsiteX2" fmla="*/ 780866 w 1511813"/>
                <a:gd name="connsiteY2" fmla="*/ 1442862 h 1516973"/>
                <a:gd name="connsiteX3" fmla="*/ 776738 w 1511813"/>
                <a:gd name="connsiteY3" fmla="*/ 1385072 h 1516973"/>
                <a:gd name="connsiteX4" fmla="*/ 760227 w 1511813"/>
                <a:gd name="connsiteY4" fmla="*/ 1369593 h 1516973"/>
                <a:gd name="connsiteX5" fmla="*/ 694698 w 1511813"/>
                <a:gd name="connsiteY5" fmla="*/ 1366497 h 1516973"/>
                <a:gd name="connsiteX6" fmla="*/ 676638 w 1511813"/>
                <a:gd name="connsiteY6" fmla="*/ 1379912 h 1516973"/>
                <a:gd name="connsiteX7" fmla="*/ 637940 w 1511813"/>
                <a:gd name="connsiteY7" fmla="*/ 1501683 h 1516973"/>
                <a:gd name="connsiteX8" fmla="*/ 622977 w 1511813"/>
                <a:gd name="connsiteY8" fmla="*/ 1508907 h 1516973"/>
                <a:gd name="connsiteX9" fmla="*/ 430517 w 1511813"/>
                <a:gd name="connsiteY9" fmla="*/ 1447505 h 1516973"/>
                <a:gd name="connsiteX10" fmla="*/ 422262 w 1511813"/>
                <a:gd name="connsiteY10" fmla="*/ 1431510 h 1516973"/>
                <a:gd name="connsiteX11" fmla="*/ 435677 w 1511813"/>
                <a:gd name="connsiteY11" fmla="*/ 1364433 h 1516973"/>
                <a:gd name="connsiteX12" fmla="*/ 461992 w 1511813"/>
                <a:gd name="connsiteY12" fmla="*/ 1310255 h 1516973"/>
                <a:gd name="connsiteX13" fmla="*/ 456316 w 1511813"/>
                <a:gd name="connsiteY13" fmla="*/ 1290132 h 1516973"/>
                <a:gd name="connsiteX14" fmla="*/ 395431 w 1511813"/>
                <a:gd name="connsiteY14" fmla="*/ 1251434 h 1516973"/>
                <a:gd name="connsiteX15" fmla="*/ 378919 w 1511813"/>
                <a:gd name="connsiteY15" fmla="*/ 1254014 h 1516973"/>
                <a:gd name="connsiteX16" fmla="*/ 283464 w 1511813"/>
                <a:gd name="connsiteY16" fmla="*/ 1342246 h 1516973"/>
                <a:gd name="connsiteX17" fmla="*/ 265920 w 1511813"/>
                <a:gd name="connsiteY17" fmla="*/ 1341214 h 1516973"/>
                <a:gd name="connsiteX18" fmla="*/ 130218 w 1511813"/>
                <a:gd name="connsiteY18" fmla="*/ 1191580 h 1516973"/>
                <a:gd name="connsiteX19" fmla="*/ 130734 w 1511813"/>
                <a:gd name="connsiteY19" fmla="*/ 1174553 h 1516973"/>
                <a:gd name="connsiteX20" fmla="*/ 177688 w 1511813"/>
                <a:gd name="connsiteY20" fmla="*/ 1121408 h 1516973"/>
                <a:gd name="connsiteX21" fmla="*/ 225674 w 1511813"/>
                <a:gd name="connsiteY21" fmla="*/ 1089417 h 1516973"/>
                <a:gd name="connsiteX22" fmla="*/ 230834 w 1511813"/>
                <a:gd name="connsiteY22" fmla="*/ 1067230 h 1516973"/>
                <a:gd name="connsiteX23" fmla="*/ 198327 w 1511813"/>
                <a:gd name="connsiteY23" fmla="*/ 1004281 h 1516973"/>
                <a:gd name="connsiteX24" fmla="*/ 183880 w 1511813"/>
                <a:gd name="connsiteY24" fmla="*/ 998089 h 1516973"/>
                <a:gd name="connsiteX25" fmla="*/ 67269 w 1511813"/>
                <a:gd name="connsiteY25" fmla="*/ 1025952 h 1516973"/>
                <a:gd name="connsiteX26" fmla="*/ 55918 w 1511813"/>
                <a:gd name="connsiteY26" fmla="*/ 1027500 h 1516973"/>
                <a:gd name="connsiteX27" fmla="*/ 41470 w 1511813"/>
                <a:gd name="connsiteY27" fmla="*/ 1018212 h 1516973"/>
                <a:gd name="connsiteX28" fmla="*/ 1224 w 1511813"/>
                <a:gd name="connsiteY28" fmla="*/ 841748 h 1516973"/>
                <a:gd name="connsiteX29" fmla="*/ 30635 w 1511813"/>
                <a:gd name="connsiteY29" fmla="*/ 797374 h 1516973"/>
                <a:gd name="connsiteX30" fmla="*/ 134862 w 1511813"/>
                <a:gd name="connsiteY30" fmla="*/ 778799 h 1516973"/>
                <a:gd name="connsiteX31" fmla="*/ 147246 w 1511813"/>
                <a:gd name="connsiteY31" fmla="*/ 765899 h 1516973"/>
                <a:gd name="connsiteX32" fmla="*/ 150342 w 1511813"/>
                <a:gd name="connsiteY32" fmla="*/ 696242 h 1516973"/>
                <a:gd name="connsiteX33" fmla="*/ 137442 w 1511813"/>
                <a:gd name="connsiteY33" fmla="*/ 678699 h 1516973"/>
                <a:gd name="connsiteX34" fmla="*/ 14639 w 1511813"/>
                <a:gd name="connsiteY34" fmla="*/ 639485 h 1516973"/>
                <a:gd name="connsiteX35" fmla="*/ 7932 w 1511813"/>
                <a:gd name="connsiteY35" fmla="*/ 625037 h 1516973"/>
                <a:gd name="connsiteX36" fmla="*/ 69333 w 1511813"/>
                <a:gd name="connsiteY36" fmla="*/ 432578 h 1516973"/>
                <a:gd name="connsiteX37" fmla="*/ 86360 w 1511813"/>
                <a:gd name="connsiteY37" fmla="*/ 423806 h 1516973"/>
                <a:gd name="connsiteX38" fmla="*/ 150858 w 1511813"/>
                <a:gd name="connsiteY38" fmla="*/ 436706 h 1516973"/>
                <a:gd name="connsiteX39" fmla="*/ 206583 w 1511813"/>
                <a:gd name="connsiteY39" fmla="*/ 463536 h 1516973"/>
                <a:gd name="connsiteX40" fmla="*/ 227738 w 1511813"/>
                <a:gd name="connsiteY40" fmla="*/ 457345 h 1516973"/>
                <a:gd name="connsiteX41" fmla="*/ 266952 w 1511813"/>
                <a:gd name="connsiteY41" fmla="*/ 396459 h 1516973"/>
                <a:gd name="connsiteX42" fmla="*/ 264373 w 1511813"/>
                <a:gd name="connsiteY42" fmla="*/ 380980 h 1516973"/>
                <a:gd name="connsiteX43" fmla="*/ 175108 w 1511813"/>
                <a:gd name="connsiteY43" fmla="*/ 284492 h 1516973"/>
                <a:gd name="connsiteX44" fmla="*/ 176140 w 1511813"/>
                <a:gd name="connsiteY44" fmla="*/ 267981 h 1516973"/>
                <a:gd name="connsiteX45" fmla="*/ 325258 w 1511813"/>
                <a:gd name="connsiteY45" fmla="*/ 132279 h 1516973"/>
                <a:gd name="connsiteX46" fmla="*/ 343317 w 1511813"/>
                <a:gd name="connsiteY46" fmla="*/ 132795 h 1516973"/>
                <a:gd name="connsiteX47" fmla="*/ 395431 w 1511813"/>
                <a:gd name="connsiteY47" fmla="*/ 178717 h 1516973"/>
                <a:gd name="connsiteX48" fmla="*/ 426389 w 1511813"/>
                <a:gd name="connsiteY48" fmla="*/ 224639 h 1516973"/>
                <a:gd name="connsiteX49" fmla="*/ 451156 w 1511813"/>
                <a:gd name="connsiteY49" fmla="*/ 231347 h 1516973"/>
                <a:gd name="connsiteX50" fmla="*/ 512042 w 1511813"/>
                <a:gd name="connsiteY50" fmla="*/ 200388 h 1516973"/>
                <a:gd name="connsiteX51" fmla="*/ 518233 w 1511813"/>
                <a:gd name="connsiteY51" fmla="*/ 183877 h 1516973"/>
                <a:gd name="connsiteX52" fmla="*/ 491403 w 1511813"/>
                <a:gd name="connsiteY52" fmla="*/ 69846 h 1516973"/>
                <a:gd name="connsiteX53" fmla="*/ 489855 w 1511813"/>
                <a:gd name="connsiteY53" fmla="*/ 58494 h 1516973"/>
                <a:gd name="connsiteX54" fmla="*/ 499658 w 1511813"/>
                <a:gd name="connsiteY54" fmla="*/ 43015 h 1516973"/>
                <a:gd name="connsiteX55" fmla="*/ 695730 w 1511813"/>
                <a:gd name="connsiteY55" fmla="*/ 189 h 1516973"/>
                <a:gd name="connsiteX56" fmla="*/ 713273 w 1511813"/>
                <a:gd name="connsiteY56" fmla="*/ 12056 h 1516973"/>
                <a:gd name="connsiteX57" fmla="*/ 721012 w 1511813"/>
                <a:gd name="connsiteY57" fmla="*/ 35275 h 1516973"/>
                <a:gd name="connsiteX58" fmla="*/ 738556 w 1511813"/>
                <a:gd name="connsiteY58" fmla="*/ 134343 h 1516973"/>
                <a:gd name="connsiteX59" fmla="*/ 753519 w 1511813"/>
                <a:gd name="connsiteY59" fmla="*/ 148790 h 1516973"/>
                <a:gd name="connsiteX60" fmla="*/ 820596 w 1511813"/>
                <a:gd name="connsiteY60" fmla="*/ 151886 h 1516973"/>
                <a:gd name="connsiteX61" fmla="*/ 838655 w 1511813"/>
                <a:gd name="connsiteY61" fmla="*/ 138471 h 1516973"/>
                <a:gd name="connsiteX62" fmla="*/ 877354 w 1511813"/>
                <a:gd name="connsiteY62" fmla="*/ 16700 h 1516973"/>
                <a:gd name="connsiteX63" fmla="*/ 892317 w 1511813"/>
                <a:gd name="connsiteY63" fmla="*/ 9476 h 1516973"/>
                <a:gd name="connsiteX64" fmla="*/ 1084777 w 1511813"/>
                <a:gd name="connsiteY64" fmla="*/ 70878 h 1516973"/>
                <a:gd name="connsiteX65" fmla="*/ 1093032 w 1511813"/>
                <a:gd name="connsiteY65" fmla="*/ 86873 h 1516973"/>
                <a:gd name="connsiteX66" fmla="*/ 1079617 w 1511813"/>
                <a:gd name="connsiteY66" fmla="*/ 152402 h 1516973"/>
                <a:gd name="connsiteX67" fmla="*/ 1053302 w 1511813"/>
                <a:gd name="connsiteY67" fmla="*/ 206580 h 1516973"/>
                <a:gd name="connsiteX68" fmla="*/ 1060010 w 1511813"/>
                <a:gd name="connsiteY68" fmla="*/ 228251 h 1516973"/>
                <a:gd name="connsiteX69" fmla="*/ 1118315 w 1511813"/>
                <a:gd name="connsiteY69" fmla="*/ 265917 h 1516973"/>
                <a:gd name="connsiteX70" fmla="*/ 1136374 w 1511813"/>
                <a:gd name="connsiteY70" fmla="*/ 262821 h 1516973"/>
                <a:gd name="connsiteX71" fmla="*/ 1232346 w 1511813"/>
                <a:gd name="connsiteY71" fmla="*/ 174589 h 1516973"/>
                <a:gd name="connsiteX72" fmla="*/ 1247825 w 1511813"/>
                <a:gd name="connsiteY72" fmla="*/ 175621 h 1516973"/>
                <a:gd name="connsiteX73" fmla="*/ 1384559 w 1511813"/>
                <a:gd name="connsiteY73" fmla="*/ 325770 h 1516973"/>
                <a:gd name="connsiteX74" fmla="*/ 1384043 w 1511813"/>
                <a:gd name="connsiteY74" fmla="*/ 342798 h 1516973"/>
                <a:gd name="connsiteX75" fmla="*/ 1336057 w 1511813"/>
                <a:gd name="connsiteY75" fmla="*/ 396975 h 1516973"/>
                <a:gd name="connsiteX76" fmla="*/ 1291167 w 1511813"/>
                <a:gd name="connsiteY76" fmla="*/ 426902 h 1516973"/>
                <a:gd name="connsiteX77" fmla="*/ 1284976 w 1511813"/>
                <a:gd name="connsiteY77" fmla="*/ 451153 h 1516973"/>
                <a:gd name="connsiteX78" fmla="*/ 1316450 w 1511813"/>
                <a:gd name="connsiteY78" fmla="*/ 513070 h 1516973"/>
                <a:gd name="connsiteX79" fmla="*/ 1330898 w 1511813"/>
                <a:gd name="connsiteY79" fmla="*/ 519262 h 1516973"/>
                <a:gd name="connsiteX80" fmla="*/ 1447509 w 1511813"/>
                <a:gd name="connsiteY80" fmla="*/ 491399 h 1516973"/>
                <a:gd name="connsiteX81" fmla="*/ 1458860 w 1511813"/>
                <a:gd name="connsiteY81" fmla="*/ 489851 h 1516973"/>
                <a:gd name="connsiteX82" fmla="*/ 1473307 w 1511813"/>
                <a:gd name="connsiteY82" fmla="*/ 499139 h 1516973"/>
                <a:gd name="connsiteX83" fmla="*/ 1513554 w 1511813"/>
                <a:gd name="connsiteY83" fmla="*/ 675603 h 1516973"/>
                <a:gd name="connsiteX84" fmla="*/ 1514070 w 1511813"/>
                <a:gd name="connsiteY84" fmla="*/ 679215 h 1516973"/>
                <a:gd name="connsiteX85" fmla="*/ 1490335 w 1511813"/>
                <a:gd name="connsiteY85" fmla="*/ 717397 h 1516973"/>
                <a:gd name="connsiteX86" fmla="*/ 1379916 w 1511813"/>
                <a:gd name="connsiteY86" fmla="*/ 738036 h 1516973"/>
                <a:gd name="connsiteX87" fmla="*/ 1367532 w 1511813"/>
                <a:gd name="connsiteY87" fmla="*/ 749904 h 1516973"/>
                <a:gd name="connsiteX88" fmla="*/ 1363920 w 1511813"/>
                <a:gd name="connsiteY88" fmla="*/ 822141 h 1516973"/>
                <a:gd name="connsiteX89" fmla="*/ 1375788 w 1511813"/>
                <a:gd name="connsiteY89" fmla="*/ 838136 h 1516973"/>
                <a:gd name="connsiteX90" fmla="*/ 1498590 w 1511813"/>
                <a:gd name="connsiteY90" fmla="*/ 876834 h 1516973"/>
                <a:gd name="connsiteX91" fmla="*/ 1506330 w 1511813"/>
                <a:gd name="connsiteY91" fmla="*/ 891798 h 1516973"/>
                <a:gd name="connsiteX92" fmla="*/ 1444413 w 1511813"/>
                <a:gd name="connsiteY92" fmla="*/ 1085289 h 1516973"/>
                <a:gd name="connsiteX93" fmla="*/ 1429449 w 1511813"/>
                <a:gd name="connsiteY93" fmla="*/ 1093029 h 1516973"/>
                <a:gd name="connsiteX94" fmla="*/ 1306647 w 1511813"/>
                <a:gd name="connsiteY94" fmla="*/ 1052783 h 1516973"/>
                <a:gd name="connsiteX95" fmla="*/ 1287556 w 1511813"/>
                <a:gd name="connsiteY95" fmla="*/ 1057942 h 1516973"/>
                <a:gd name="connsiteX96" fmla="*/ 1248857 w 1511813"/>
                <a:gd name="connsiteY96" fmla="*/ 1118828 h 1516973"/>
                <a:gd name="connsiteX97" fmla="*/ 1250405 w 1511813"/>
                <a:gd name="connsiteY97" fmla="*/ 1135339 h 1516973"/>
                <a:gd name="connsiteX98" fmla="*/ 1339153 w 1511813"/>
                <a:gd name="connsiteY98" fmla="*/ 1230795 h 1516973"/>
                <a:gd name="connsiteX99" fmla="*/ 1337605 w 1511813"/>
                <a:gd name="connsiteY99" fmla="*/ 1249370 h 1516973"/>
                <a:gd name="connsiteX100" fmla="*/ 1189004 w 1511813"/>
                <a:gd name="connsiteY100" fmla="*/ 1384040 h 1516973"/>
                <a:gd name="connsiteX101" fmla="*/ 1170945 w 1511813"/>
                <a:gd name="connsiteY101" fmla="*/ 1383524 h 1516973"/>
                <a:gd name="connsiteX102" fmla="*/ 1118831 w 1511813"/>
                <a:gd name="connsiteY102" fmla="*/ 1337602 h 1516973"/>
                <a:gd name="connsiteX103" fmla="*/ 1086840 w 1511813"/>
                <a:gd name="connsiteY103" fmla="*/ 1289616 h 1516973"/>
                <a:gd name="connsiteX104" fmla="*/ 1064137 w 1511813"/>
                <a:gd name="connsiteY104" fmla="*/ 1284456 h 1516973"/>
                <a:gd name="connsiteX105" fmla="*/ 1002220 w 1511813"/>
                <a:gd name="connsiteY105" fmla="*/ 1316447 h 1516973"/>
                <a:gd name="connsiteX106" fmla="*/ 996028 w 1511813"/>
                <a:gd name="connsiteY106" fmla="*/ 1332958 h 1516973"/>
                <a:gd name="connsiteX107" fmla="*/ 1022859 w 1511813"/>
                <a:gd name="connsiteY107" fmla="*/ 1446989 h 1516973"/>
                <a:gd name="connsiteX108" fmla="*/ 1024407 w 1511813"/>
                <a:gd name="connsiteY108" fmla="*/ 1459889 h 1516973"/>
                <a:gd name="connsiteX109" fmla="*/ 1015636 w 1511813"/>
                <a:gd name="connsiteY109" fmla="*/ 1473304 h 1516973"/>
                <a:gd name="connsiteX110" fmla="*/ 817500 w 1511813"/>
                <a:gd name="connsiteY110" fmla="*/ 1518710 h 1516973"/>
                <a:gd name="connsiteX111" fmla="*/ 758163 w 1511813"/>
                <a:gd name="connsiteY111" fmla="*/ 1148238 h 1516973"/>
                <a:gd name="connsiteX112" fmla="*/ 1145146 w 1511813"/>
                <a:gd name="connsiteY112" fmla="*/ 758675 h 1516973"/>
                <a:gd name="connsiteX113" fmla="*/ 757131 w 1511813"/>
                <a:gd name="connsiteY113" fmla="*/ 371176 h 1516973"/>
                <a:gd name="connsiteX114" fmla="*/ 368600 w 1511813"/>
                <a:gd name="connsiteY114" fmla="*/ 759707 h 1516973"/>
                <a:gd name="connsiteX115" fmla="*/ 758163 w 1511813"/>
                <a:gd name="connsiteY115" fmla="*/ 1148238 h 1516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</a:cxnLst>
              <a:rect l="l" t="t" r="r" b="b"/>
              <a:pathLst>
                <a:path w="1511813" h="1516973">
                  <a:moveTo>
                    <a:pt x="817500" y="1518710"/>
                  </a:moveTo>
                  <a:cubicBezTo>
                    <a:pt x="809245" y="1520774"/>
                    <a:pt x="805633" y="1516130"/>
                    <a:pt x="802537" y="1507875"/>
                  </a:cubicBezTo>
                  <a:cubicBezTo>
                    <a:pt x="795829" y="1486204"/>
                    <a:pt x="788090" y="1464532"/>
                    <a:pt x="780866" y="1442862"/>
                  </a:cubicBezTo>
                  <a:cubicBezTo>
                    <a:pt x="774674" y="1424286"/>
                    <a:pt x="777770" y="1404679"/>
                    <a:pt x="776738" y="1385072"/>
                  </a:cubicBezTo>
                  <a:cubicBezTo>
                    <a:pt x="776222" y="1369593"/>
                    <a:pt x="775706" y="1370109"/>
                    <a:pt x="760227" y="1369593"/>
                  </a:cubicBezTo>
                  <a:cubicBezTo>
                    <a:pt x="738556" y="1369593"/>
                    <a:pt x="716369" y="1368045"/>
                    <a:pt x="694698" y="1366497"/>
                  </a:cubicBezTo>
                  <a:cubicBezTo>
                    <a:pt x="683346" y="1365465"/>
                    <a:pt x="676638" y="1365981"/>
                    <a:pt x="676638" y="1379912"/>
                  </a:cubicBezTo>
                  <a:cubicBezTo>
                    <a:pt x="676638" y="1424286"/>
                    <a:pt x="655483" y="1462469"/>
                    <a:pt x="637940" y="1501683"/>
                  </a:cubicBezTo>
                  <a:cubicBezTo>
                    <a:pt x="634844" y="1508907"/>
                    <a:pt x="630716" y="1510454"/>
                    <a:pt x="622977" y="1508907"/>
                  </a:cubicBezTo>
                  <a:cubicBezTo>
                    <a:pt x="556416" y="1496523"/>
                    <a:pt x="492434" y="1475368"/>
                    <a:pt x="430517" y="1447505"/>
                  </a:cubicBezTo>
                  <a:cubicBezTo>
                    <a:pt x="423294" y="1443893"/>
                    <a:pt x="420198" y="1440282"/>
                    <a:pt x="422262" y="1431510"/>
                  </a:cubicBezTo>
                  <a:cubicBezTo>
                    <a:pt x="427421" y="1409323"/>
                    <a:pt x="431033" y="1386620"/>
                    <a:pt x="435677" y="1364433"/>
                  </a:cubicBezTo>
                  <a:cubicBezTo>
                    <a:pt x="439805" y="1344310"/>
                    <a:pt x="452704" y="1327798"/>
                    <a:pt x="461992" y="1310255"/>
                  </a:cubicBezTo>
                  <a:cubicBezTo>
                    <a:pt x="467152" y="1300452"/>
                    <a:pt x="466120" y="1295808"/>
                    <a:pt x="456316" y="1290132"/>
                  </a:cubicBezTo>
                  <a:cubicBezTo>
                    <a:pt x="435677" y="1278265"/>
                    <a:pt x="415554" y="1264849"/>
                    <a:pt x="395431" y="1251434"/>
                  </a:cubicBezTo>
                  <a:cubicBezTo>
                    <a:pt x="388207" y="1246274"/>
                    <a:pt x="383563" y="1246274"/>
                    <a:pt x="378919" y="1254014"/>
                  </a:cubicBezTo>
                  <a:cubicBezTo>
                    <a:pt x="356216" y="1293228"/>
                    <a:pt x="319066" y="1317479"/>
                    <a:pt x="283464" y="1342246"/>
                  </a:cubicBezTo>
                  <a:cubicBezTo>
                    <a:pt x="276240" y="1346890"/>
                    <a:pt x="272112" y="1346374"/>
                    <a:pt x="265920" y="1341214"/>
                  </a:cubicBezTo>
                  <a:cubicBezTo>
                    <a:pt x="214323" y="1297356"/>
                    <a:pt x="169433" y="1246790"/>
                    <a:pt x="130218" y="1191580"/>
                  </a:cubicBezTo>
                  <a:cubicBezTo>
                    <a:pt x="125575" y="1185389"/>
                    <a:pt x="125059" y="1180745"/>
                    <a:pt x="130734" y="1174553"/>
                  </a:cubicBezTo>
                  <a:cubicBezTo>
                    <a:pt x="146730" y="1157010"/>
                    <a:pt x="161177" y="1138435"/>
                    <a:pt x="177688" y="1121408"/>
                  </a:cubicBezTo>
                  <a:cubicBezTo>
                    <a:pt x="191104" y="1107476"/>
                    <a:pt x="209163" y="1099221"/>
                    <a:pt x="225674" y="1089417"/>
                  </a:cubicBezTo>
                  <a:cubicBezTo>
                    <a:pt x="236510" y="1083225"/>
                    <a:pt x="237026" y="1078065"/>
                    <a:pt x="230834" y="1067230"/>
                  </a:cubicBezTo>
                  <a:cubicBezTo>
                    <a:pt x="218967" y="1047107"/>
                    <a:pt x="208647" y="1025436"/>
                    <a:pt x="198327" y="1004281"/>
                  </a:cubicBezTo>
                  <a:cubicBezTo>
                    <a:pt x="194716" y="997057"/>
                    <a:pt x="192136" y="993445"/>
                    <a:pt x="183880" y="998089"/>
                  </a:cubicBezTo>
                  <a:cubicBezTo>
                    <a:pt x="147246" y="1017180"/>
                    <a:pt x="108031" y="1024920"/>
                    <a:pt x="67269" y="1025952"/>
                  </a:cubicBezTo>
                  <a:cubicBezTo>
                    <a:pt x="63657" y="1025952"/>
                    <a:pt x="59529" y="1026984"/>
                    <a:pt x="55918" y="1027500"/>
                  </a:cubicBezTo>
                  <a:cubicBezTo>
                    <a:pt x="48694" y="1028532"/>
                    <a:pt x="44050" y="1025952"/>
                    <a:pt x="41470" y="1018212"/>
                  </a:cubicBezTo>
                  <a:cubicBezTo>
                    <a:pt x="21347" y="960939"/>
                    <a:pt x="6384" y="902117"/>
                    <a:pt x="1224" y="841748"/>
                  </a:cubicBezTo>
                  <a:cubicBezTo>
                    <a:pt x="-1872" y="808725"/>
                    <a:pt x="-1356" y="809241"/>
                    <a:pt x="30635" y="797374"/>
                  </a:cubicBezTo>
                  <a:cubicBezTo>
                    <a:pt x="64173" y="784474"/>
                    <a:pt x="98744" y="775703"/>
                    <a:pt x="134862" y="778799"/>
                  </a:cubicBezTo>
                  <a:cubicBezTo>
                    <a:pt x="144150" y="779315"/>
                    <a:pt x="147246" y="775187"/>
                    <a:pt x="147246" y="765899"/>
                  </a:cubicBezTo>
                  <a:cubicBezTo>
                    <a:pt x="147246" y="742680"/>
                    <a:pt x="148278" y="719461"/>
                    <a:pt x="150342" y="696242"/>
                  </a:cubicBezTo>
                  <a:cubicBezTo>
                    <a:pt x="151373" y="685923"/>
                    <a:pt x="150858" y="678699"/>
                    <a:pt x="137442" y="678699"/>
                  </a:cubicBezTo>
                  <a:cubicBezTo>
                    <a:pt x="92552" y="678699"/>
                    <a:pt x="53854" y="657544"/>
                    <a:pt x="14639" y="639485"/>
                  </a:cubicBezTo>
                  <a:cubicBezTo>
                    <a:pt x="7932" y="636389"/>
                    <a:pt x="6384" y="632261"/>
                    <a:pt x="7932" y="625037"/>
                  </a:cubicBezTo>
                  <a:cubicBezTo>
                    <a:pt x="20315" y="558476"/>
                    <a:pt x="40954" y="494495"/>
                    <a:pt x="69333" y="432578"/>
                  </a:cubicBezTo>
                  <a:cubicBezTo>
                    <a:pt x="72945" y="424838"/>
                    <a:pt x="77073" y="421742"/>
                    <a:pt x="86360" y="423806"/>
                  </a:cubicBezTo>
                  <a:cubicBezTo>
                    <a:pt x="107515" y="428450"/>
                    <a:pt x="129186" y="432578"/>
                    <a:pt x="150858" y="436706"/>
                  </a:cubicBezTo>
                  <a:cubicBezTo>
                    <a:pt x="171497" y="440833"/>
                    <a:pt x="188008" y="453733"/>
                    <a:pt x="206583" y="463536"/>
                  </a:cubicBezTo>
                  <a:cubicBezTo>
                    <a:pt x="216903" y="468696"/>
                    <a:pt x="221546" y="467664"/>
                    <a:pt x="227738" y="457345"/>
                  </a:cubicBezTo>
                  <a:cubicBezTo>
                    <a:pt x="239606" y="436706"/>
                    <a:pt x="253021" y="416582"/>
                    <a:pt x="266952" y="396459"/>
                  </a:cubicBezTo>
                  <a:cubicBezTo>
                    <a:pt x="271596" y="389752"/>
                    <a:pt x="271596" y="385108"/>
                    <a:pt x="264373" y="380980"/>
                  </a:cubicBezTo>
                  <a:cubicBezTo>
                    <a:pt x="225158" y="357761"/>
                    <a:pt x="200391" y="320611"/>
                    <a:pt x="175108" y="284492"/>
                  </a:cubicBezTo>
                  <a:cubicBezTo>
                    <a:pt x="170465" y="277785"/>
                    <a:pt x="170981" y="273657"/>
                    <a:pt x="176140" y="267981"/>
                  </a:cubicBezTo>
                  <a:cubicBezTo>
                    <a:pt x="219998" y="216383"/>
                    <a:pt x="270048" y="171493"/>
                    <a:pt x="325258" y="132279"/>
                  </a:cubicBezTo>
                  <a:cubicBezTo>
                    <a:pt x="331966" y="127635"/>
                    <a:pt x="336609" y="126603"/>
                    <a:pt x="343317" y="132795"/>
                  </a:cubicBezTo>
                  <a:cubicBezTo>
                    <a:pt x="360344" y="148274"/>
                    <a:pt x="378404" y="162722"/>
                    <a:pt x="395431" y="178717"/>
                  </a:cubicBezTo>
                  <a:cubicBezTo>
                    <a:pt x="409362" y="191616"/>
                    <a:pt x="416070" y="209160"/>
                    <a:pt x="426389" y="224639"/>
                  </a:cubicBezTo>
                  <a:cubicBezTo>
                    <a:pt x="437741" y="241666"/>
                    <a:pt x="435161" y="240634"/>
                    <a:pt x="451156" y="231347"/>
                  </a:cubicBezTo>
                  <a:cubicBezTo>
                    <a:pt x="470763" y="219995"/>
                    <a:pt x="491403" y="209676"/>
                    <a:pt x="512042" y="200388"/>
                  </a:cubicBezTo>
                  <a:cubicBezTo>
                    <a:pt x="521329" y="196260"/>
                    <a:pt x="522361" y="192132"/>
                    <a:pt x="518233" y="183877"/>
                  </a:cubicBezTo>
                  <a:cubicBezTo>
                    <a:pt x="499142" y="148274"/>
                    <a:pt x="492434" y="109576"/>
                    <a:pt x="491403" y="69846"/>
                  </a:cubicBezTo>
                  <a:cubicBezTo>
                    <a:pt x="491403" y="66234"/>
                    <a:pt x="490371" y="62106"/>
                    <a:pt x="489855" y="58494"/>
                  </a:cubicBezTo>
                  <a:cubicBezTo>
                    <a:pt x="488307" y="50239"/>
                    <a:pt x="491403" y="46111"/>
                    <a:pt x="499658" y="43015"/>
                  </a:cubicBezTo>
                  <a:cubicBezTo>
                    <a:pt x="563123" y="20312"/>
                    <a:pt x="628653" y="6380"/>
                    <a:pt x="695730" y="189"/>
                  </a:cubicBezTo>
                  <a:cubicBezTo>
                    <a:pt x="706049" y="-843"/>
                    <a:pt x="710693" y="2253"/>
                    <a:pt x="713273" y="12056"/>
                  </a:cubicBezTo>
                  <a:cubicBezTo>
                    <a:pt x="715337" y="19796"/>
                    <a:pt x="717917" y="27536"/>
                    <a:pt x="721012" y="35275"/>
                  </a:cubicBezTo>
                  <a:cubicBezTo>
                    <a:pt x="734428" y="67266"/>
                    <a:pt x="741136" y="99772"/>
                    <a:pt x="738556" y="134343"/>
                  </a:cubicBezTo>
                  <a:cubicBezTo>
                    <a:pt x="737524" y="145694"/>
                    <a:pt x="742168" y="148790"/>
                    <a:pt x="753519" y="148790"/>
                  </a:cubicBezTo>
                  <a:cubicBezTo>
                    <a:pt x="775706" y="148274"/>
                    <a:pt x="797893" y="149822"/>
                    <a:pt x="820596" y="151886"/>
                  </a:cubicBezTo>
                  <a:cubicBezTo>
                    <a:pt x="831948" y="152918"/>
                    <a:pt x="838655" y="152402"/>
                    <a:pt x="838655" y="138471"/>
                  </a:cubicBezTo>
                  <a:cubicBezTo>
                    <a:pt x="838655" y="94097"/>
                    <a:pt x="859810" y="55914"/>
                    <a:pt x="877354" y="16700"/>
                  </a:cubicBezTo>
                  <a:cubicBezTo>
                    <a:pt x="880449" y="9476"/>
                    <a:pt x="885093" y="7928"/>
                    <a:pt x="892317" y="9476"/>
                  </a:cubicBezTo>
                  <a:cubicBezTo>
                    <a:pt x="958878" y="21860"/>
                    <a:pt x="1022859" y="42499"/>
                    <a:pt x="1084777" y="70878"/>
                  </a:cubicBezTo>
                  <a:cubicBezTo>
                    <a:pt x="1092000" y="74489"/>
                    <a:pt x="1095096" y="78617"/>
                    <a:pt x="1093032" y="86873"/>
                  </a:cubicBezTo>
                  <a:cubicBezTo>
                    <a:pt x="1088388" y="108544"/>
                    <a:pt x="1084261" y="130731"/>
                    <a:pt x="1079617" y="152402"/>
                  </a:cubicBezTo>
                  <a:cubicBezTo>
                    <a:pt x="1075489" y="172525"/>
                    <a:pt x="1062590" y="189036"/>
                    <a:pt x="1053302" y="206580"/>
                  </a:cubicBezTo>
                  <a:cubicBezTo>
                    <a:pt x="1047626" y="217415"/>
                    <a:pt x="1048658" y="222575"/>
                    <a:pt x="1060010" y="228251"/>
                  </a:cubicBezTo>
                  <a:cubicBezTo>
                    <a:pt x="1080133" y="239602"/>
                    <a:pt x="1099740" y="252502"/>
                    <a:pt x="1118315" y="265917"/>
                  </a:cubicBezTo>
                  <a:cubicBezTo>
                    <a:pt x="1126571" y="272109"/>
                    <a:pt x="1131214" y="271593"/>
                    <a:pt x="1136374" y="262821"/>
                  </a:cubicBezTo>
                  <a:cubicBezTo>
                    <a:pt x="1159077" y="223607"/>
                    <a:pt x="1196744" y="199872"/>
                    <a:pt x="1232346" y="174589"/>
                  </a:cubicBezTo>
                  <a:cubicBezTo>
                    <a:pt x="1238538" y="170461"/>
                    <a:pt x="1242666" y="170977"/>
                    <a:pt x="1247825" y="175621"/>
                  </a:cubicBezTo>
                  <a:cubicBezTo>
                    <a:pt x="1299939" y="219995"/>
                    <a:pt x="1345345" y="270045"/>
                    <a:pt x="1384559" y="325770"/>
                  </a:cubicBezTo>
                  <a:cubicBezTo>
                    <a:pt x="1389203" y="331962"/>
                    <a:pt x="1389719" y="336606"/>
                    <a:pt x="1384043" y="342798"/>
                  </a:cubicBezTo>
                  <a:cubicBezTo>
                    <a:pt x="1368048" y="360857"/>
                    <a:pt x="1352569" y="379432"/>
                    <a:pt x="1336057" y="396975"/>
                  </a:cubicBezTo>
                  <a:cubicBezTo>
                    <a:pt x="1323674" y="409875"/>
                    <a:pt x="1306131" y="417098"/>
                    <a:pt x="1291167" y="426902"/>
                  </a:cubicBezTo>
                  <a:cubicBezTo>
                    <a:pt x="1276720" y="436706"/>
                    <a:pt x="1276720" y="436190"/>
                    <a:pt x="1284976" y="451153"/>
                  </a:cubicBezTo>
                  <a:cubicBezTo>
                    <a:pt x="1295811" y="471792"/>
                    <a:pt x="1306647" y="492431"/>
                    <a:pt x="1316450" y="513070"/>
                  </a:cubicBezTo>
                  <a:cubicBezTo>
                    <a:pt x="1320062" y="520294"/>
                    <a:pt x="1323158" y="523390"/>
                    <a:pt x="1330898" y="519262"/>
                  </a:cubicBezTo>
                  <a:cubicBezTo>
                    <a:pt x="1367532" y="500171"/>
                    <a:pt x="1406746" y="492431"/>
                    <a:pt x="1447509" y="491399"/>
                  </a:cubicBezTo>
                  <a:cubicBezTo>
                    <a:pt x="1451120" y="491399"/>
                    <a:pt x="1455248" y="490367"/>
                    <a:pt x="1458860" y="489851"/>
                  </a:cubicBezTo>
                  <a:cubicBezTo>
                    <a:pt x="1466600" y="488819"/>
                    <a:pt x="1470728" y="491399"/>
                    <a:pt x="1473307" y="499139"/>
                  </a:cubicBezTo>
                  <a:cubicBezTo>
                    <a:pt x="1493431" y="556412"/>
                    <a:pt x="1508394" y="615234"/>
                    <a:pt x="1513554" y="675603"/>
                  </a:cubicBezTo>
                  <a:cubicBezTo>
                    <a:pt x="1513554" y="676635"/>
                    <a:pt x="1513554" y="678183"/>
                    <a:pt x="1514070" y="679215"/>
                  </a:cubicBezTo>
                  <a:cubicBezTo>
                    <a:pt x="1518713" y="714301"/>
                    <a:pt x="1519745" y="706046"/>
                    <a:pt x="1490335" y="717397"/>
                  </a:cubicBezTo>
                  <a:cubicBezTo>
                    <a:pt x="1454732" y="730813"/>
                    <a:pt x="1418614" y="741648"/>
                    <a:pt x="1379916" y="738036"/>
                  </a:cubicBezTo>
                  <a:cubicBezTo>
                    <a:pt x="1371144" y="737004"/>
                    <a:pt x="1368048" y="740616"/>
                    <a:pt x="1367532" y="749904"/>
                  </a:cubicBezTo>
                  <a:cubicBezTo>
                    <a:pt x="1367016" y="774155"/>
                    <a:pt x="1365984" y="797890"/>
                    <a:pt x="1363920" y="822141"/>
                  </a:cubicBezTo>
                  <a:cubicBezTo>
                    <a:pt x="1363404" y="831944"/>
                    <a:pt x="1363920" y="838136"/>
                    <a:pt x="1375788" y="838136"/>
                  </a:cubicBezTo>
                  <a:cubicBezTo>
                    <a:pt x="1420678" y="838136"/>
                    <a:pt x="1459376" y="858775"/>
                    <a:pt x="1498590" y="876834"/>
                  </a:cubicBezTo>
                  <a:cubicBezTo>
                    <a:pt x="1505298" y="879930"/>
                    <a:pt x="1507878" y="883542"/>
                    <a:pt x="1506330" y="891798"/>
                  </a:cubicBezTo>
                  <a:cubicBezTo>
                    <a:pt x="1493947" y="958875"/>
                    <a:pt x="1472791" y="1023372"/>
                    <a:pt x="1444413" y="1085289"/>
                  </a:cubicBezTo>
                  <a:cubicBezTo>
                    <a:pt x="1441317" y="1092513"/>
                    <a:pt x="1437189" y="1094577"/>
                    <a:pt x="1429449" y="1093029"/>
                  </a:cubicBezTo>
                  <a:cubicBezTo>
                    <a:pt x="1386623" y="1085289"/>
                    <a:pt x="1343797" y="1078581"/>
                    <a:pt x="1306647" y="1052783"/>
                  </a:cubicBezTo>
                  <a:cubicBezTo>
                    <a:pt x="1297875" y="1046591"/>
                    <a:pt x="1293231" y="1048655"/>
                    <a:pt x="1287556" y="1057942"/>
                  </a:cubicBezTo>
                  <a:cubicBezTo>
                    <a:pt x="1275688" y="1078581"/>
                    <a:pt x="1262273" y="1098705"/>
                    <a:pt x="1248857" y="1118828"/>
                  </a:cubicBezTo>
                  <a:cubicBezTo>
                    <a:pt x="1244214" y="1125535"/>
                    <a:pt x="1242150" y="1130179"/>
                    <a:pt x="1250405" y="1135339"/>
                  </a:cubicBezTo>
                  <a:cubicBezTo>
                    <a:pt x="1289620" y="1158558"/>
                    <a:pt x="1313871" y="1194676"/>
                    <a:pt x="1339153" y="1230795"/>
                  </a:cubicBezTo>
                  <a:cubicBezTo>
                    <a:pt x="1344313" y="1238018"/>
                    <a:pt x="1343797" y="1242662"/>
                    <a:pt x="1337605" y="1249370"/>
                  </a:cubicBezTo>
                  <a:cubicBezTo>
                    <a:pt x="1293747" y="1300968"/>
                    <a:pt x="1244214" y="1345342"/>
                    <a:pt x="1189004" y="1384040"/>
                  </a:cubicBezTo>
                  <a:cubicBezTo>
                    <a:pt x="1182296" y="1388684"/>
                    <a:pt x="1177652" y="1389716"/>
                    <a:pt x="1170945" y="1383524"/>
                  </a:cubicBezTo>
                  <a:cubicBezTo>
                    <a:pt x="1153918" y="1368045"/>
                    <a:pt x="1135858" y="1353597"/>
                    <a:pt x="1118831" y="1337602"/>
                  </a:cubicBezTo>
                  <a:cubicBezTo>
                    <a:pt x="1104384" y="1324187"/>
                    <a:pt x="1096644" y="1306128"/>
                    <a:pt x="1086840" y="1289616"/>
                  </a:cubicBezTo>
                  <a:cubicBezTo>
                    <a:pt x="1080133" y="1278265"/>
                    <a:pt x="1074973" y="1277749"/>
                    <a:pt x="1064137" y="1284456"/>
                  </a:cubicBezTo>
                  <a:cubicBezTo>
                    <a:pt x="1044530" y="1296324"/>
                    <a:pt x="1023375" y="1306643"/>
                    <a:pt x="1002220" y="1316447"/>
                  </a:cubicBezTo>
                  <a:cubicBezTo>
                    <a:pt x="993449" y="1320575"/>
                    <a:pt x="991385" y="1324703"/>
                    <a:pt x="996028" y="1332958"/>
                  </a:cubicBezTo>
                  <a:cubicBezTo>
                    <a:pt x="1015120" y="1368561"/>
                    <a:pt x="1021827" y="1407259"/>
                    <a:pt x="1022859" y="1446989"/>
                  </a:cubicBezTo>
                  <a:cubicBezTo>
                    <a:pt x="1022859" y="1451117"/>
                    <a:pt x="1023891" y="1455245"/>
                    <a:pt x="1024407" y="1459889"/>
                  </a:cubicBezTo>
                  <a:cubicBezTo>
                    <a:pt x="1025439" y="1466596"/>
                    <a:pt x="1022859" y="1470724"/>
                    <a:pt x="1015636" y="1473304"/>
                  </a:cubicBezTo>
                  <a:cubicBezTo>
                    <a:pt x="970745" y="1493943"/>
                    <a:pt x="870646" y="1516130"/>
                    <a:pt x="817500" y="1518710"/>
                  </a:cubicBezTo>
                  <a:close/>
                  <a:moveTo>
                    <a:pt x="758163" y="1148238"/>
                  </a:moveTo>
                  <a:cubicBezTo>
                    <a:pt x="974357" y="1144627"/>
                    <a:pt x="1145146" y="976418"/>
                    <a:pt x="1145146" y="758675"/>
                  </a:cubicBezTo>
                  <a:cubicBezTo>
                    <a:pt x="1145146" y="542481"/>
                    <a:pt x="974357" y="371176"/>
                    <a:pt x="757131" y="371176"/>
                  </a:cubicBezTo>
                  <a:cubicBezTo>
                    <a:pt x="539904" y="371176"/>
                    <a:pt x="368600" y="542481"/>
                    <a:pt x="368600" y="759707"/>
                  </a:cubicBezTo>
                  <a:cubicBezTo>
                    <a:pt x="369116" y="977966"/>
                    <a:pt x="541452" y="1145659"/>
                    <a:pt x="758163" y="1148238"/>
                  </a:cubicBezTo>
                  <a:close/>
                </a:path>
              </a:pathLst>
            </a:custGeom>
            <a:grpFill/>
            <a:ln w="51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E3C86351-4A7B-4A01-A872-297FC5E76705}"/>
                </a:ext>
              </a:extLst>
            </p:cNvPr>
            <p:cNvGrpSpPr/>
            <p:nvPr/>
          </p:nvGrpSpPr>
          <p:grpSpPr>
            <a:xfrm>
              <a:off x="3563163" y="3556278"/>
              <a:ext cx="1218879" cy="1218879"/>
              <a:chOff x="3264582" y="1870309"/>
              <a:chExt cx="1774962" cy="1774962"/>
            </a:xfrm>
            <a:grpFill/>
          </p:grpSpPr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AD4F4732-F596-454F-92F1-65E5E4954D19}"/>
                  </a:ext>
                </a:extLst>
              </p:cNvPr>
              <p:cNvSpPr/>
              <p:nvPr/>
            </p:nvSpPr>
            <p:spPr>
              <a:xfrm>
                <a:off x="3264582" y="1870309"/>
                <a:ext cx="1774962" cy="1774962"/>
              </a:xfrm>
              <a:custGeom>
                <a:avLst/>
                <a:gdLst>
                  <a:gd name="connsiteX0" fmla="*/ 894776 w 1774962"/>
                  <a:gd name="connsiteY0" fmla="*/ 1775736 h 1774962"/>
                  <a:gd name="connsiteX1" fmla="*/ 852466 w 1774962"/>
                  <a:gd name="connsiteY1" fmla="*/ 1775736 h 1774962"/>
                  <a:gd name="connsiteX2" fmla="*/ 839567 w 1774962"/>
                  <a:gd name="connsiteY2" fmla="*/ 1764901 h 1774962"/>
                  <a:gd name="connsiteX3" fmla="*/ 819960 w 1774962"/>
                  <a:gd name="connsiteY3" fmla="*/ 1666349 h 1774962"/>
                  <a:gd name="connsiteX4" fmla="*/ 822024 w 1774962"/>
                  <a:gd name="connsiteY4" fmla="*/ 1636938 h 1774962"/>
                  <a:gd name="connsiteX5" fmla="*/ 811704 w 1774962"/>
                  <a:gd name="connsiteY5" fmla="*/ 1623523 h 1774962"/>
                  <a:gd name="connsiteX6" fmla="*/ 695093 w 1774962"/>
                  <a:gd name="connsiteY6" fmla="*/ 1601852 h 1774962"/>
                  <a:gd name="connsiteX7" fmla="*/ 680130 w 1774962"/>
                  <a:gd name="connsiteY7" fmla="*/ 1610623 h 1774962"/>
                  <a:gd name="connsiteX8" fmla="*/ 615116 w 1774962"/>
                  <a:gd name="connsiteY8" fmla="*/ 1727234 h 1774962"/>
                  <a:gd name="connsiteX9" fmla="*/ 603765 w 1774962"/>
                  <a:gd name="connsiteY9" fmla="*/ 1730330 h 1774962"/>
                  <a:gd name="connsiteX10" fmla="*/ 512953 w 1774962"/>
                  <a:gd name="connsiteY10" fmla="*/ 1694212 h 1774962"/>
                  <a:gd name="connsiteX11" fmla="*/ 507277 w 1774962"/>
                  <a:gd name="connsiteY11" fmla="*/ 1681828 h 1774962"/>
                  <a:gd name="connsiteX12" fmla="*/ 527400 w 1774962"/>
                  <a:gd name="connsiteY12" fmla="*/ 1583277 h 1774962"/>
                  <a:gd name="connsiteX13" fmla="*/ 541848 w 1774962"/>
                  <a:gd name="connsiteY13" fmla="*/ 1552834 h 1774962"/>
                  <a:gd name="connsiteX14" fmla="*/ 537720 w 1774962"/>
                  <a:gd name="connsiteY14" fmla="*/ 1539418 h 1774962"/>
                  <a:gd name="connsiteX15" fmla="*/ 435041 w 1774962"/>
                  <a:gd name="connsiteY15" fmla="*/ 1472857 h 1774962"/>
                  <a:gd name="connsiteX16" fmla="*/ 420593 w 1774962"/>
                  <a:gd name="connsiteY16" fmla="*/ 1474921 h 1774962"/>
                  <a:gd name="connsiteX17" fmla="*/ 315334 w 1774962"/>
                  <a:gd name="connsiteY17" fmla="*/ 1559026 h 1774962"/>
                  <a:gd name="connsiteX18" fmla="*/ 302950 w 1774962"/>
                  <a:gd name="connsiteY18" fmla="*/ 1557478 h 1774962"/>
                  <a:gd name="connsiteX19" fmla="*/ 233809 w 1774962"/>
                  <a:gd name="connsiteY19" fmla="*/ 1490401 h 1774962"/>
                  <a:gd name="connsiteX20" fmla="*/ 232777 w 1774962"/>
                  <a:gd name="connsiteY20" fmla="*/ 1476985 h 1774962"/>
                  <a:gd name="connsiteX21" fmla="*/ 289019 w 1774962"/>
                  <a:gd name="connsiteY21" fmla="*/ 1393397 h 1774962"/>
                  <a:gd name="connsiteX22" fmla="*/ 312754 w 1774962"/>
                  <a:gd name="connsiteY22" fmla="*/ 1371726 h 1774962"/>
                  <a:gd name="connsiteX23" fmla="*/ 314818 w 1774962"/>
                  <a:gd name="connsiteY23" fmla="*/ 1355731 h 1774962"/>
                  <a:gd name="connsiteX24" fmla="*/ 246193 w 1774962"/>
                  <a:gd name="connsiteY24" fmla="*/ 1255631 h 1774962"/>
                  <a:gd name="connsiteX25" fmla="*/ 230713 w 1774962"/>
                  <a:gd name="connsiteY25" fmla="*/ 1253051 h 1774962"/>
                  <a:gd name="connsiteX26" fmla="*/ 102751 w 1774962"/>
                  <a:gd name="connsiteY26" fmla="*/ 1289685 h 1774962"/>
                  <a:gd name="connsiteX27" fmla="*/ 91916 w 1774962"/>
                  <a:gd name="connsiteY27" fmla="*/ 1282978 h 1774962"/>
                  <a:gd name="connsiteX28" fmla="*/ 53733 w 1774962"/>
                  <a:gd name="connsiteY28" fmla="*/ 1194230 h 1774962"/>
                  <a:gd name="connsiteX29" fmla="*/ 58377 w 1774962"/>
                  <a:gd name="connsiteY29" fmla="*/ 1181330 h 1774962"/>
                  <a:gd name="connsiteX30" fmla="*/ 142481 w 1774962"/>
                  <a:gd name="connsiteY30" fmla="*/ 1125605 h 1774962"/>
                  <a:gd name="connsiteX31" fmla="*/ 173956 w 1774962"/>
                  <a:gd name="connsiteY31" fmla="*/ 1114253 h 1774962"/>
                  <a:gd name="connsiteX32" fmla="*/ 180664 w 1774962"/>
                  <a:gd name="connsiteY32" fmla="*/ 1101870 h 1774962"/>
                  <a:gd name="connsiteX33" fmla="*/ 154865 w 1774962"/>
                  <a:gd name="connsiteY33" fmla="*/ 981131 h 1774962"/>
                  <a:gd name="connsiteX34" fmla="*/ 144029 w 1774962"/>
                  <a:gd name="connsiteY34" fmla="*/ 973391 h 1774962"/>
                  <a:gd name="connsiteX35" fmla="*/ 10391 w 1774962"/>
                  <a:gd name="connsiteY35" fmla="*/ 958428 h 1774962"/>
                  <a:gd name="connsiteX36" fmla="*/ 2135 w 1774962"/>
                  <a:gd name="connsiteY36" fmla="*/ 948624 h 1774962"/>
                  <a:gd name="connsiteX37" fmla="*/ 588 w 1774962"/>
                  <a:gd name="connsiteY37" fmla="*/ 850589 h 1774962"/>
                  <a:gd name="connsiteX38" fmla="*/ 10391 w 1774962"/>
                  <a:gd name="connsiteY38" fmla="*/ 840785 h 1774962"/>
                  <a:gd name="connsiteX39" fmla="*/ 110491 w 1774962"/>
                  <a:gd name="connsiteY39" fmla="*/ 820662 h 1774962"/>
                  <a:gd name="connsiteX40" fmla="*/ 139901 w 1774962"/>
                  <a:gd name="connsiteY40" fmla="*/ 822726 h 1774962"/>
                  <a:gd name="connsiteX41" fmla="*/ 153317 w 1774962"/>
                  <a:gd name="connsiteY41" fmla="*/ 811890 h 1774962"/>
                  <a:gd name="connsiteX42" fmla="*/ 174472 w 1774962"/>
                  <a:gd name="connsiteY42" fmla="*/ 696827 h 1774962"/>
                  <a:gd name="connsiteX43" fmla="*/ 164152 w 1774962"/>
                  <a:gd name="connsiteY43" fmla="*/ 680316 h 1774962"/>
                  <a:gd name="connsiteX44" fmla="*/ 49090 w 1774962"/>
                  <a:gd name="connsiteY44" fmla="*/ 615819 h 1774962"/>
                  <a:gd name="connsiteX45" fmla="*/ 45993 w 1774962"/>
                  <a:gd name="connsiteY45" fmla="*/ 606015 h 1774962"/>
                  <a:gd name="connsiteX46" fmla="*/ 82628 w 1774962"/>
                  <a:gd name="connsiteY46" fmla="*/ 513655 h 1774962"/>
                  <a:gd name="connsiteX47" fmla="*/ 93979 w 1774962"/>
                  <a:gd name="connsiteY47" fmla="*/ 508496 h 1774962"/>
                  <a:gd name="connsiteX48" fmla="*/ 224006 w 1774962"/>
                  <a:gd name="connsiteY48" fmla="*/ 543066 h 1774962"/>
                  <a:gd name="connsiteX49" fmla="*/ 236905 w 1774962"/>
                  <a:gd name="connsiteY49" fmla="*/ 538938 h 1774962"/>
                  <a:gd name="connsiteX50" fmla="*/ 302434 w 1774962"/>
                  <a:gd name="connsiteY50" fmla="*/ 437291 h 1774962"/>
                  <a:gd name="connsiteX51" fmla="*/ 302950 w 1774962"/>
                  <a:gd name="connsiteY51" fmla="*/ 423359 h 1774962"/>
                  <a:gd name="connsiteX52" fmla="*/ 238453 w 1774962"/>
                  <a:gd name="connsiteY52" fmla="*/ 346995 h 1774962"/>
                  <a:gd name="connsiteX53" fmla="*/ 228650 w 1774962"/>
                  <a:gd name="connsiteY53" fmla="*/ 333063 h 1774962"/>
                  <a:gd name="connsiteX54" fmla="*/ 230713 w 1774962"/>
                  <a:gd name="connsiteY54" fmla="*/ 290237 h 1774962"/>
                  <a:gd name="connsiteX55" fmla="*/ 283859 w 1774962"/>
                  <a:gd name="connsiteY55" fmla="*/ 236060 h 1774962"/>
                  <a:gd name="connsiteX56" fmla="*/ 300370 w 1774962"/>
                  <a:gd name="connsiteY56" fmla="*/ 234512 h 1774962"/>
                  <a:gd name="connsiteX57" fmla="*/ 380863 w 1774962"/>
                  <a:gd name="connsiteY57" fmla="*/ 288173 h 1774962"/>
                  <a:gd name="connsiteX58" fmla="*/ 403050 w 1774962"/>
                  <a:gd name="connsiteY58" fmla="*/ 311392 h 1774962"/>
                  <a:gd name="connsiteX59" fmla="*/ 422141 w 1774962"/>
                  <a:gd name="connsiteY59" fmla="*/ 313972 h 1774962"/>
                  <a:gd name="connsiteX60" fmla="*/ 519661 w 1774962"/>
                  <a:gd name="connsiteY60" fmla="*/ 246895 h 1774962"/>
                  <a:gd name="connsiteX61" fmla="*/ 524820 w 1774962"/>
                  <a:gd name="connsiteY61" fmla="*/ 233996 h 1774962"/>
                  <a:gd name="connsiteX62" fmla="*/ 492314 w 1774962"/>
                  <a:gd name="connsiteY62" fmla="*/ 127704 h 1774962"/>
                  <a:gd name="connsiteX63" fmla="*/ 514501 w 1774962"/>
                  <a:gd name="connsiteY63" fmla="*/ 82298 h 1774962"/>
                  <a:gd name="connsiteX64" fmla="*/ 578482 w 1774962"/>
                  <a:gd name="connsiteY64" fmla="*/ 55468 h 1774962"/>
                  <a:gd name="connsiteX65" fmla="*/ 595509 w 1774962"/>
                  <a:gd name="connsiteY65" fmla="*/ 60111 h 1774962"/>
                  <a:gd name="connsiteX66" fmla="*/ 648655 w 1774962"/>
                  <a:gd name="connsiteY66" fmla="*/ 139572 h 1774962"/>
                  <a:gd name="connsiteX67" fmla="*/ 661039 w 1774962"/>
                  <a:gd name="connsiteY67" fmla="*/ 172078 h 1774962"/>
                  <a:gd name="connsiteX68" fmla="*/ 675486 w 1774962"/>
                  <a:gd name="connsiteY68" fmla="*/ 180334 h 1774962"/>
                  <a:gd name="connsiteX69" fmla="*/ 792613 w 1774962"/>
                  <a:gd name="connsiteY69" fmla="*/ 155567 h 1774962"/>
                  <a:gd name="connsiteX70" fmla="*/ 801900 w 1774962"/>
                  <a:gd name="connsiteY70" fmla="*/ 143700 h 1774962"/>
                  <a:gd name="connsiteX71" fmla="*/ 816864 w 1774962"/>
                  <a:gd name="connsiteY71" fmla="*/ 11094 h 1774962"/>
                  <a:gd name="connsiteX72" fmla="*/ 826151 w 1774962"/>
                  <a:gd name="connsiteY72" fmla="*/ 2322 h 1774962"/>
                  <a:gd name="connsiteX73" fmla="*/ 925219 w 1774962"/>
                  <a:gd name="connsiteY73" fmla="*/ 774 h 1774962"/>
                  <a:gd name="connsiteX74" fmla="*/ 934507 w 1774962"/>
                  <a:gd name="connsiteY74" fmla="*/ 10062 h 1774962"/>
                  <a:gd name="connsiteX75" fmla="*/ 954114 w 1774962"/>
                  <a:gd name="connsiteY75" fmla="*/ 111193 h 1774962"/>
                  <a:gd name="connsiteX76" fmla="*/ 952050 w 1774962"/>
                  <a:gd name="connsiteY76" fmla="*/ 140604 h 1774962"/>
                  <a:gd name="connsiteX77" fmla="*/ 962369 w 1774962"/>
                  <a:gd name="connsiteY77" fmla="*/ 152987 h 1774962"/>
                  <a:gd name="connsiteX78" fmla="*/ 1078980 w 1774962"/>
                  <a:gd name="connsiteY78" fmla="*/ 174658 h 1774962"/>
                  <a:gd name="connsiteX79" fmla="*/ 1093428 w 1774962"/>
                  <a:gd name="connsiteY79" fmla="*/ 168467 h 1774962"/>
                  <a:gd name="connsiteX80" fmla="*/ 1147089 w 1774962"/>
                  <a:gd name="connsiteY80" fmla="*/ 69399 h 1774962"/>
                  <a:gd name="connsiteX81" fmla="*/ 1192495 w 1774962"/>
                  <a:gd name="connsiteY81" fmla="*/ 54436 h 1774962"/>
                  <a:gd name="connsiteX82" fmla="*/ 1258024 w 1774962"/>
                  <a:gd name="connsiteY82" fmla="*/ 81266 h 1774962"/>
                  <a:gd name="connsiteX83" fmla="*/ 1267312 w 1774962"/>
                  <a:gd name="connsiteY83" fmla="*/ 96746 h 1774962"/>
                  <a:gd name="connsiteX84" fmla="*/ 1247705 w 1774962"/>
                  <a:gd name="connsiteY84" fmla="*/ 192718 h 1774962"/>
                  <a:gd name="connsiteX85" fmla="*/ 1233258 w 1774962"/>
                  <a:gd name="connsiteY85" fmla="*/ 224192 h 1774962"/>
                  <a:gd name="connsiteX86" fmla="*/ 1237385 w 1774962"/>
                  <a:gd name="connsiteY86" fmla="*/ 237608 h 1774962"/>
                  <a:gd name="connsiteX87" fmla="*/ 1340065 w 1774962"/>
                  <a:gd name="connsiteY87" fmla="*/ 304169 h 1774962"/>
                  <a:gd name="connsiteX88" fmla="*/ 1354512 w 1774962"/>
                  <a:gd name="connsiteY88" fmla="*/ 302621 h 1774962"/>
                  <a:gd name="connsiteX89" fmla="*/ 1459771 w 1774962"/>
                  <a:gd name="connsiteY89" fmla="*/ 218516 h 1774962"/>
                  <a:gd name="connsiteX90" fmla="*/ 1472155 w 1774962"/>
                  <a:gd name="connsiteY90" fmla="*/ 220064 h 1774962"/>
                  <a:gd name="connsiteX91" fmla="*/ 1541296 w 1774962"/>
                  <a:gd name="connsiteY91" fmla="*/ 287657 h 1774962"/>
                  <a:gd name="connsiteX92" fmla="*/ 1542328 w 1774962"/>
                  <a:gd name="connsiteY92" fmla="*/ 301073 h 1774962"/>
                  <a:gd name="connsiteX93" fmla="*/ 1485570 w 1774962"/>
                  <a:gd name="connsiteY93" fmla="*/ 385693 h 1774962"/>
                  <a:gd name="connsiteX94" fmla="*/ 1462868 w 1774962"/>
                  <a:gd name="connsiteY94" fmla="*/ 406332 h 1774962"/>
                  <a:gd name="connsiteX95" fmla="*/ 1460803 w 1774962"/>
                  <a:gd name="connsiteY95" fmla="*/ 422327 h 1774962"/>
                  <a:gd name="connsiteX96" fmla="*/ 1529428 w 1774962"/>
                  <a:gd name="connsiteY96" fmla="*/ 522427 h 1774962"/>
                  <a:gd name="connsiteX97" fmla="*/ 1544908 w 1774962"/>
                  <a:gd name="connsiteY97" fmla="*/ 525007 h 1774962"/>
                  <a:gd name="connsiteX98" fmla="*/ 1672870 w 1774962"/>
                  <a:gd name="connsiteY98" fmla="*/ 488373 h 1774962"/>
                  <a:gd name="connsiteX99" fmla="*/ 1683706 w 1774962"/>
                  <a:gd name="connsiteY99" fmla="*/ 495080 h 1774962"/>
                  <a:gd name="connsiteX100" fmla="*/ 1721888 w 1774962"/>
                  <a:gd name="connsiteY100" fmla="*/ 583828 h 1774962"/>
                  <a:gd name="connsiteX101" fmla="*/ 1717244 w 1774962"/>
                  <a:gd name="connsiteY101" fmla="*/ 596728 h 1774962"/>
                  <a:gd name="connsiteX102" fmla="*/ 1633140 w 1774962"/>
                  <a:gd name="connsiteY102" fmla="*/ 652453 h 1774962"/>
                  <a:gd name="connsiteX103" fmla="*/ 1601665 w 1774962"/>
                  <a:gd name="connsiteY103" fmla="*/ 663805 h 1774962"/>
                  <a:gd name="connsiteX104" fmla="*/ 1594958 w 1774962"/>
                  <a:gd name="connsiteY104" fmla="*/ 676188 h 1774962"/>
                  <a:gd name="connsiteX105" fmla="*/ 1620241 w 1774962"/>
                  <a:gd name="connsiteY105" fmla="*/ 795895 h 1774962"/>
                  <a:gd name="connsiteX106" fmla="*/ 1631076 w 1774962"/>
                  <a:gd name="connsiteY106" fmla="*/ 804667 h 1774962"/>
                  <a:gd name="connsiteX107" fmla="*/ 1763682 w 1774962"/>
                  <a:gd name="connsiteY107" fmla="*/ 819630 h 1774962"/>
                  <a:gd name="connsiteX108" fmla="*/ 1773486 w 1774962"/>
                  <a:gd name="connsiteY108" fmla="*/ 829950 h 1774962"/>
                  <a:gd name="connsiteX109" fmla="*/ 1775034 w 1774962"/>
                  <a:gd name="connsiteY109" fmla="*/ 927985 h 1774962"/>
                  <a:gd name="connsiteX110" fmla="*/ 1766262 w 1774962"/>
                  <a:gd name="connsiteY110" fmla="*/ 937273 h 1774962"/>
                  <a:gd name="connsiteX111" fmla="*/ 1663583 w 1774962"/>
                  <a:gd name="connsiteY111" fmla="*/ 957396 h 1774962"/>
                  <a:gd name="connsiteX112" fmla="*/ 1636752 w 1774962"/>
                  <a:gd name="connsiteY112" fmla="*/ 955332 h 1774962"/>
                  <a:gd name="connsiteX113" fmla="*/ 1622304 w 1774962"/>
                  <a:gd name="connsiteY113" fmla="*/ 966684 h 1774962"/>
                  <a:gd name="connsiteX114" fmla="*/ 1601149 w 1774962"/>
                  <a:gd name="connsiteY114" fmla="*/ 1081746 h 1774962"/>
                  <a:gd name="connsiteX115" fmla="*/ 1610437 w 1774962"/>
                  <a:gd name="connsiteY115" fmla="*/ 1097742 h 1774962"/>
                  <a:gd name="connsiteX116" fmla="*/ 1726016 w 1774962"/>
                  <a:gd name="connsiteY116" fmla="*/ 1161723 h 1774962"/>
                  <a:gd name="connsiteX117" fmla="*/ 1729112 w 1774962"/>
                  <a:gd name="connsiteY117" fmla="*/ 1174107 h 1774962"/>
                  <a:gd name="connsiteX118" fmla="*/ 1693509 w 1774962"/>
                  <a:gd name="connsiteY118" fmla="*/ 1263887 h 1774962"/>
                  <a:gd name="connsiteX119" fmla="*/ 1681126 w 1774962"/>
                  <a:gd name="connsiteY119" fmla="*/ 1270078 h 1774962"/>
                  <a:gd name="connsiteX120" fmla="*/ 1581542 w 1774962"/>
                  <a:gd name="connsiteY120" fmla="*/ 1249955 h 1774962"/>
                  <a:gd name="connsiteX121" fmla="*/ 1552647 w 1774962"/>
                  <a:gd name="connsiteY121" fmla="*/ 1236024 h 1774962"/>
                  <a:gd name="connsiteX122" fmla="*/ 1538200 w 1774962"/>
                  <a:gd name="connsiteY122" fmla="*/ 1240152 h 1774962"/>
                  <a:gd name="connsiteX123" fmla="*/ 1473187 w 1774962"/>
                  <a:gd name="connsiteY123" fmla="*/ 1340767 h 1774962"/>
                  <a:gd name="connsiteX124" fmla="*/ 1475251 w 1774962"/>
                  <a:gd name="connsiteY124" fmla="*/ 1358310 h 1774962"/>
                  <a:gd name="connsiteX125" fmla="*/ 1535104 w 1774962"/>
                  <a:gd name="connsiteY125" fmla="*/ 1430031 h 1774962"/>
                  <a:gd name="connsiteX126" fmla="*/ 1545424 w 1774962"/>
                  <a:gd name="connsiteY126" fmla="*/ 1444995 h 1774962"/>
                  <a:gd name="connsiteX127" fmla="*/ 1542844 w 1774962"/>
                  <a:gd name="connsiteY127" fmla="*/ 1489885 h 1774962"/>
                  <a:gd name="connsiteX128" fmla="*/ 1491246 w 1774962"/>
                  <a:gd name="connsiteY128" fmla="*/ 1542514 h 1774962"/>
                  <a:gd name="connsiteX129" fmla="*/ 1472155 w 1774962"/>
                  <a:gd name="connsiteY129" fmla="*/ 1544062 h 1774962"/>
                  <a:gd name="connsiteX130" fmla="*/ 1393726 w 1774962"/>
                  <a:gd name="connsiteY130" fmla="*/ 1491948 h 1774962"/>
                  <a:gd name="connsiteX131" fmla="*/ 1369992 w 1774962"/>
                  <a:gd name="connsiteY131" fmla="*/ 1466666 h 1774962"/>
                  <a:gd name="connsiteX132" fmla="*/ 1352964 w 1774962"/>
                  <a:gd name="connsiteY132" fmla="*/ 1464602 h 1774962"/>
                  <a:gd name="connsiteX133" fmla="*/ 1254413 w 1774962"/>
                  <a:gd name="connsiteY133" fmla="*/ 1532711 h 1774962"/>
                  <a:gd name="connsiteX134" fmla="*/ 1248737 w 1774962"/>
                  <a:gd name="connsiteY134" fmla="*/ 1544578 h 1774962"/>
                  <a:gd name="connsiteX135" fmla="*/ 1284339 w 1774962"/>
                  <a:gd name="connsiteY135" fmla="*/ 1662221 h 1774962"/>
                  <a:gd name="connsiteX136" fmla="*/ 1268860 w 1774962"/>
                  <a:gd name="connsiteY136" fmla="*/ 1693180 h 1774962"/>
                  <a:gd name="connsiteX137" fmla="*/ 1195591 w 1774962"/>
                  <a:gd name="connsiteY137" fmla="*/ 1724654 h 1774962"/>
                  <a:gd name="connsiteX138" fmla="*/ 1178564 w 1774962"/>
                  <a:gd name="connsiteY138" fmla="*/ 1719495 h 1774962"/>
                  <a:gd name="connsiteX139" fmla="*/ 1125418 w 1774962"/>
                  <a:gd name="connsiteY139" fmla="*/ 1640034 h 1774962"/>
                  <a:gd name="connsiteX140" fmla="*/ 1113035 w 1774962"/>
                  <a:gd name="connsiteY140" fmla="*/ 1606496 h 1774962"/>
                  <a:gd name="connsiteX141" fmla="*/ 1099619 w 1774962"/>
                  <a:gd name="connsiteY141" fmla="*/ 1599272 h 1774962"/>
                  <a:gd name="connsiteX142" fmla="*/ 979913 w 1774962"/>
                  <a:gd name="connsiteY142" fmla="*/ 1624555 h 1774962"/>
                  <a:gd name="connsiteX143" fmla="*/ 972173 w 1774962"/>
                  <a:gd name="connsiteY143" fmla="*/ 1634874 h 1774962"/>
                  <a:gd name="connsiteX144" fmla="*/ 957726 w 1774962"/>
                  <a:gd name="connsiteY144" fmla="*/ 1767481 h 1774962"/>
                  <a:gd name="connsiteX145" fmla="*/ 945858 w 1774962"/>
                  <a:gd name="connsiteY145" fmla="*/ 1777800 h 1774962"/>
                  <a:gd name="connsiteX146" fmla="*/ 895808 w 1774962"/>
                  <a:gd name="connsiteY146" fmla="*/ 1779864 h 1774962"/>
                  <a:gd name="connsiteX147" fmla="*/ 894776 w 1774962"/>
                  <a:gd name="connsiteY147" fmla="*/ 1775736 h 1774962"/>
                  <a:gd name="connsiteX148" fmla="*/ 890648 w 1774962"/>
                  <a:gd name="connsiteY148" fmla="*/ 1454798 h 1774962"/>
                  <a:gd name="connsiteX149" fmla="*/ 1452548 w 1774962"/>
                  <a:gd name="connsiteY149" fmla="*/ 884127 h 1774962"/>
                  <a:gd name="connsiteX150" fmla="*/ 881361 w 1774962"/>
                  <a:gd name="connsiteY150" fmla="*/ 322228 h 1774962"/>
                  <a:gd name="connsiteX151" fmla="*/ 320494 w 1774962"/>
                  <a:gd name="connsiteY151" fmla="*/ 893415 h 1774962"/>
                  <a:gd name="connsiteX152" fmla="*/ 890648 w 1774962"/>
                  <a:gd name="connsiteY152" fmla="*/ 1454798 h 1774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</a:cxnLst>
                <a:rect l="l" t="t" r="r" b="b"/>
                <a:pathLst>
                  <a:path w="1774962" h="1774962">
                    <a:moveTo>
                      <a:pt x="894776" y="1775736"/>
                    </a:moveTo>
                    <a:cubicBezTo>
                      <a:pt x="880845" y="1775736"/>
                      <a:pt x="866397" y="1775736"/>
                      <a:pt x="852466" y="1775736"/>
                    </a:cubicBezTo>
                    <a:cubicBezTo>
                      <a:pt x="844726" y="1775736"/>
                      <a:pt x="840599" y="1772640"/>
                      <a:pt x="839567" y="1764901"/>
                    </a:cubicBezTo>
                    <a:cubicBezTo>
                      <a:pt x="833375" y="1731878"/>
                      <a:pt x="826151" y="1699371"/>
                      <a:pt x="819960" y="1666349"/>
                    </a:cubicBezTo>
                    <a:cubicBezTo>
                      <a:pt x="817896" y="1656545"/>
                      <a:pt x="820992" y="1646742"/>
                      <a:pt x="822024" y="1636938"/>
                    </a:cubicBezTo>
                    <a:cubicBezTo>
                      <a:pt x="823056" y="1628682"/>
                      <a:pt x="820992" y="1624555"/>
                      <a:pt x="811704" y="1623523"/>
                    </a:cubicBezTo>
                    <a:cubicBezTo>
                      <a:pt x="772490" y="1619395"/>
                      <a:pt x="733275" y="1612171"/>
                      <a:pt x="695093" y="1601852"/>
                    </a:cubicBezTo>
                    <a:cubicBezTo>
                      <a:pt x="686837" y="1599788"/>
                      <a:pt x="682194" y="1602368"/>
                      <a:pt x="680130" y="1610623"/>
                    </a:cubicBezTo>
                    <a:cubicBezTo>
                      <a:pt x="669294" y="1655513"/>
                      <a:pt x="636788" y="1688020"/>
                      <a:pt x="615116" y="1727234"/>
                    </a:cubicBezTo>
                    <a:cubicBezTo>
                      <a:pt x="612537" y="1731878"/>
                      <a:pt x="608409" y="1731878"/>
                      <a:pt x="603765" y="1730330"/>
                    </a:cubicBezTo>
                    <a:cubicBezTo>
                      <a:pt x="572807" y="1720011"/>
                      <a:pt x="542364" y="1707627"/>
                      <a:pt x="512953" y="1694212"/>
                    </a:cubicBezTo>
                    <a:cubicBezTo>
                      <a:pt x="506761" y="1691632"/>
                      <a:pt x="506245" y="1686988"/>
                      <a:pt x="507277" y="1681828"/>
                    </a:cubicBezTo>
                    <a:cubicBezTo>
                      <a:pt x="513985" y="1648806"/>
                      <a:pt x="519661" y="1615783"/>
                      <a:pt x="527400" y="1583277"/>
                    </a:cubicBezTo>
                    <a:cubicBezTo>
                      <a:pt x="529980" y="1572441"/>
                      <a:pt x="536172" y="1562637"/>
                      <a:pt x="541848" y="1552834"/>
                    </a:cubicBezTo>
                    <a:cubicBezTo>
                      <a:pt x="545460" y="1546642"/>
                      <a:pt x="544428" y="1543030"/>
                      <a:pt x="537720" y="1539418"/>
                    </a:cubicBezTo>
                    <a:cubicBezTo>
                      <a:pt x="501601" y="1520327"/>
                      <a:pt x="467547" y="1497624"/>
                      <a:pt x="435041" y="1472857"/>
                    </a:cubicBezTo>
                    <a:cubicBezTo>
                      <a:pt x="429365" y="1468214"/>
                      <a:pt x="425237" y="1468214"/>
                      <a:pt x="420593" y="1474921"/>
                    </a:cubicBezTo>
                    <a:cubicBezTo>
                      <a:pt x="393762" y="1512588"/>
                      <a:pt x="350936" y="1531163"/>
                      <a:pt x="315334" y="1559026"/>
                    </a:cubicBezTo>
                    <a:cubicBezTo>
                      <a:pt x="310690" y="1562637"/>
                      <a:pt x="307078" y="1561090"/>
                      <a:pt x="302950" y="1557478"/>
                    </a:cubicBezTo>
                    <a:cubicBezTo>
                      <a:pt x="278699" y="1536323"/>
                      <a:pt x="255996" y="1513104"/>
                      <a:pt x="233809" y="1490401"/>
                    </a:cubicBezTo>
                    <a:cubicBezTo>
                      <a:pt x="229682" y="1485757"/>
                      <a:pt x="229165" y="1482145"/>
                      <a:pt x="232777" y="1476985"/>
                    </a:cubicBezTo>
                    <a:cubicBezTo>
                      <a:pt x="251352" y="1449122"/>
                      <a:pt x="269928" y="1421260"/>
                      <a:pt x="289019" y="1393397"/>
                    </a:cubicBezTo>
                    <a:cubicBezTo>
                      <a:pt x="295210" y="1384625"/>
                      <a:pt x="304498" y="1378949"/>
                      <a:pt x="312754" y="1371726"/>
                    </a:cubicBezTo>
                    <a:cubicBezTo>
                      <a:pt x="318946" y="1366566"/>
                      <a:pt x="319978" y="1361922"/>
                      <a:pt x="314818" y="1355731"/>
                    </a:cubicBezTo>
                    <a:cubicBezTo>
                      <a:pt x="289535" y="1324256"/>
                      <a:pt x="266316" y="1291233"/>
                      <a:pt x="246193" y="1255631"/>
                    </a:cubicBezTo>
                    <a:cubicBezTo>
                      <a:pt x="241549" y="1247375"/>
                      <a:pt x="236905" y="1248923"/>
                      <a:pt x="230713" y="1253051"/>
                    </a:cubicBezTo>
                    <a:cubicBezTo>
                      <a:pt x="191499" y="1277302"/>
                      <a:pt x="145577" y="1277818"/>
                      <a:pt x="102751" y="1289685"/>
                    </a:cubicBezTo>
                    <a:cubicBezTo>
                      <a:pt x="97075" y="1291233"/>
                      <a:pt x="93979" y="1288137"/>
                      <a:pt x="91916" y="1282978"/>
                    </a:cubicBezTo>
                    <a:cubicBezTo>
                      <a:pt x="77984" y="1254083"/>
                      <a:pt x="65085" y="1224156"/>
                      <a:pt x="53733" y="1194230"/>
                    </a:cubicBezTo>
                    <a:cubicBezTo>
                      <a:pt x="51669" y="1188038"/>
                      <a:pt x="53217" y="1184426"/>
                      <a:pt x="58377" y="1181330"/>
                    </a:cubicBezTo>
                    <a:cubicBezTo>
                      <a:pt x="86240" y="1162755"/>
                      <a:pt x="113587" y="1143664"/>
                      <a:pt x="142481" y="1125605"/>
                    </a:cubicBezTo>
                    <a:cubicBezTo>
                      <a:pt x="151769" y="1119929"/>
                      <a:pt x="163120" y="1117349"/>
                      <a:pt x="173956" y="1114253"/>
                    </a:cubicBezTo>
                    <a:cubicBezTo>
                      <a:pt x="180664" y="1112189"/>
                      <a:pt x="182727" y="1109093"/>
                      <a:pt x="180664" y="1101870"/>
                    </a:cubicBezTo>
                    <a:cubicBezTo>
                      <a:pt x="168796" y="1062139"/>
                      <a:pt x="160541" y="1021893"/>
                      <a:pt x="154865" y="981131"/>
                    </a:cubicBezTo>
                    <a:cubicBezTo>
                      <a:pt x="153833" y="974423"/>
                      <a:pt x="150737" y="972359"/>
                      <a:pt x="144029" y="973391"/>
                    </a:cubicBezTo>
                    <a:cubicBezTo>
                      <a:pt x="98107" y="981131"/>
                      <a:pt x="54765" y="963588"/>
                      <a:pt x="10391" y="958428"/>
                    </a:cubicBezTo>
                    <a:cubicBezTo>
                      <a:pt x="4715" y="957912"/>
                      <a:pt x="2652" y="954300"/>
                      <a:pt x="2135" y="948624"/>
                    </a:cubicBezTo>
                    <a:cubicBezTo>
                      <a:pt x="-960" y="916118"/>
                      <a:pt x="72" y="883611"/>
                      <a:pt x="588" y="850589"/>
                    </a:cubicBezTo>
                    <a:cubicBezTo>
                      <a:pt x="588" y="844397"/>
                      <a:pt x="4715" y="841817"/>
                      <a:pt x="10391" y="840785"/>
                    </a:cubicBezTo>
                    <a:cubicBezTo>
                      <a:pt x="43930" y="834077"/>
                      <a:pt x="76952" y="827370"/>
                      <a:pt x="110491" y="820662"/>
                    </a:cubicBezTo>
                    <a:cubicBezTo>
                      <a:pt x="120294" y="818598"/>
                      <a:pt x="130098" y="821694"/>
                      <a:pt x="139901" y="822726"/>
                    </a:cubicBezTo>
                    <a:cubicBezTo>
                      <a:pt x="148157" y="823758"/>
                      <a:pt x="152285" y="820662"/>
                      <a:pt x="153317" y="811890"/>
                    </a:cubicBezTo>
                    <a:cubicBezTo>
                      <a:pt x="157445" y="773192"/>
                      <a:pt x="164668" y="734494"/>
                      <a:pt x="174472" y="696827"/>
                    </a:cubicBezTo>
                    <a:cubicBezTo>
                      <a:pt x="177052" y="687024"/>
                      <a:pt x="173440" y="682380"/>
                      <a:pt x="164152" y="680316"/>
                    </a:cubicBezTo>
                    <a:cubicBezTo>
                      <a:pt x="120294" y="668965"/>
                      <a:pt x="87272" y="636974"/>
                      <a:pt x="49090" y="615819"/>
                    </a:cubicBezTo>
                    <a:cubicBezTo>
                      <a:pt x="44961" y="613755"/>
                      <a:pt x="44961" y="610143"/>
                      <a:pt x="45993" y="606015"/>
                    </a:cubicBezTo>
                    <a:cubicBezTo>
                      <a:pt x="56313" y="574541"/>
                      <a:pt x="69212" y="544098"/>
                      <a:pt x="82628" y="513655"/>
                    </a:cubicBezTo>
                    <a:cubicBezTo>
                      <a:pt x="85208" y="507980"/>
                      <a:pt x="89336" y="506948"/>
                      <a:pt x="93979" y="508496"/>
                    </a:cubicBezTo>
                    <a:cubicBezTo>
                      <a:pt x="137322" y="519847"/>
                      <a:pt x="183760" y="518815"/>
                      <a:pt x="224006" y="543066"/>
                    </a:cubicBezTo>
                    <a:cubicBezTo>
                      <a:pt x="230713" y="547194"/>
                      <a:pt x="233809" y="544614"/>
                      <a:pt x="236905" y="538938"/>
                    </a:cubicBezTo>
                    <a:cubicBezTo>
                      <a:pt x="255996" y="503336"/>
                      <a:pt x="278183" y="469281"/>
                      <a:pt x="302434" y="437291"/>
                    </a:cubicBezTo>
                    <a:cubicBezTo>
                      <a:pt x="305530" y="433163"/>
                      <a:pt x="310690" y="428519"/>
                      <a:pt x="302950" y="423359"/>
                    </a:cubicBezTo>
                    <a:cubicBezTo>
                      <a:pt x="273540" y="404268"/>
                      <a:pt x="258576" y="373826"/>
                      <a:pt x="238453" y="346995"/>
                    </a:cubicBezTo>
                    <a:cubicBezTo>
                      <a:pt x="234841" y="342351"/>
                      <a:pt x="232262" y="337707"/>
                      <a:pt x="228650" y="333063"/>
                    </a:cubicBezTo>
                    <a:cubicBezTo>
                      <a:pt x="212654" y="310360"/>
                      <a:pt x="212138" y="309844"/>
                      <a:pt x="230713" y="290237"/>
                    </a:cubicBezTo>
                    <a:cubicBezTo>
                      <a:pt x="248257" y="271662"/>
                      <a:pt x="266316" y="254119"/>
                      <a:pt x="283859" y="236060"/>
                    </a:cubicBezTo>
                    <a:cubicBezTo>
                      <a:pt x="289535" y="230384"/>
                      <a:pt x="294179" y="229868"/>
                      <a:pt x="300370" y="234512"/>
                    </a:cubicBezTo>
                    <a:cubicBezTo>
                      <a:pt x="327201" y="252571"/>
                      <a:pt x="354032" y="270114"/>
                      <a:pt x="380863" y="288173"/>
                    </a:cubicBezTo>
                    <a:cubicBezTo>
                      <a:pt x="390150" y="294365"/>
                      <a:pt x="396342" y="303137"/>
                      <a:pt x="403050" y="311392"/>
                    </a:cubicBezTo>
                    <a:cubicBezTo>
                      <a:pt x="408726" y="319132"/>
                      <a:pt x="413885" y="320680"/>
                      <a:pt x="422141" y="313972"/>
                    </a:cubicBezTo>
                    <a:cubicBezTo>
                      <a:pt x="452584" y="288689"/>
                      <a:pt x="485606" y="266502"/>
                      <a:pt x="519661" y="246895"/>
                    </a:cubicBezTo>
                    <a:cubicBezTo>
                      <a:pt x="524820" y="243799"/>
                      <a:pt x="529464" y="240703"/>
                      <a:pt x="524820" y="233996"/>
                    </a:cubicBezTo>
                    <a:cubicBezTo>
                      <a:pt x="502633" y="202005"/>
                      <a:pt x="501086" y="163823"/>
                      <a:pt x="492314" y="127704"/>
                    </a:cubicBezTo>
                    <a:cubicBezTo>
                      <a:pt x="484574" y="96230"/>
                      <a:pt x="485606" y="96746"/>
                      <a:pt x="514501" y="82298"/>
                    </a:cubicBezTo>
                    <a:cubicBezTo>
                      <a:pt x="535140" y="71979"/>
                      <a:pt x="557327" y="64239"/>
                      <a:pt x="578482" y="55468"/>
                    </a:cubicBezTo>
                    <a:cubicBezTo>
                      <a:pt x="586222" y="52372"/>
                      <a:pt x="590866" y="52888"/>
                      <a:pt x="595509" y="60111"/>
                    </a:cubicBezTo>
                    <a:cubicBezTo>
                      <a:pt x="613053" y="86942"/>
                      <a:pt x="630596" y="113257"/>
                      <a:pt x="648655" y="139572"/>
                    </a:cubicBezTo>
                    <a:cubicBezTo>
                      <a:pt x="655363" y="149375"/>
                      <a:pt x="657427" y="160727"/>
                      <a:pt x="661039" y="172078"/>
                    </a:cubicBezTo>
                    <a:cubicBezTo>
                      <a:pt x="663618" y="180334"/>
                      <a:pt x="667230" y="182914"/>
                      <a:pt x="675486" y="180334"/>
                    </a:cubicBezTo>
                    <a:cubicBezTo>
                      <a:pt x="713668" y="168983"/>
                      <a:pt x="752882" y="160727"/>
                      <a:pt x="792613" y="155567"/>
                    </a:cubicBezTo>
                    <a:cubicBezTo>
                      <a:pt x="800352" y="154535"/>
                      <a:pt x="802932" y="151439"/>
                      <a:pt x="801900" y="143700"/>
                    </a:cubicBezTo>
                    <a:cubicBezTo>
                      <a:pt x="795193" y="98294"/>
                      <a:pt x="811704" y="55468"/>
                      <a:pt x="816864" y="11094"/>
                    </a:cubicBezTo>
                    <a:cubicBezTo>
                      <a:pt x="817380" y="5934"/>
                      <a:pt x="820476" y="2838"/>
                      <a:pt x="826151" y="2322"/>
                    </a:cubicBezTo>
                    <a:cubicBezTo>
                      <a:pt x="859174" y="-1290"/>
                      <a:pt x="892196" y="258"/>
                      <a:pt x="925219" y="774"/>
                    </a:cubicBezTo>
                    <a:cubicBezTo>
                      <a:pt x="930895" y="774"/>
                      <a:pt x="933475" y="4902"/>
                      <a:pt x="934507" y="10062"/>
                    </a:cubicBezTo>
                    <a:cubicBezTo>
                      <a:pt x="941214" y="43600"/>
                      <a:pt x="948438" y="77139"/>
                      <a:pt x="954114" y="111193"/>
                    </a:cubicBezTo>
                    <a:cubicBezTo>
                      <a:pt x="955662" y="120481"/>
                      <a:pt x="953082" y="130800"/>
                      <a:pt x="952050" y="140604"/>
                    </a:cubicBezTo>
                    <a:cubicBezTo>
                      <a:pt x="951018" y="148343"/>
                      <a:pt x="954114" y="151955"/>
                      <a:pt x="962369" y="152987"/>
                    </a:cubicBezTo>
                    <a:cubicBezTo>
                      <a:pt x="1001584" y="157115"/>
                      <a:pt x="1040798" y="164339"/>
                      <a:pt x="1078980" y="174658"/>
                    </a:cubicBezTo>
                    <a:cubicBezTo>
                      <a:pt x="1085172" y="176206"/>
                      <a:pt x="1091364" y="176722"/>
                      <a:pt x="1093428" y="168467"/>
                    </a:cubicBezTo>
                    <a:cubicBezTo>
                      <a:pt x="1101683" y="130284"/>
                      <a:pt x="1127482" y="101390"/>
                      <a:pt x="1147089" y="69399"/>
                    </a:cubicBezTo>
                    <a:cubicBezTo>
                      <a:pt x="1162569" y="43084"/>
                      <a:pt x="1163601" y="43600"/>
                      <a:pt x="1192495" y="54436"/>
                    </a:cubicBezTo>
                    <a:cubicBezTo>
                      <a:pt x="1214682" y="62691"/>
                      <a:pt x="1236353" y="71979"/>
                      <a:pt x="1258024" y="81266"/>
                    </a:cubicBezTo>
                    <a:cubicBezTo>
                      <a:pt x="1265764" y="84362"/>
                      <a:pt x="1268860" y="88490"/>
                      <a:pt x="1267312" y="96746"/>
                    </a:cubicBezTo>
                    <a:cubicBezTo>
                      <a:pt x="1260604" y="128736"/>
                      <a:pt x="1254928" y="160727"/>
                      <a:pt x="1247705" y="192718"/>
                    </a:cubicBezTo>
                    <a:cubicBezTo>
                      <a:pt x="1245125" y="203553"/>
                      <a:pt x="1238417" y="213873"/>
                      <a:pt x="1233258" y="224192"/>
                    </a:cubicBezTo>
                    <a:cubicBezTo>
                      <a:pt x="1229646" y="230384"/>
                      <a:pt x="1230678" y="233996"/>
                      <a:pt x="1237385" y="237608"/>
                    </a:cubicBezTo>
                    <a:cubicBezTo>
                      <a:pt x="1273504" y="256699"/>
                      <a:pt x="1307558" y="279402"/>
                      <a:pt x="1340065" y="304169"/>
                    </a:cubicBezTo>
                    <a:cubicBezTo>
                      <a:pt x="1345741" y="308812"/>
                      <a:pt x="1349868" y="309328"/>
                      <a:pt x="1354512" y="302621"/>
                    </a:cubicBezTo>
                    <a:cubicBezTo>
                      <a:pt x="1381343" y="264954"/>
                      <a:pt x="1424169" y="246379"/>
                      <a:pt x="1459771" y="218516"/>
                    </a:cubicBezTo>
                    <a:cubicBezTo>
                      <a:pt x="1464415" y="214905"/>
                      <a:pt x="1468027" y="216452"/>
                      <a:pt x="1472155" y="220064"/>
                    </a:cubicBezTo>
                    <a:cubicBezTo>
                      <a:pt x="1496406" y="241219"/>
                      <a:pt x="1519109" y="264438"/>
                      <a:pt x="1541296" y="287657"/>
                    </a:cubicBezTo>
                    <a:cubicBezTo>
                      <a:pt x="1545424" y="292301"/>
                      <a:pt x="1545940" y="296429"/>
                      <a:pt x="1542328" y="301073"/>
                    </a:cubicBezTo>
                    <a:cubicBezTo>
                      <a:pt x="1523237" y="329452"/>
                      <a:pt x="1505177" y="357830"/>
                      <a:pt x="1485570" y="385693"/>
                    </a:cubicBezTo>
                    <a:cubicBezTo>
                      <a:pt x="1479895" y="393949"/>
                      <a:pt x="1470607" y="400140"/>
                      <a:pt x="1462868" y="406332"/>
                    </a:cubicBezTo>
                    <a:cubicBezTo>
                      <a:pt x="1456676" y="411492"/>
                      <a:pt x="1455644" y="416136"/>
                      <a:pt x="1460803" y="422327"/>
                    </a:cubicBezTo>
                    <a:cubicBezTo>
                      <a:pt x="1486086" y="453802"/>
                      <a:pt x="1509305" y="487341"/>
                      <a:pt x="1529428" y="522427"/>
                    </a:cubicBezTo>
                    <a:cubicBezTo>
                      <a:pt x="1534072" y="530167"/>
                      <a:pt x="1538716" y="529135"/>
                      <a:pt x="1544908" y="525007"/>
                    </a:cubicBezTo>
                    <a:cubicBezTo>
                      <a:pt x="1584122" y="500756"/>
                      <a:pt x="1630044" y="500240"/>
                      <a:pt x="1672870" y="488373"/>
                    </a:cubicBezTo>
                    <a:cubicBezTo>
                      <a:pt x="1678546" y="486825"/>
                      <a:pt x="1681642" y="489921"/>
                      <a:pt x="1683706" y="495080"/>
                    </a:cubicBezTo>
                    <a:cubicBezTo>
                      <a:pt x="1697637" y="523975"/>
                      <a:pt x="1710537" y="553902"/>
                      <a:pt x="1721888" y="583828"/>
                    </a:cubicBezTo>
                    <a:cubicBezTo>
                      <a:pt x="1723952" y="590020"/>
                      <a:pt x="1722404" y="593632"/>
                      <a:pt x="1717244" y="596728"/>
                    </a:cubicBezTo>
                    <a:cubicBezTo>
                      <a:pt x="1689381" y="615303"/>
                      <a:pt x="1662035" y="634394"/>
                      <a:pt x="1633140" y="652453"/>
                    </a:cubicBezTo>
                    <a:cubicBezTo>
                      <a:pt x="1623852" y="658129"/>
                      <a:pt x="1612501" y="660709"/>
                      <a:pt x="1601665" y="663805"/>
                    </a:cubicBezTo>
                    <a:cubicBezTo>
                      <a:pt x="1594958" y="665869"/>
                      <a:pt x="1592894" y="668965"/>
                      <a:pt x="1594958" y="676188"/>
                    </a:cubicBezTo>
                    <a:cubicBezTo>
                      <a:pt x="1606309" y="715403"/>
                      <a:pt x="1615081" y="755133"/>
                      <a:pt x="1620241" y="795895"/>
                    </a:cubicBezTo>
                    <a:cubicBezTo>
                      <a:pt x="1621272" y="803119"/>
                      <a:pt x="1624368" y="805699"/>
                      <a:pt x="1631076" y="804667"/>
                    </a:cubicBezTo>
                    <a:cubicBezTo>
                      <a:pt x="1676482" y="797959"/>
                      <a:pt x="1719308" y="814470"/>
                      <a:pt x="1763682" y="819630"/>
                    </a:cubicBezTo>
                    <a:cubicBezTo>
                      <a:pt x="1769874" y="820146"/>
                      <a:pt x="1772454" y="823758"/>
                      <a:pt x="1773486" y="829950"/>
                    </a:cubicBezTo>
                    <a:cubicBezTo>
                      <a:pt x="1776582" y="862456"/>
                      <a:pt x="1775034" y="895479"/>
                      <a:pt x="1775034" y="927985"/>
                    </a:cubicBezTo>
                    <a:cubicBezTo>
                      <a:pt x="1775034" y="933661"/>
                      <a:pt x="1771422" y="936241"/>
                      <a:pt x="1766262" y="937273"/>
                    </a:cubicBezTo>
                    <a:cubicBezTo>
                      <a:pt x="1732207" y="943981"/>
                      <a:pt x="1698153" y="951204"/>
                      <a:pt x="1663583" y="957396"/>
                    </a:cubicBezTo>
                    <a:cubicBezTo>
                      <a:pt x="1654811" y="958944"/>
                      <a:pt x="1645523" y="956364"/>
                      <a:pt x="1636752" y="955332"/>
                    </a:cubicBezTo>
                    <a:cubicBezTo>
                      <a:pt x="1627980" y="954300"/>
                      <a:pt x="1623336" y="956364"/>
                      <a:pt x="1622304" y="966684"/>
                    </a:cubicBezTo>
                    <a:cubicBezTo>
                      <a:pt x="1618177" y="1005382"/>
                      <a:pt x="1610953" y="1044080"/>
                      <a:pt x="1601149" y="1081746"/>
                    </a:cubicBezTo>
                    <a:cubicBezTo>
                      <a:pt x="1598569" y="1091034"/>
                      <a:pt x="1601665" y="1095678"/>
                      <a:pt x="1610437" y="1097742"/>
                    </a:cubicBezTo>
                    <a:cubicBezTo>
                      <a:pt x="1654811" y="1108577"/>
                      <a:pt x="1687318" y="1140568"/>
                      <a:pt x="1726016" y="1161723"/>
                    </a:cubicBezTo>
                    <a:cubicBezTo>
                      <a:pt x="1731176" y="1164819"/>
                      <a:pt x="1731176" y="1168947"/>
                      <a:pt x="1729112" y="1174107"/>
                    </a:cubicBezTo>
                    <a:cubicBezTo>
                      <a:pt x="1718792" y="1204549"/>
                      <a:pt x="1706409" y="1234476"/>
                      <a:pt x="1693509" y="1263887"/>
                    </a:cubicBezTo>
                    <a:cubicBezTo>
                      <a:pt x="1690929" y="1269562"/>
                      <a:pt x="1687318" y="1271626"/>
                      <a:pt x="1681126" y="1270078"/>
                    </a:cubicBezTo>
                    <a:cubicBezTo>
                      <a:pt x="1648103" y="1263371"/>
                      <a:pt x="1614565" y="1257179"/>
                      <a:pt x="1581542" y="1249955"/>
                    </a:cubicBezTo>
                    <a:cubicBezTo>
                      <a:pt x="1571223" y="1247375"/>
                      <a:pt x="1561935" y="1241184"/>
                      <a:pt x="1552647" y="1236024"/>
                    </a:cubicBezTo>
                    <a:cubicBezTo>
                      <a:pt x="1545940" y="1232412"/>
                      <a:pt x="1542328" y="1232928"/>
                      <a:pt x="1538200" y="1240152"/>
                    </a:cubicBezTo>
                    <a:cubicBezTo>
                      <a:pt x="1519109" y="1275238"/>
                      <a:pt x="1497954" y="1309293"/>
                      <a:pt x="1473187" y="1340767"/>
                    </a:cubicBezTo>
                    <a:cubicBezTo>
                      <a:pt x="1467511" y="1347991"/>
                      <a:pt x="1466479" y="1352635"/>
                      <a:pt x="1475251" y="1358310"/>
                    </a:cubicBezTo>
                    <a:cubicBezTo>
                      <a:pt x="1502598" y="1375854"/>
                      <a:pt x="1516013" y="1405264"/>
                      <a:pt x="1535104" y="1430031"/>
                    </a:cubicBezTo>
                    <a:cubicBezTo>
                      <a:pt x="1538716" y="1434675"/>
                      <a:pt x="1541812" y="1439835"/>
                      <a:pt x="1545424" y="1444995"/>
                    </a:cubicBezTo>
                    <a:cubicBezTo>
                      <a:pt x="1566063" y="1474921"/>
                      <a:pt x="1565031" y="1464602"/>
                      <a:pt x="1542844" y="1489885"/>
                    </a:cubicBezTo>
                    <a:cubicBezTo>
                      <a:pt x="1526849" y="1508460"/>
                      <a:pt x="1508273" y="1524971"/>
                      <a:pt x="1491246" y="1542514"/>
                    </a:cubicBezTo>
                    <a:cubicBezTo>
                      <a:pt x="1485054" y="1549222"/>
                      <a:pt x="1479895" y="1549222"/>
                      <a:pt x="1472155" y="1544062"/>
                    </a:cubicBezTo>
                    <a:cubicBezTo>
                      <a:pt x="1446356" y="1526519"/>
                      <a:pt x="1420041" y="1508976"/>
                      <a:pt x="1393726" y="1491948"/>
                    </a:cubicBezTo>
                    <a:cubicBezTo>
                      <a:pt x="1383923" y="1485241"/>
                      <a:pt x="1377215" y="1475437"/>
                      <a:pt x="1369992" y="1466666"/>
                    </a:cubicBezTo>
                    <a:cubicBezTo>
                      <a:pt x="1364316" y="1459958"/>
                      <a:pt x="1359672" y="1458926"/>
                      <a:pt x="1352964" y="1464602"/>
                    </a:cubicBezTo>
                    <a:cubicBezTo>
                      <a:pt x="1322005" y="1489885"/>
                      <a:pt x="1288983" y="1512588"/>
                      <a:pt x="1254413" y="1532711"/>
                    </a:cubicBezTo>
                    <a:cubicBezTo>
                      <a:pt x="1249769" y="1535291"/>
                      <a:pt x="1244609" y="1537871"/>
                      <a:pt x="1248737" y="1544578"/>
                    </a:cubicBezTo>
                    <a:cubicBezTo>
                      <a:pt x="1272472" y="1580181"/>
                      <a:pt x="1274020" y="1622491"/>
                      <a:pt x="1284339" y="1662221"/>
                    </a:cubicBezTo>
                    <a:cubicBezTo>
                      <a:pt x="1290531" y="1685440"/>
                      <a:pt x="1292079" y="1682344"/>
                      <a:pt x="1268860" y="1693180"/>
                    </a:cubicBezTo>
                    <a:cubicBezTo>
                      <a:pt x="1244609" y="1704531"/>
                      <a:pt x="1219842" y="1714335"/>
                      <a:pt x="1195591" y="1724654"/>
                    </a:cubicBezTo>
                    <a:cubicBezTo>
                      <a:pt x="1187851" y="1727750"/>
                      <a:pt x="1183208" y="1726718"/>
                      <a:pt x="1178564" y="1719495"/>
                    </a:cubicBezTo>
                    <a:cubicBezTo>
                      <a:pt x="1161021" y="1692664"/>
                      <a:pt x="1142962" y="1666865"/>
                      <a:pt x="1125418" y="1640034"/>
                    </a:cubicBezTo>
                    <a:cubicBezTo>
                      <a:pt x="1118711" y="1629715"/>
                      <a:pt x="1116131" y="1617847"/>
                      <a:pt x="1113035" y="1606496"/>
                    </a:cubicBezTo>
                    <a:cubicBezTo>
                      <a:pt x="1110971" y="1599272"/>
                      <a:pt x="1107359" y="1597208"/>
                      <a:pt x="1099619" y="1599272"/>
                    </a:cubicBezTo>
                    <a:cubicBezTo>
                      <a:pt x="1060405" y="1611139"/>
                      <a:pt x="1020675" y="1619395"/>
                      <a:pt x="979913" y="1624555"/>
                    </a:cubicBezTo>
                    <a:cubicBezTo>
                      <a:pt x="973205" y="1625587"/>
                      <a:pt x="971141" y="1628682"/>
                      <a:pt x="972173" y="1634874"/>
                    </a:cubicBezTo>
                    <a:cubicBezTo>
                      <a:pt x="979397" y="1680280"/>
                      <a:pt x="962885" y="1723106"/>
                      <a:pt x="957726" y="1767481"/>
                    </a:cubicBezTo>
                    <a:cubicBezTo>
                      <a:pt x="956694" y="1775220"/>
                      <a:pt x="952566" y="1777800"/>
                      <a:pt x="945858" y="1777800"/>
                    </a:cubicBezTo>
                    <a:cubicBezTo>
                      <a:pt x="929347" y="1778316"/>
                      <a:pt x="912320" y="1779348"/>
                      <a:pt x="895808" y="1779864"/>
                    </a:cubicBezTo>
                    <a:cubicBezTo>
                      <a:pt x="894776" y="1776252"/>
                      <a:pt x="894776" y="1776252"/>
                      <a:pt x="894776" y="1775736"/>
                    </a:cubicBezTo>
                    <a:close/>
                    <a:moveTo>
                      <a:pt x="890648" y="1454798"/>
                    </a:moveTo>
                    <a:cubicBezTo>
                      <a:pt x="1199203" y="1449638"/>
                      <a:pt x="1454096" y="1207645"/>
                      <a:pt x="1452548" y="884127"/>
                    </a:cubicBezTo>
                    <a:cubicBezTo>
                      <a:pt x="1451516" y="575057"/>
                      <a:pt x="1205395" y="320164"/>
                      <a:pt x="881361" y="322228"/>
                    </a:cubicBezTo>
                    <a:cubicBezTo>
                      <a:pt x="571775" y="324292"/>
                      <a:pt x="318429" y="570929"/>
                      <a:pt x="320494" y="893415"/>
                    </a:cubicBezTo>
                    <a:cubicBezTo>
                      <a:pt x="323073" y="1202485"/>
                      <a:pt x="569195" y="1452218"/>
                      <a:pt x="890648" y="1454798"/>
                    </a:cubicBezTo>
                    <a:close/>
                  </a:path>
                </a:pathLst>
              </a:custGeom>
              <a:grpFill/>
              <a:ln w="51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EB1B23E5-8635-4B3E-8862-FDD5D0A04D2D}"/>
                  </a:ext>
                </a:extLst>
              </p:cNvPr>
              <p:cNvSpPr/>
              <p:nvPr/>
            </p:nvSpPr>
            <p:spPr>
              <a:xfrm>
                <a:off x="3733675" y="2339591"/>
                <a:ext cx="835883" cy="835883"/>
              </a:xfrm>
              <a:custGeom>
                <a:avLst/>
                <a:gdLst>
                  <a:gd name="connsiteX0" fmla="*/ 836916 w 835883"/>
                  <a:gd name="connsiteY0" fmla="*/ 418458 h 835883"/>
                  <a:gd name="connsiteX1" fmla="*/ 418459 w 835883"/>
                  <a:gd name="connsiteY1" fmla="*/ 836399 h 835883"/>
                  <a:gd name="connsiteX2" fmla="*/ 1 w 835883"/>
                  <a:gd name="connsiteY2" fmla="*/ 417426 h 835883"/>
                  <a:gd name="connsiteX3" fmla="*/ 418975 w 835883"/>
                  <a:gd name="connsiteY3" fmla="*/ 0 h 835883"/>
                  <a:gd name="connsiteX4" fmla="*/ 836916 w 835883"/>
                  <a:gd name="connsiteY4" fmla="*/ 418458 h 835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5883" h="835883">
                    <a:moveTo>
                      <a:pt x="836916" y="418458"/>
                    </a:moveTo>
                    <a:cubicBezTo>
                      <a:pt x="833821" y="651679"/>
                      <a:pt x="651165" y="836915"/>
                      <a:pt x="418459" y="836399"/>
                    </a:cubicBezTo>
                    <a:cubicBezTo>
                      <a:pt x="182657" y="836399"/>
                      <a:pt x="-515" y="649615"/>
                      <a:pt x="1" y="417426"/>
                    </a:cubicBezTo>
                    <a:cubicBezTo>
                      <a:pt x="517" y="181624"/>
                      <a:pt x="187301" y="0"/>
                      <a:pt x="418975" y="0"/>
                    </a:cubicBezTo>
                    <a:cubicBezTo>
                      <a:pt x="651680" y="516"/>
                      <a:pt x="833821" y="186268"/>
                      <a:pt x="836916" y="418458"/>
                    </a:cubicBezTo>
                    <a:close/>
                  </a:path>
                </a:pathLst>
              </a:custGeom>
              <a:grpFill/>
              <a:ln w="51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4404570-F880-4ADE-AC20-8133EAAC08BE}"/>
                </a:ext>
              </a:extLst>
            </p:cNvPr>
            <p:cNvSpPr/>
            <p:nvPr/>
          </p:nvSpPr>
          <p:spPr>
            <a:xfrm>
              <a:off x="1727363" y="4086481"/>
              <a:ext cx="683882" cy="686216"/>
            </a:xfrm>
            <a:custGeom>
              <a:avLst/>
              <a:gdLst>
                <a:gd name="connsiteX0" fmla="*/ 817500 w 1511813"/>
                <a:gd name="connsiteY0" fmla="*/ 1518710 h 1516973"/>
                <a:gd name="connsiteX1" fmla="*/ 802537 w 1511813"/>
                <a:gd name="connsiteY1" fmla="*/ 1507875 h 1516973"/>
                <a:gd name="connsiteX2" fmla="*/ 780866 w 1511813"/>
                <a:gd name="connsiteY2" fmla="*/ 1442862 h 1516973"/>
                <a:gd name="connsiteX3" fmla="*/ 776738 w 1511813"/>
                <a:gd name="connsiteY3" fmla="*/ 1385072 h 1516973"/>
                <a:gd name="connsiteX4" fmla="*/ 760227 w 1511813"/>
                <a:gd name="connsiteY4" fmla="*/ 1369593 h 1516973"/>
                <a:gd name="connsiteX5" fmla="*/ 694698 w 1511813"/>
                <a:gd name="connsiteY5" fmla="*/ 1366497 h 1516973"/>
                <a:gd name="connsiteX6" fmla="*/ 676638 w 1511813"/>
                <a:gd name="connsiteY6" fmla="*/ 1379912 h 1516973"/>
                <a:gd name="connsiteX7" fmla="*/ 637940 w 1511813"/>
                <a:gd name="connsiteY7" fmla="*/ 1501683 h 1516973"/>
                <a:gd name="connsiteX8" fmla="*/ 622977 w 1511813"/>
                <a:gd name="connsiteY8" fmla="*/ 1508907 h 1516973"/>
                <a:gd name="connsiteX9" fmla="*/ 430517 w 1511813"/>
                <a:gd name="connsiteY9" fmla="*/ 1447505 h 1516973"/>
                <a:gd name="connsiteX10" fmla="*/ 422262 w 1511813"/>
                <a:gd name="connsiteY10" fmla="*/ 1431510 h 1516973"/>
                <a:gd name="connsiteX11" fmla="*/ 435677 w 1511813"/>
                <a:gd name="connsiteY11" fmla="*/ 1364433 h 1516973"/>
                <a:gd name="connsiteX12" fmla="*/ 461992 w 1511813"/>
                <a:gd name="connsiteY12" fmla="*/ 1310255 h 1516973"/>
                <a:gd name="connsiteX13" fmla="*/ 456316 w 1511813"/>
                <a:gd name="connsiteY13" fmla="*/ 1290132 h 1516973"/>
                <a:gd name="connsiteX14" fmla="*/ 395431 w 1511813"/>
                <a:gd name="connsiteY14" fmla="*/ 1251434 h 1516973"/>
                <a:gd name="connsiteX15" fmla="*/ 378919 w 1511813"/>
                <a:gd name="connsiteY15" fmla="*/ 1254014 h 1516973"/>
                <a:gd name="connsiteX16" fmla="*/ 283464 w 1511813"/>
                <a:gd name="connsiteY16" fmla="*/ 1342246 h 1516973"/>
                <a:gd name="connsiteX17" fmla="*/ 265920 w 1511813"/>
                <a:gd name="connsiteY17" fmla="*/ 1341214 h 1516973"/>
                <a:gd name="connsiteX18" fmla="*/ 130218 w 1511813"/>
                <a:gd name="connsiteY18" fmla="*/ 1191580 h 1516973"/>
                <a:gd name="connsiteX19" fmla="*/ 130734 w 1511813"/>
                <a:gd name="connsiteY19" fmla="*/ 1174553 h 1516973"/>
                <a:gd name="connsiteX20" fmla="*/ 177688 w 1511813"/>
                <a:gd name="connsiteY20" fmla="*/ 1121408 h 1516973"/>
                <a:gd name="connsiteX21" fmla="*/ 225674 w 1511813"/>
                <a:gd name="connsiteY21" fmla="*/ 1089417 h 1516973"/>
                <a:gd name="connsiteX22" fmla="*/ 230834 w 1511813"/>
                <a:gd name="connsiteY22" fmla="*/ 1067230 h 1516973"/>
                <a:gd name="connsiteX23" fmla="*/ 198327 w 1511813"/>
                <a:gd name="connsiteY23" fmla="*/ 1004281 h 1516973"/>
                <a:gd name="connsiteX24" fmla="*/ 183880 w 1511813"/>
                <a:gd name="connsiteY24" fmla="*/ 998089 h 1516973"/>
                <a:gd name="connsiteX25" fmla="*/ 67269 w 1511813"/>
                <a:gd name="connsiteY25" fmla="*/ 1025952 h 1516973"/>
                <a:gd name="connsiteX26" fmla="*/ 55918 w 1511813"/>
                <a:gd name="connsiteY26" fmla="*/ 1027500 h 1516973"/>
                <a:gd name="connsiteX27" fmla="*/ 41470 w 1511813"/>
                <a:gd name="connsiteY27" fmla="*/ 1018212 h 1516973"/>
                <a:gd name="connsiteX28" fmla="*/ 1224 w 1511813"/>
                <a:gd name="connsiteY28" fmla="*/ 841748 h 1516973"/>
                <a:gd name="connsiteX29" fmla="*/ 30635 w 1511813"/>
                <a:gd name="connsiteY29" fmla="*/ 797374 h 1516973"/>
                <a:gd name="connsiteX30" fmla="*/ 134862 w 1511813"/>
                <a:gd name="connsiteY30" fmla="*/ 778799 h 1516973"/>
                <a:gd name="connsiteX31" fmla="*/ 147246 w 1511813"/>
                <a:gd name="connsiteY31" fmla="*/ 765899 h 1516973"/>
                <a:gd name="connsiteX32" fmla="*/ 150342 w 1511813"/>
                <a:gd name="connsiteY32" fmla="*/ 696242 h 1516973"/>
                <a:gd name="connsiteX33" fmla="*/ 137442 w 1511813"/>
                <a:gd name="connsiteY33" fmla="*/ 678699 h 1516973"/>
                <a:gd name="connsiteX34" fmla="*/ 14639 w 1511813"/>
                <a:gd name="connsiteY34" fmla="*/ 639485 h 1516973"/>
                <a:gd name="connsiteX35" fmla="*/ 7932 w 1511813"/>
                <a:gd name="connsiteY35" fmla="*/ 625037 h 1516973"/>
                <a:gd name="connsiteX36" fmla="*/ 69333 w 1511813"/>
                <a:gd name="connsiteY36" fmla="*/ 432578 h 1516973"/>
                <a:gd name="connsiteX37" fmla="*/ 86360 w 1511813"/>
                <a:gd name="connsiteY37" fmla="*/ 423806 h 1516973"/>
                <a:gd name="connsiteX38" fmla="*/ 150858 w 1511813"/>
                <a:gd name="connsiteY38" fmla="*/ 436706 h 1516973"/>
                <a:gd name="connsiteX39" fmla="*/ 206583 w 1511813"/>
                <a:gd name="connsiteY39" fmla="*/ 463536 h 1516973"/>
                <a:gd name="connsiteX40" fmla="*/ 227738 w 1511813"/>
                <a:gd name="connsiteY40" fmla="*/ 457345 h 1516973"/>
                <a:gd name="connsiteX41" fmla="*/ 266952 w 1511813"/>
                <a:gd name="connsiteY41" fmla="*/ 396459 h 1516973"/>
                <a:gd name="connsiteX42" fmla="*/ 264373 w 1511813"/>
                <a:gd name="connsiteY42" fmla="*/ 380980 h 1516973"/>
                <a:gd name="connsiteX43" fmla="*/ 175108 w 1511813"/>
                <a:gd name="connsiteY43" fmla="*/ 284492 h 1516973"/>
                <a:gd name="connsiteX44" fmla="*/ 176140 w 1511813"/>
                <a:gd name="connsiteY44" fmla="*/ 267981 h 1516973"/>
                <a:gd name="connsiteX45" fmla="*/ 325258 w 1511813"/>
                <a:gd name="connsiteY45" fmla="*/ 132279 h 1516973"/>
                <a:gd name="connsiteX46" fmla="*/ 343317 w 1511813"/>
                <a:gd name="connsiteY46" fmla="*/ 132795 h 1516973"/>
                <a:gd name="connsiteX47" fmla="*/ 395431 w 1511813"/>
                <a:gd name="connsiteY47" fmla="*/ 178717 h 1516973"/>
                <a:gd name="connsiteX48" fmla="*/ 426389 w 1511813"/>
                <a:gd name="connsiteY48" fmla="*/ 224639 h 1516973"/>
                <a:gd name="connsiteX49" fmla="*/ 451156 w 1511813"/>
                <a:gd name="connsiteY49" fmla="*/ 231347 h 1516973"/>
                <a:gd name="connsiteX50" fmla="*/ 512042 w 1511813"/>
                <a:gd name="connsiteY50" fmla="*/ 200388 h 1516973"/>
                <a:gd name="connsiteX51" fmla="*/ 518233 w 1511813"/>
                <a:gd name="connsiteY51" fmla="*/ 183877 h 1516973"/>
                <a:gd name="connsiteX52" fmla="*/ 491403 w 1511813"/>
                <a:gd name="connsiteY52" fmla="*/ 69846 h 1516973"/>
                <a:gd name="connsiteX53" fmla="*/ 489855 w 1511813"/>
                <a:gd name="connsiteY53" fmla="*/ 58494 h 1516973"/>
                <a:gd name="connsiteX54" fmla="*/ 499658 w 1511813"/>
                <a:gd name="connsiteY54" fmla="*/ 43015 h 1516973"/>
                <a:gd name="connsiteX55" fmla="*/ 695730 w 1511813"/>
                <a:gd name="connsiteY55" fmla="*/ 189 h 1516973"/>
                <a:gd name="connsiteX56" fmla="*/ 713273 w 1511813"/>
                <a:gd name="connsiteY56" fmla="*/ 12056 h 1516973"/>
                <a:gd name="connsiteX57" fmla="*/ 721012 w 1511813"/>
                <a:gd name="connsiteY57" fmla="*/ 35275 h 1516973"/>
                <a:gd name="connsiteX58" fmla="*/ 738556 w 1511813"/>
                <a:gd name="connsiteY58" fmla="*/ 134343 h 1516973"/>
                <a:gd name="connsiteX59" fmla="*/ 753519 w 1511813"/>
                <a:gd name="connsiteY59" fmla="*/ 148790 h 1516973"/>
                <a:gd name="connsiteX60" fmla="*/ 820596 w 1511813"/>
                <a:gd name="connsiteY60" fmla="*/ 151886 h 1516973"/>
                <a:gd name="connsiteX61" fmla="*/ 838655 w 1511813"/>
                <a:gd name="connsiteY61" fmla="*/ 138471 h 1516973"/>
                <a:gd name="connsiteX62" fmla="*/ 877354 w 1511813"/>
                <a:gd name="connsiteY62" fmla="*/ 16700 h 1516973"/>
                <a:gd name="connsiteX63" fmla="*/ 892317 w 1511813"/>
                <a:gd name="connsiteY63" fmla="*/ 9476 h 1516973"/>
                <a:gd name="connsiteX64" fmla="*/ 1084777 w 1511813"/>
                <a:gd name="connsiteY64" fmla="*/ 70878 h 1516973"/>
                <a:gd name="connsiteX65" fmla="*/ 1093032 w 1511813"/>
                <a:gd name="connsiteY65" fmla="*/ 86873 h 1516973"/>
                <a:gd name="connsiteX66" fmla="*/ 1079617 w 1511813"/>
                <a:gd name="connsiteY66" fmla="*/ 152402 h 1516973"/>
                <a:gd name="connsiteX67" fmla="*/ 1053302 w 1511813"/>
                <a:gd name="connsiteY67" fmla="*/ 206580 h 1516973"/>
                <a:gd name="connsiteX68" fmla="*/ 1060010 w 1511813"/>
                <a:gd name="connsiteY68" fmla="*/ 228251 h 1516973"/>
                <a:gd name="connsiteX69" fmla="*/ 1118315 w 1511813"/>
                <a:gd name="connsiteY69" fmla="*/ 265917 h 1516973"/>
                <a:gd name="connsiteX70" fmla="*/ 1136374 w 1511813"/>
                <a:gd name="connsiteY70" fmla="*/ 262821 h 1516973"/>
                <a:gd name="connsiteX71" fmla="*/ 1232346 w 1511813"/>
                <a:gd name="connsiteY71" fmla="*/ 174589 h 1516973"/>
                <a:gd name="connsiteX72" fmla="*/ 1247825 w 1511813"/>
                <a:gd name="connsiteY72" fmla="*/ 175621 h 1516973"/>
                <a:gd name="connsiteX73" fmla="*/ 1384559 w 1511813"/>
                <a:gd name="connsiteY73" fmla="*/ 325770 h 1516973"/>
                <a:gd name="connsiteX74" fmla="*/ 1384043 w 1511813"/>
                <a:gd name="connsiteY74" fmla="*/ 342798 h 1516973"/>
                <a:gd name="connsiteX75" fmla="*/ 1336057 w 1511813"/>
                <a:gd name="connsiteY75" fmla="*/ 396975 h 1516973"/>
                <a:gd name="connsiteX76" fmla="*/ 1291167 w 1511813"/>
                <a:gd name="connsiteY76" fmla="*/ 426902 h 1516973"/>
                <a:gd name="connsiteX77" fmla="*/ 1284976 w 1511813"/>
                <a:gd name="connsiteY77" fmla="*/ 451153 h 1516973"/>
                <a:gd name="connsiteX78" fmla="*/ 1316450 w 1511813"/>
                <a:gd name="connsiteY78" fmla="*/ 513070 h 1516973"/>
                <a:gd name="connsiteX79" fmla="*/ 1330898 w 1511813"/>
                <a:gd name="connsiteY79" fmla="*/ 519262 h 1516973"/>
                <a:gd name="connsiteX80" fmla="*/ 1447509 w 1511813"/>
                <a:gd name="connsiteY80" fmla="*/ 491399 h 1516973"/>
                <a:gd name="connsiteX81" fmla="*/ 1458860 w 1511813"/>
                <a:gd name="connsiteY81" fmla="*/ 489851 h 1516973"/>
                <a:gd name="connsiteX82" fmla="*/ 1473307 w 1511813"/>
                <a:gd name="connsiteY82" fmla="*/ 499139 h 1516973"/>
                <a:gd name="connsiteX83" fmla="*/ 1513554 w 1511813"/>
                <a:gd name="connsiteY83" fmla="*/ 675603 h 1516973"/>
                <a:gd name="connsiteX84" fmla="*/ 1514070 w 1511813"/>
                <a:gd name="connsiteY84" fmla="*/ 679215 h 1516973"/>
                <a:gd name="connsiteX85" fmla="*/ 1490335 w 1511813"/>
                <a:gd name="connsiteY85" fmla="*/ 717397 h 1516973"/>
                <a:gd name="connsiteX86" fmla="*/ 1379916 w 1511813"/>
                <a:gd name="connsiteY86" fmla="*/ 738036 h 1516973"/>
                <a:gd name="connsiteX87" fmla="*/ 1367532 w 1511813"/>
                <a:gd name="connsiteY87" fmla="*/ 749904 h 1516973"/>
                <a:gd name="connsiteX88" fmla="*/ 1363920 w 1511813"/>
                <a:gd name="connsiteY88" fmla="*/ 822141 h 1516973"/>
                <a:gd name="connsiteX89" fmla="*/ 1375788 w 1511813"/>
                <a:gd name="connsiteY89" fmla="*/ 838136 h 1516973"/>
                <a:gd name="connsiteX90" fmla="*/ 1498590 w 1511813"/>
                <a:gd name="connsiteY90" fmla="*/ 876834 h 1516973"/>
                <a:gd name="connsiteX91" fmla="*/ 1506330 w 1511813"/>
                <a:gd name="connsiteY91" fmla="*/ 891798 h 1516973"/>
                <a:gd name="connsiteX92" fmla="*/ 1444413 w 1511813"/>
                <a:gd name="connsiteY92" fmla="*/ 1085289 h 1516973"/>
                <a:gd name="connsiteX93" fmla="*/ 1429449 w 1511813"/>
                <a:gd name="connsiteY93" fmla="*/ 1093029 h 1516973"/>
                <a:gd name="connsiteX94" fmla="*/ 1306647 w 1511813"/>
                <a:gd name="connsiteY94" fmla="*/ 1052783 h 1516973"/>
                <a:gd name="connsiteX95" fmla="*/ 1287556 w 1511813"/>
                <a:gd name="connsiteY95" fmla="*/ 1057942 h 1516973"/>
                <a:gd name="connsiteX96" fmla="*/ 1248857 w 1511813"/>
                <a:gd name="connsiteY96" fmla="*/ 1118828 h 1516973"/>
                <a:gd name="connsiteX97" fmla="*/ 1250405 w 1511813"/>
                <a:gd name="connsiteY97" fmla="*/ 1135339 h 1516973"/>
                <a:gd name="connsiteX98" fmla="*/ 1339153 w 1511813"/>
                <a:gd name="connsiteY98" fmla="*/ 1230795 h 1516973"/>
                <a:gd name="connsiteX99" fmla="*/ 1337605 w 1511813"/>
                <a:gd name="connsiteY99" fmla="*/ 1249370 h 1516973"/>
                <a:gd name="connsiteX100" fmla="*/ 1189004 w 1511813"/>
                <a:gd name="connsiteY100" fmla="*/ 1384040 h 1516973"/>
                <a:gd name="connsiteX101" fmla="*/ 1170945 w 1511813"/>
                <a:gd name="connsiteY101" fmla="*/ 1383524 h 1516973"/>
                <a:gd name="connsiteX102" fmla="*/ 1118831 w 1511813"/>
                <a:gd name="connsiteY102" fmla="*/ 1337602 h 1516973"/>
                <a:gd name="connsiteX103" fmla="*/ 1086840 w 1511813"/>
                <a:gd name="connsiteY103" fmla="*/ 1289616 h 1516973"/>
                <a:gd name="connsiteX104" fmla="*/ 1064137 w 1511813"/>
                <a:gd name="connsiteY104" fmla="*/ 1284456 h 1516973"/>
                <a:gd name="connsiteX105" fmla="*/ 1002220 w 1511813"/>
                <a:gd name="connsiteY105" fmla="*/ 1316447 h 1516973"/>
                <a:gd name="connsiteX106" fmla="*/ 996028 w 1511813"/>
                <a:gd name="connsiteY106" fmla="*/ 1332958 h 1516973"/>
                <a:gd name="connsiteX107" fmla="*/ 1022859 w 1511813"/>
                <a:gd name="connsiteY107" fmla="*/ 1446989 h 1516973"/>
                <a:gd name="connsiteX108" fmla="*/ 1024407 w 1511813"/>
                <a:gd name="connsiteY108" fmla="*/ 1459889 h 1516973"/>
                <a:gd name="connsiteX109" fmla="*/ 1015636 w 1511813"/>
                <a:gd name="connsiteY109" fmla="*/ 1473304 h 1516973"/>
                <a:gd name="connsiteX110" fmla="*/ 817500 w 1511813"/>
                <a:gd name="connsiteY110" fmla="*/ 1518710 h 1516973"/>
                <a:gd name="connsiteX111" fmla="*/ 758163 w 1511813"/>
                <a:gd name="connsiteY111" fmla="*/ 1148238 h 1516973"/>
                <a:gd name="connsiteX112" fmla="*/ 1145146 w 1511813"/>
                <a:gd name="connsiteY112" fmla="*/ 758675 h 1516973"/>
                <a:gd name="connsiteX113" fmla="*/ 757131 w 1511813"/>
                <a:gd name="connsiteY113" fmla="*/ 371176 h 1516973"/>
                <a:gd name="connsiteX114" fmla="*/ 368600 w 1511813"/>
                <a:gd name="connsiteY114" fmla="*/ 759707 h 1516973"/>
                <a:gd name="connsiteX115" fmla="*/ 758163 w 1511813"/>
                <a:gd name="connsiteY115" fmla="*/ 1148238 h 1516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</a:cxnLst>
              <a:rect l="l" t="t" r="r" b="b"/>
              <a:pathLst>
                <a:path w="1511813" h="1516973">
                  <a:moveTo>
                    <a:pt x="817500" y="1518710"/>
                  </a:moveTo>
                  <a:cubicBezTo>
                    <a:pt x="809245" y="1520774"/>
                    <a:pt x="805633" y="1516130"/>
                    <a:pt x="802537" y="1507875"/>
                  </a:cubicBezTo>
                  <a:cubicBezTo>
                    <a:pt x="795829" y="1486204"/>
                    <a:pt x="788090" y="1464532"/>
                    <a:pt x="780866" y="1442862"/>
                  </a:cubicBezTo>
                  <a:cubicBezTo>
                    <a:pt x="774674" y="1424286"/>
                    <a:pt x="777770" y="1404679"/>
                    <a:pt x="776738" y="1385072"/>
                  </a:cubicBezTo>
                  <a:cubicBezTo>
                    <a:pt x="776222" y="1369593"/>
                    <a:pt x="775706" y="1370109"/>
                    <a:pt x="760227" y="1369593"/>
                  </a:cubicBezTo>
                  <a:cubicBezTo>
                    <a:pt x="738556" y="1369593"/>
                    <a:pt x="716369" y="1368045"/>
                    <a:pt x="694698" y="1366497"/>
                  </a:cubicBezTo>
                  <a:cubicBezTo>
                    <a:pt x="683346" y="1365465"/>
                    <a:pt x="676638" y="1365981"/>
                    <a:pt x="676638" y="1379912"/>
                  </a:cubicBezTo>
                  <a:cubicBezTo>
                    <a:pt x="676638" y="1424286"/>
                    <a:pt x="655483" y="1462469"/>
                    <a:pt x="637940" y="1501683"/>
                  </a:cubicBezTo>
                  <a:cubicBezTo>
                    <a:pt x="634844" y="1508907"/>
                    <a:pt x="630716" y="1510454"/>
                    <a:pt x="622977" y="1508907"/>
                  </a:cubicBezTo>
                  <a:cubicBezTo>
                    <a:pt x="556416" y="1496523"/>
                    <a:pt x="492434" y="1475368"/>
                    <a:pt x="430517" y="1447505"/>
                  </a:cubicBezTo>
                  <a:cubicBezTo>
                    <a:pt x="423294" y="1443893"/>
                    <a:pt x="420198" y="1440282"/>
                    <a:pt x="422262" y="1431510"/>
                  </a:cubicBezTo>
                  <a:cubicBezTo>
                    <a:pt x="427421" y="1409323"/>
                    <a:pt x="431033" y="1386620"/>
                    <a:pt x="435677" y="1364433"/>
                  </a:cubicBezTo>
                  <a:cubicBezTo>
                    <a:pt x="439805" y="1344310"/>
                    <a:pt x="452704" y="1327798"/>
                    <a:pt x="461992" y="1310255"/>
                  </a:cubicBezTo>
                  <a:cubicBezTo>
                    <a:pt x="467152" y="1300452"/>
                    <a:pt x="466120" y="1295808"/>
                    <a:pt x="456316" y="1290132"/>
                  </a:cubicBezTo>
                  <a:cubicBezTo>
                    <a:pt x="435677" y="1278265"/>
                    <a:pt x="415554" y="1264849"/>
                    <a:pt x="395431" y="1251434"/>
                  </a:cubicBezTo>
                  <a:cubicBezTo>
                    <a:pt x="388207" y="1246274"/>
                    <a:pt x="383563" y="1246274"/>
                    <a:pt x="378919" y="1254014"/>
                  </a:cubicBezTo>
                  <a:cubicBezTo>
                    <a:pt x="356216" y="1293228"/>
                    <a:pt x="319066" y="1317479"/>
                    <a:pt x="283464" y="1342246"/>
                  </a:cubicBezTo>
                  <a:cubicBezTo>
                    <a:pt x="276240" y="1346890"/>
                    <a:pt x="272112" y="1346374"/>
                    <a:pt x="265920" y="1341214"/>
                  </a:cubicBezTo>
                  <a:cubicBezTo>
                    <a:pt x="214323" y="1297356"/>
                    <a:pt x="169433" y="1246790"/>
                    <a:pt x="130218" y="1191580"/>
                  </a:cubicBezTo>
                  <a:cubicBezTo>
                    <a:pt x="125575" y="1185389"/>
                    <a:pt x="125059" y="1180745"/>
                    <a:pt x="130734" y="1174553"/>
                  </a:cubicBezTo>
                  <a:cubicBezTo>
                    <a:pt x="146730" y="1157010"/>
                    <a:pt x="161177" y="1138435"/>
                    <a:pt x="177688" y="1121408"/>
                  </a:cubicBezTo>
                  <a:cubicBezTo>
                    <a:pt x="191104" y="1107476"/>
                    <a:pt x="209163" y="1099221"/>
                    <a:pt x="225674" y="1089417"/>
                  </a:cubicBezTo>
                  <a:cubicBezTo>
                    <a:pt x="236510" y="1083225"/>
                    <a:pt x="237026" y="1078065"/>
                    <a:pt x="230834" y="1067230"/>
                  </a:cubicBezTo>
                  <a:cubicBezTo>
                    <a:pt x="218967" y="1047107"/>
                    <a:pt x="208647" y="1025436"/>
                    <a:pt x="198327" y="1004281"/>
                  </a:cubicBezTo>
                  <a:cubicBezTo>
                    <a:pt x="194716" y="997057"/>
                    <a:pt x="192136" y="993445"/>
                    <a:pt x="183880" y="998089"/>
                  </a:cubicBezTo>
                  <a:cubicBezTo>
                    <a:pt x="147246" y="1017180"/>
                    <a:pt x="108031" y="1024920"/>
                    <a:pt x="67269" y="1025952"/>
                  </a:cubicBezTo>
                  <a:cubicBezTo>
                    <a:pt x="63657" y="1025952"/>
                    <a:pt x="59529" y="1026984"/>
                    <a:pt x="55918" y="1027500"/>
                  </a:cubicBezTo>
                  <a:cubicBezTo>
                    <a:pt x="48694" y="1028532"/>
                    <a:pt x="44050" y="1025952"/>
                    <a:pt x="41470" y="1018212"/>
                  </a:cubicBezTo>
                  <a:cubicBezTo>
                    <a:pt x="21347" y="960939"/>
                    <a:pt x="6384" y="902117"/>
                    <a:pt x="1224" y="841748"/>
                  </a:cubicBezTo>
                  <a:cubicBezTo>
                    <a:pt x="-1872" y="808725"/>
                    <a:pt x="-1356" y="809241"/>
                    <a:pt x="30635" y="797374"/>
                  </a:cubicBezTo>
                  <a:cubicBezTo>
                    <a:pt x="64173" y="784474"/>
                    <a:pt x="98744" y="775703"/>
                    <a:pt x="134862" y="778799"/>
                  </a:cubicBezTo>
                  <a:cubicBezTo>
                    <a:pt x="144150" y="779315"/>
                    <a:pt x="147246" y="775187"/>
                    <a:pt x="147246" y="765899"/>
                  </a:cubicBezTo>
                  <a:cubicBezTo>
                    <a:pt x="147246" y="742680"/>
                    <a:pt x="148278" y="719461"/>
                    <a:pt x="150342" y="696242"/>
                  </a:cubicBezTo>
                  <a:cubicBezTo>
                    <a:pt x="151373" y="685923"/>
                    <a:pt x="150858" y="678699"/>
                    <a:pt x="137442" y="678699"/>
                  </a:cubicBezTo>
                  <a:cubicBezTo>
                    <a:pt x="92552" y="678699"/>
                    <a:pt x="53854" y="657544"/>
                    <a:pt x="14639" y="639485"/>
                  </a:cubicBezTo>
                  <a:cubicBezTo>
                    <a:pt x="7932" y="636389"/>
                    <a:pt x="6384" y="632261"/>
                    <a:pt x="7932" y="625037"/>
                  </a:cubicBezTo>
                  <a:cubicBezTo>
                    <a:pt x="20315" y="558476"/>
                    <a:pt x="40954" y="494495"/>
                    <a:pt x="69333" y="432578"/>
                  </a:cubicBezTo>
                  <a:cubicBezTo>
                    <a:pt x="72945" y="424838"/>
                    <a:pt x="77073" y="421742"/>
                    <a:pt x="86360" y="423806"/>
                  </a:cubicBezTo>
                  <a:cubicBezTo>
                    <a:pt x="107515" y="428450"/>
                    <a:pt x="129186" y="432578"/>
                    <a:pt x="150858" y="436706"/>
                  </a:cubicBezTo>
                  <a:cubicBezTo>
                    <a:pt x="171497" y="440833"/>
                    <a:pt x="188008" y="453733"/>
                    <a:pt x="206583" y="463536"/>
                  </a:cubicBezTo>
                  <a:cubicBezTo>
                    <a:pt x="216903" y="468696"/>
                    <a:pt x="221546" y="467664"/>
                    <a:pt x="227738" y="457345"/>
                  </a:cubicBezTo>
                  <a:cubicBezTo>
                    <a:pt x="239606" y="436706"/>
                    <a:pt x="253021" y="416582"/>
                    <a:pt x="266952" y="396459"/>
                  </a:cubicBezTo>
                  <a:cubicBezTo>
                    <a:pt x="271596" y="389752"/>
                    <a:pt x="271596" y="385108"/>
                    <a:pt x="264373" y="380980"/>
                  </a:cubicBezTo>
                  <a:cubicBezTo>
                    <a:pt x="225158" y="357761"/>
                    <a:pt x="200391" y="320611"/>
                    <a:pt x="175108" y="284492"/>
                  </a:cubicBezTo>
                  <a:cubicBezTo>
                    <a:pt x="170465" y="277785"/>
                    <a:pt x="170981" y="273657"/>
                    <a:pt x="176140" y="267981"/>
                  </a:cubicBezTo>
                  <a:cubicBezTo>
                    <a:pt x="219998" y="216383"/>
                    <a:pt x="270048" y="171493"/>
                    <a:pt x="325258" y="132279"/>
                  </a:cubicBezTo>
                  <a:cubicBezTo>
                    <a:pt x="331966" y="127635"/>
                    <a:pt x="336609" y="126603"/>
                    <a:pt x="343317" y="132795"/>
                  </a:cubicBezTo>
                  <a:cubicBezTo>
                    <a:pt x="360344" y="148274"/>
                    <a:pt x="378404" y="162722"/>
                    <a:pt x="395431" y="178717"/>
                  </a:cubicBezTo>
                  <a:cubicBezTo>
                    <a:pt x="409362" y="191616"/>
                    <a:pt x="416070" y="209160"/>
                    <a:pt x="426389" y="224639"/>
                  </a:cubicBezTo>
                  <a:cubicBezTo>
                    <a:pt x="437741" y="241666"/>
                    <a:pt x="435161" y="240634"/>
                    <a:pt x="451156" y="231347"/>
                  </a:cubicBezTo>
                  <a:cubicBezTo>
                    <a:pt x="470763" y="219995"/>
                    <a:pt x="491403" y="209676"/>
                    <a:pt x="512042" y="200388"/>
                  </a:cubicBezTo>
                  <a:cubicBezTo>
                    <a:pt x="521329" y="196260"/>
                    <a:pt x="522361" y="192132"/>
                    <a:pt x="518233" y="183877"/>
                  </a:cubicBezTo>
                  <a:cubicBezTo>
                    <a:pt x="499142" y="148274"/>
                    <a:pt x="492434" y="109576"/>
                    <a:pt x="491403" y="69846"/>
                  </a:cubicBezTo>
                  <a:cubicBezTo>
                    <a:pt x="491403" y="66234"/>
                    <a:pt x="490371" y="62106"/>
                    <a:pt x="489855" y="58494"/>
                  </a:cubicBezTo>
                  <a:cubicBezTo>
                    <a:pt x="488307" y="50239"/>
                    <a:pt x="491403" y="46111"/>
                    <a:pt x="499658" y="43015"/>
                  </a:cubicBezTo>
                  <a:cubicBezTo>
                    <a:pt x="563123" y="20312"/>
                    <a:pt x="628653" y="6380"/>
                    <a:pt x="695730" y="189"/>
                  </a:cubicBezTo>
                  <a:cubicBezTo>
                    <a:pt x="706049" y="-843"/>
                    <a:pt x="710693" y="2253"/>
                    <a:pt x="713273" y="12056"/>
                  </a:cubicBezTo>
                  <a:cubicBezTo>
                    <a:pt x="715337" y="19796"/>
                    <a:pt x="717917" y="27536"/>
                    <a:pt x="721012" y="35275"/>
                  </a:cubicBezTo>
                  <a:cubicBezTo>
                    <a:pt x="734428" y="67266"/>
                    <a:pt x="741136" y="99772"/>
                    <a:pt x="738556" y="134343"/>
                  </a:cubicBezTo>
                  <a:cubicBezTo>
                    <a:pt x="737524" y="145694"/>
                    <a:pt x="742168" y="148790"/>
                    <a:pt x="753519" y="148790"/>
                  </a:cubicBezTo>
                  <a:cubicBezTo>
                    <a:pt x="775706" y="148274"/>
                    <a:pt x="797893" y="149822"/>
                    <a:pt x="820596" y="151886"/>
                  </a:cubicBezTo>
                  <a:cubicBezTo>
                    <a:pt x="831948" y="152918"/>
                    <a:pt x="838655" y="152402"/>
                    <a:pt x="838655" y="138471"/>
                  </a:cubicBezTo>
                  <a:cubicBezTo>
                    <a:pt x="838655" y="94097"/>
                    <a:pt x="859810" y="55914"/>
                    <a:pt x="877354" y="16700"/>
                  </a:cubicBezTo>
                  <a:cubicBezTo>
                    <a:pt x="880449" y="9476"/>
                    <a:pt x="885093" y="7928"/>
                    <a:pt x="892317" y="9476"/>
                  </a:cubicBezTo>
                  <a:cubicBezTo>
                    <a:pt x="958878" y="21860"/>
                    <a:pt x="1022859" y="42499"/>
                    <a:pt x="1084777" y="70878"/>
                  </a:cubicBezTo>
                  <a:cubicBezTo>
                    <a:pt x="1092000" y="74489"/>
                    <a:pt x="1095096" y="78617"/>
                    <a:pt x="1093032" y="86873"/>
                  </a:cubicBezTo>
                  <a:cubicBezTo>
                    <a:pt x="1088388" y="108544"/>
                    <a:pt x="1084261" y="130731"/>
                    <a:pt x="1079617" y="152402"/>
                  </a:cubicBezTo>
                  <a:cubicBezTo>
                    <a:pt x="1075489" y="172525"/>
                    <a:pt x="1062590" y="189036"/>
                    <a:pt x="1053302" y="206580"/>
                  </a:cubicBezTo>
                  <a:cubicBezTo>
                    <a:pt x="1047626" y="217415"/>
                    <a:pt x="1048658" y="222575"/>
                    <a:pt x="1060010" y="228251"/>
                  </a:cubicBezTo>
                  <a:cubicBezTo>
                    <a:pt x="1080133" y="239602"/>
                    <a:pt x="1099740" y="252502"/>
                    <a:pt x="1118315" y="265917"/>
                  </a:cubicBezTo>
                  <a:cubicBezTo>
                    <a:pt x="1126571" y="272109"/>
                    <a:pt x="1131214" y="271593"/>
                    <a:pt x="1136374" y="262821"/>
                  </a:cubicBezTo>
                  <a:cubicBezTo>
                    <a:pt x="1159077" y="223607"/>
                    <a:pt x="1196744" y="199872"/>
                    <a:pt x="1232346" y="174589"/>
                  </a:cubicBezTo>
                  <a:cubicBezTo>
                    <a:pt x="1238538" y="170461"/>
                    <a:pt x="1242666" y="170977"/>
                    <a:pt x="1247825" y="175621"/>
                  </a:cubicBezTo>
                  <a:cubicBezTo>
                    <a:pt x="1299939" y="219995"/>
                    <a:pt x="1345345" y="270045"/>
                    <a:pt x="1384559" y="325770"/>
                  </a:cubicBezTo>
                  <a:cubicBezTo>
                    <a:pt x="1389203" y="331962"/>
                    <a:pt x="1389719" y="336606"/>
                    <a:pt x="1384043" y="342798"/>
                  </a:cubicBezTo>
                  <a:cubicBezTo>
                    <a:pt x="1368048" y="360857"/>
                    <a:pt x="1352569" y="379432"/>
                    <a:pt x="1336057" y="396975"/>
                  </a:cubicBezTo>
                  <a:cubicBezTo>
                    <a:pt x="1323674" y="409875"/>
                    <a:pt x="1306131" y="417098"/>
                    <a:pt x="1291167" y="426902"/>
                  </a:cubicBezTo>
                  <a:cubicBezTo>
                    <a:pt x="1276720" y="436706"/>
                    <a:pt x="1276720" y="436190"/>
                    <a:pt x="1284976" y="451153"/>
                  </a:cubicBezTo>
                  <a:cubicBezTo>
                    <a:pt x="1295811" y="471792"/>
                    <a:pt x="1306647" y="492431"/>
                    <a:pt x="1316450" y="513070"/>
                  </a:cubicBezTo>
                  <a:cubicBezTo>
                    <a:pt x="1320062" y="520294"/>
                    <a:pt x="1323158" y="523390"/>
                    <a:pt x="1330898" y="519262"/>
                  </a:cubicBezTo>
                  <a:cubicBezTo>
                    <a:pt x="1367532" y="500171"/>
                    <a:pt x="1406746" y="492431"/>
                    <a:pt x="1447509" y="491399"/>
                  </a:cubicBezTo>
                  <a:cubicBezTo>
                    <a:pt x="1451120" y="491399"/>
                    <a:pt x="1455248" y="490367"/>
                    <a:pt x="1458860" y="489851"/>
                  </a:cubicBezTo>
                  <a:cubicBezTo>
                    <a:pt x="1466600" y="488819"/>
                    <a:pt x="1470728" y="491399"/>
                    <a:pt x="1473307" y="499139"/>
                  </a:cubicBezTo>
                  <a:cubicBezTo>
                    <a:pt x="1493431" y="556412"/>
                    <a:pt x="1508394" y="615234"/>
                    <a:pt x="1513554" y="675603"/>
                  </a:cubicBezTo>
                  <a:cubicBezTo>
                    <a:pt x="1513554" y="676635"/>
                    <a:pt x="1513554" y="678183"/>
                    <a:pt x="1514070" y="679215"/>
                  </a:cubicBezTo>
                  <a:cubicBezTo>
                    <a:pt x="1518713" y="714301"/>
                    <a:pt x="1519745" y="706046"/>
                    <a:pt x="1490335" y="717397"/>
                  </a:cubicBezTo>
                  <a:cubicBezTo>
                    <a:pt x="1454732" y="730813"/>
                    <a:pt x="1418614" y="741648"/>
                    <a:pt x="1379916" y="738036"/>
                  </a:cubicBezTo>
                  <a:cubicBezTo>
                    <a:pt x="1371144" y="737004"/>
                    <a:pt x="1368048" y="740616"/>
                    <a:pt x="1367532" y="749904"/>
                  </a:cubicBezTo>
                  <a:cubicBezTo>
                    <a:pt x="1367016" y="774155"/>
                    <a:pt x="1365984" y="797890"/>
                    <a:pt x="1363920" y="822141"/>
                  </a:cubicBezTo>
                  <a:cubicBezTo>
                    <a:pt x="1363404" y="831944"/>
                    <a:pt x="1363920" y="838136"/>
                    <a:pt x="1375788" y="838136"/>
                  </a:cubicBezTo>
                  <a:cubicBezTo>
                    <a:pt x="1420678" y="838136"/>
                    <a:pt x="1459376" y="858775"/>
                    <a:pt x="1498590" y="876834"/>
                  </a:cubicBezTo>
                  <a:cubicBezTo>
                    <a:pt x="1505298" y="879930"/>
                    <a:pt x="1507878" y="883542"/>
                    <a:pt x="1506330" y="891798"/>
                  </a:cubicBezTo>
                  <a:cubicBezTo>
                    <a:pt x="1493947" y="958875"/>
                    <a:pt x="1472791" y="1023372"/>
                    <a:pt x="1444413" y="1085289"/>
                  </a:cubicBezTo>
                  <a:cubicBezTo>
                    <a:pt x="1441317" y="1092513"/>
                    <a:pt x="1437189" y="1094577"/>
                    <a:pt x="1429449" y="1093029"/>
                  </a:cubicBezTo>
                  <a:cubicBezTo>
                    <a:pt x="1386623" y="1085289"/>
                    <a:pt x="1343797" y="1078581"/>
                    <a:pt x="1306647" y="1052783"/>
                  </a:cubicBezTo>
                  <a:cubicBezTo>
                    <a:pt x="1297875" y="1046591"/>
                    <a:pt x="1293231" y="1048655"/>
                    <a:pt x="1287556" y="1057942"/>
                  </a:cubicBezTo>
                  <a:cubicBezTo>
                    <a:pt x="1275688" y="1078581"/>
                    <a:pt x="1262273" y="1098705"/>
                    <a:pt x="1248857" y="1118828"/>
                  </a:cubicBezTo>
                  <a:cubicBezTo>
                    <a:pt x="1244214" y="1125535"/>
                    <a:pt x="1242150" y="1130179"/>
                    <a:pt x="1250405" y="1135339"/>
                  </a:cubicBezTo>
                  <a:cubicBezTo>
                    <a:pt x="1289620" y="1158558"/>
                    <a:pt x="1313871" y="1194676"/>
                    <a:pt x="1339153" y="1230795"/>
                  </a:cubicBezTo>
                  <a:cubicBezTo>
                    <a:pt x="1344313" y="1238018"/>
                    <a:pt x="1343797" y="1242662"/>
                    <a:pt x="1337605" y="1249370"/>
                  </a:cubicBezTo>
                  <a:cubicBezTo>
                    <a:pt x="1293747" y="1300968"/>
                    <a:pt x="1244214" y="1345342"/>
                    <a:pt x="1189004" y="1384040"/>
                  </a:cubicBezTo>
                  <a:cubicBezTo>
                    <a:pt x="1182296" y="1388684"/>
                    <a:pt x="1177652" y="1389716"/>
                    <a:pt x="1170945" y="1383524"/>
                  </a:cubicBezTo>
                  <a:cubicBezTo>
                    <a:pt x="1153918" y="1368045"/>
                    <a:pt x="1135858" y="1353597"/>
                    <a:pt x="1118831" y="1337602"/>
                  </a:cubicBezTo>
                  <a:cubicBezTo>
                    <a:pt x="1104384" y="1324187"/>
                    <a:pt x="1096644" y="1306128"/>
                    <a:pt x="1086840" y="1289616"/>
                  </a:cubicBezTo>
                  <a:cubicBezTo>
                    <a:pt x="1080133" y="1278265"/>
                    <a:pt x="1074973" y="1277749"/>
                    <a:pt x="1064137" y="1284456"/>
                  </a:cubicBezTo>
                  <a:cubicBezTo>
                    <a:pt x="1044530" y="1296324"/>
                    <a:pt x="1023375" y="1306643"/>
                    <a:pt x="1002220" y="1316447"/>
                  </a:cubicBezTo>
                  <a:cubicBezTo>
                    <a:pt x="993449" y="1320575"/>
                    <a:pt x="991385" y="1324703"/>
                    <a:pt x="996028" y="1332958"/>
                  </a:cubicBezTo>
                  <a:cubicBezTo>
                    <a:pt x="1015120" y="1368561"/>
                    <a:pt x="1021827" y="1407259"/>
                    <a:pt x="1022859" y="1446989"/>
                  </a:cubicBezTo>
                  <a:cubicBezTo>
                    <a:pt x="1022859" y="1451117"/>
                    <a:pt x="1023891" y="1455245"/>
                    <a:pt x="1024407" y="1459889"/>
                  </a:cubicBezTo>
                  <a:cubicBezTo>
                    <a:pt x="1025439" y="1466596"/>
                    <a:pt x="1022859" y="1470724"/>
                    <a:pt x="1015636" y="1473304"/>
                  </a:cubicBezTo>
                  <a:cubicBezTo>
                    <a:pt x="970745" y="1493943"/>
                    <a:pt x="870646" y="1516130"/>
                    <a:pt x="817500" y="1518710"/>
                  </a:cubicBezTo>
                  <a:close/>
                  <a:moveTo>
                    <a:pt x="758163" y="1148238"/>
                  </a:moveTo>
                  <a:cubicBezTo>
                    <a:pt x="974357" y="1144627"/>
                    <a:pt x="1145146" y="976418"/>
                    <a:pt x="1145146" y="758675"/>
                  </a:cubicBezTo>
                  <a:cubicBezTo>
                    <a:pt x="1145146" y="542481"/>
                    <a:pt x="974357" y="371176"/>
                    <a:pt x="757131" y="371176"/>
                  </a:cubicBezTo>
                  <a:cubicBezTo>
                    <a:pt x="539904" y="371176"/>
                    <a:pt x="368600" y="542481"/>
                    <a:pt x="368600" y="759707"/>
                  </a:cubicBezTo>
                  <a:cubicBezTo>
                    <a:pt x="369116" y="977966"/>
                    <a:pt x="541452" y="1145659"/>
                    <a:pt x="758163" y="1148238"/>
                  </a:cubicBezTo>
                  <a:close/>
                </a:path>
              </a:pathLst>
            </a:custGeom>
            <a:grpFill/>
            <a:ln w="51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3E87EBBC-FED0-431E-A2D8-2BF60AF707F1}"/>
              </a:ext>
            </a:extLst>
          </p:cNvPr>
          <p:cNvGrpSpPr/>
          <p:nvPr userDrawn="1"/>
        </p:nvGrpSpPr>
        <p:grpSpPr>
          <a:xfrm rot="13107797">
            <a:off x="6810793" y="5777610"/>
            <a:ext cx="1277753" cy="767764"/>
            <a:chOff x="2753518" y="3556278"/>
            <a:chExt cx="2028524" cy="1218879"/>
          </a:xfrm>
          <a:solidFill>
            <a:schemeClr val="bg1">
              <a:alpha val="5000"/>
            </a:schemeClr>
          </a:solidFill>
        </p:grpSpPr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4E8B5CDA-A8E3-48D9-B1C6-1E28374AAF94}"/>
                </a:ext>
              </a:extLst>
            </p:cNvPr>
            <p:cNvSpPr/>
            <p:nvPr/>
          </p:nvSpPr>
          <p:spPr>
            <a:xfrm>
              <a:off x="2753518" y="3683131"/>
              <a:ext cx="796648" cy="799367"/>
            </a:xfrm>
            <a:custGeom>
              <a:avLst/>
              <a:gdLst>
                <a:gd name="connsiteX0" fmla="*/ 817500 w 1511813"/>
                <a:gd name="connsiteY0" fmla="*/ 1518710 h 1516973"/>
                <a:gd name="connsiteX1" fmla="*/ 802537 w 1511813"/>
                <a:gd name="connsiteY1" fmla="*/ 1507875 h 1516973"/>
                <a:gd name="connsiteX2" fmla="*/ 780866 w 1511813"/>
                <a:gd name="connsiteY2" fmla="*/ 1442862 h 1516973"/>
                <a:gd name="connsiteX3" fmla="*/ 776738 w 1511813"/>
                <a:gd name="connsiteY3" fmla="*/ 1385072 h 1516973"/>
                <a:gd name="connsiteX4" fmla="*/ 760227 w 1511813"/>
                <a:gd name="connsiteY4" fmla="*/ 1369593 h 1516973"/>
                <a:gd name="connsiteX5" fmla="*/ 694698 w 1511813"/>
                <a:gd name="connsiteY5" fmla="*/ 1366497 h 1516973"/>
                <a:gd name="connsiteX6" fmla="*/ 676638 w 1511813"/>
                <a:gd name="connsiteY6" fmla="*/ 1379912 h 1516973"/>
                <a:gd name="connsiteX7" fmla="*/ 637940 w 1511813"/>
                <a:gd name="connsiteY7" fmla="*/ 1501683 h 1516973"/>
                <a:gd name="connsiteX8" fmla="*/ 622977 w 1511813"/>
                <a:gd name="connsiteY8" fmla="*/ 1508907 h 1516973"/>
                <a:gd name="connsiteX9" fmla="*/ 430517 w 1511813"/>
                <a:gd name="connsiteY9" fmla="*/ 1447505 h 1516973"/>
                <a:gd name="connsiteX10" fmla="*/ 422262 w 1511813"/>
                <a:gd name="connsiteY10" fmla="*/ 1431510 h 1516973"/>
                <a:gd name="connsiteX11" fmla="*/ 435677 w 1511813"/>
                <a:gd name="connsiteY11" fmla="*/ 1364433 h 1516973"/>
                <a:gd name="connsiteX12" fmla="*/ 461992 w 1511813"/>
                <a:gd name="connsiteY12" fmla="*/ 1310255 h 1516973"/>
                <a:gd name="connsiteX13" fmla="*/ 456316 w 1511813"/>
                <a:gd name="connsiteY13" fmla="*/ 1290132 h 1516973"/>
                <a:gd name="connsiteX14" fmla="*/ 395431 w 1511813"/>
                <a:gd name="connsiteY14" fmla="*/ 1251434 h 1516973"/>
                <a:gd name="connsiteX15" fmla="*/ 378919 w 1511813"/>
                <a:gd name="connsiteY15" fmla="*/ 1254014 h 1516973"/>
                <a:gd name="connsiteX16" fmla="*/ 283464 w 1511813"/>
                <a:gd name="connsiteY16" fmla="*/ 1342246 h 1516973"/>
                <a:gd name="connsiteX17" fmla="*/ 265920 w 1511813"/>
                <a:gd name="connsiteY17" fmla="*/ 1341214 h 1516973"/>
                <a:gd name="connsiteX18" fmla="*/ 130218 w 1511813"/>
                <a:gd name="connsiteY18" fmla="*/ 1191580 h 1516973"/>
                <a:gd name="connsiteX19" fmla="*/ 130734 w 1511813"/>
                <a:gd name="connsiteY19" fmla="*/ 1174553 h 1516973"/>
                <a:gd name="connsiteX20" fmla="*/ 177688 w 1511813"/>
                <a:gd name="connsiteY20" fmla="*/ 1121408 h 1516973"/>
                <a:gd name="connsiteX21" fmla="*/ 225674 w 1511813"/>
                <a:gd name="connsiteY21" fmla="*/ 1089417 h 1516973"/>
                <a:gd name="connsiteX22" fmla="*/ 230834 w 1511813"/>
                <a:gd name="connsiteY22" fmla="*/ 1067230 h 1516973"/>
                <a:gd name="connsiteX23" fmla="*/ 198327 w 1511813"/>
                <a:gd name="connsiteY23" fmla="*/ 1004281 h 1516973"/>
                <a:gd name="connsiteX24" fmla="*/ 183880 w 1511813"/>
                <a:gd name="connsiteY24" fmla="*/ 998089 h 1516973"/>
                <a:gd name="connsiteX25" fmla="*/ 67269 w 1511813"/>
                <a:gd name="connsiteY25" fmla="*/ 1025952 h 1516973"/>
                <a:gd name="connsiteX26" fmla="*/ 55918 w 1511813"/>
                <a:gd name="connsiteY26" fmla="*/ 1027500 h 1516973"/>
                <a:gd name="connsiteX27" fmla="*/ 41470 w 1511813"/>
                <a:gd name="connsiteY27" fmla="*/ 1018212 h 1516973"/>
                <a:gd name="connsiteX28" fmla="*/ 1224 w 1511813"/>
                <a:gd name="connsiteY28" fmla="*/ 841748 h 1516973"/>
                <a:gd name="connsiteX29" fmla="*/ 30635 w 1511813"/>
                <a:gd name="connsiteY29" fmla="*/ 797374 h 1516973"/>
                <a:gd name="connsiteX30" fmla="*/ 134862 w 1511813"/>
                <a:gd name="connsiteY30" fmla="*/ 778799 h 1516973"/>
                <a:gd name="connsiteX31" fmla="*/ 147246 w 1511813"/>
                <a:gd name="connsiteY31" fmla="*/ 765899 h 1516973"/>
                <a:gd name="connsiteX32" fmla="*/ 150342 w 1511813"/>
                <a:gd name="connsiteY32" fmla="*/ 696242 h 1516973"/>
                <a:gd name="connsiteX33" fmla="*/ 137442 w 1511813"/>
                <a:gd name="connsiteY33" fmla="*/ 678699 h 1516973"/>
                <a:gd name="connsiteX34" fmla="*/ 14639 w 1511813"/>
                <a:gd name="connsiteY34" fmla="*/ 639485 h 1516973"/>
                <a:gd name="connsiteX35" fmla="*/ 7932 w 1511813"/>
                <a:gd name="connsiteY35" fmla="*/ 625037 h 1516973"/>
                <a:gd name="connsiteX36" fmla="*/ 69333 w 1511813"/>
                <a:gd name="connsiteY36" fmla="*/ 432578 h 1516973"/>
                <a:gd name="connsiteX37" fmla="*/ 86360 w 1511813"/>
                <a:gd name="connsiteY37" fmla="*/ 423806 h 1516973"/>
                <a:gd name="connsiteX38" fmla="*/ 150858 w 1511813"/>
                <a:gd name="connsiteY38" fmla="*/ 436706 h 1516973"/>
                <a:gd name="connsiteX39" fmla="*/ 206583 w 1511813"/>
                <a:gd name="connsiteY39" fmla="*/ 463536 h 1516973"/>
                <a:gd name="connsiteX40" fmla="*/ 227738 w 1511813"/>
                <a:gd name="connsiteY40" fmla="*/ 457345 h 1516973"/>
                <a:gd name="connsiteX41" fmla="*/ 266952 w 1511813"/>
                <a:gd name="connsiteY41" fmla="*/ 396459 h 1516973"/>
                <a:gd name="connsiteX42" fmla="*/ 264373 w 1511813"/>
                <a:gd name="connsiteY42" fmla="*/ 380980 h 1516973"/>
                <a:gd name="connsiteX43" fmla="*/ 175108 w 1511813"/>
                <a:gd name="connsiteY43" fmla="*/ 284492 h 1516973"/>
                <a:gd name="connsiteX44" fmla="*/ 176140 w 1511813"/>
                <a:gd name="connsiteY44" fmla="*/ 267981 h 1516973"/>
                <a:gd name="connsiteX45" fmla="*/ 325258 w 1511813"/>
                <a:gd name="connsiteY45" fmla="*/ 132279 h 1516973"/>
                <a:gd name="connsiteX46" fmla="*/ 343317 w 1511813"/>
                <a:gd name="connsiteY46" fmla="*/ 132795 h 1516973"/>
                <a:gd name="connsiteX47" fmla="*/ 395431 w 1511813"/>
                <a:gd name="connsiteY47" fmla="*/ 178717 h 1516973"/>
                <a:gd name="connsiteX48" fmla="*/ 426389 w 1511813"/>
                <a:gd name="connsiteY48" fmla="*/ 224639 h 1516973"/>
                <a:gd name="connsiteX49" fmla="*/ 451156 w 1511813"/>
                <a:gd name="connsiteY49" fmla="*/ 231347 h 1516973"/>
                <a:gd name="connsiteX50" fmla="*/ 512042 w 1511813"/>
                <a:gd name="connsiteY50" fmla="*/ 200388 h 1516973"/>
                <a:gd name="connsiteX51" fmla="*/ 518233 w 1511813"/>
                <a:gd name="connsiteY51" fmla="*/ 183877 h 1516973"/>
                <a:gd name="connsiteX52" fmla="*/ 491403 w 1511813"/>
                <a:gd name="connsiteY52" fmla="*/ 69846 h 1516973"/>
                <a:gd name="connsiteX53" fmla="*/ 489855 w 1511813"/>
                <a:gd name="connsiteY53" fmla="*/ 58494 h 1516973"/>
                <a:gd name="connsiteX54" fmla="*/ 499658 w 1511813"/>
                <a:gd name="connsiteY54" fmla="*/ 43015 h 1516973"/>
                <a:gd name="connsiteX55" fmla="*/ 695730 w 1511813"/>
                <a:gd name="connsiteY55" fmla="*/ 189 h 1516973"/>
                <a:gd name="connsiteX56" fmla="*/ 713273 w 1511813"/>
                <a:gd name="connsiteY56" fmla="*/ 12056 h 1516973"/>
                <a:gd name="connsiteX57" fmla="*/ 721012 w 1511813"/>
                <a:gd name="connsiteY57" fmla="*/ 35275 h 1516973"/>
                <a:gd name="connsiteX58" fmla="*/ 738556 w 1511813"/>
                <a:gd name="connsiteY58" fmla="*/ 134343 h 1516973"/>
                <a:gd name="connsiteX59" fmla="*/ 753519 w 1511813"/>
                <a:gd name="connsiteY59" fmla="*/ 148790 h 1516973"/>
                <a:gd name="connsiteX60" fmla="*/ 820596 w 1511813"/>
                <a:gd name="connsiteY60" fmla="*/ 151886 h 1516973"/>
                <a:gd name="connsiteX61" fmla="*/ 838655 w 1511813"/>
                <a:gd name="connsiteY61" fmla="*/ 138471 h 1516973"/>
                <a:gd name="connsiteX62" fmla="*/ 877354 w 1511813"/>
                <a:gd name="connsiteY62" fmla="*/ 16700 h 1516973"/>
                <a:gd name="connsiteX63" fmla="*/ 892317 w 1511813"/>
                <a:gd name="connsiteY63" fmla="*/ 9476 h 1516973"/>
                <a:gd name="connsiteX64" fmla="*/ 1084777 w 1511813"/>
                <a:gd name="connsiteY64" fmla="*/ 70878 h 1516973"/>
                <a:gd name="connsiteX65" fmla="*/ 1093032 w 1511813"/>
                <a:gd name="connsiteY65" fmla="*/ 86873 h 1516973"/>
                <a:gd name="connsiteX66" fmla="*/ 1079617 w 1511813"/>
                <a:gd name="connsiteY66" fmla="*/ 152402 h 1516973"/>
                <a:gd name="connsiteX67" fmla="*/ 1053302 w 1511813"/>
                <a:gd name="connsiteY67" fmla="*/ 206580 h 1516973"/>
                <a:gd name="connsiteX68" fmla="*/ 1060010 w 1511813"/>
                <a:gd name="connsiteY68" fmla="*/ 228251 h 1516973"/>
                <a:gd name="connsiteX69" fmla="*/ 1118315 w 1511813"/>
                <a:gd name="connsiteY69" fmla="*/ 265917 h 1516973"/>
                <a:gd name="connsiteX70" fmla="*/ 1136374 w 1511813"/>
                <a:gd name="connsiteY70" fmla="*/ 262821 h 1516973"/>
                <a:gd name="connsiteX71" fmla="*/ 1232346 w 1511813"/>
                <a:gd name="connsiteY71" fmla="*/ 174589 h 1516973"/>
                <a:gd name="connsiteX72" fmla="*/ 1247825 w 1511813"/>
                <a:gd name="connsiteY72" fmla="*/ 175621 h 1516973"/>
                <a:gd name="connsiteX73" fmla="*/ 1384559 w 1511813"/>
                <a:gd name="connsiteY73" fmla="*/ 325770 h 1516973"/>
                <a:gd name="connsiteX74" fmla="*/ 1384043 w 1511813"/>
                <a:gd name="connsiteY74" fmla="*/ 342798 h 1516973"/>
                <a:gd name="connsiteX75" fmla="*/ 1336057 w 1511813"/>
                <a:gd name="connsiteY75" fmla="*/ 396975 h 1516973"/>
                <a:gd name="connsiteX76" fmla="*/ 1291167 w 1511813"/>
                <a:gd name="connsiteY76" fmla="*/ 426902 h 1516973"/>
                <a:gd name="connsiteX77" fmla="*/ 1284976 w 1511813"/>
                <a:gd name="connsiteY77" fmla="*/ 451153 h 1516973"/>
                <a:gd name="connsiteX78" fmla="*/ 1316450 w 1511813"/>
                <a:gd name="connsiteY78" fmla="*/ 513070 h 1516973"/>
                <a:gd name="connsiteX79" fmla="*/ 1330898 w 1511813"/>
                <a:gd name="connsiteY79" fmla="*/ 519262 h 1516973"/>
                <a:gd name="connsiteX80" fmla="*/ 1447509 w 1511813"/>
                <a:gd name="connsiteY80" fmla="*/ 491399 h 1516973"/>
                <a:gd name="connsiteX81" fmla="*/ 1458860 w 1511813"/>
                <a:gd name="connsiteY81" fmla="*/ 489851 h 1516973"/>
                <a:gd name="connsiteX82" fmla="*/ 1473307 w 1511813"/>
                <a:gd name="connsiteY82" fmla="*/ 499139 h 1516973"/>
                <a:gd name="connsiteX83" fmla="*/ 1513554 w 1511813"/>
                <a:gd name="connsiteY83" fmla="*/ 675603 h 1516973"/>
                <a:gd name="connsiteX84" fmla="*/ 1514070 w 1511813"/>
                <a:gd name="connsiteY84" fmla="*/ 679215 h 1516973"/>
                <a:gd name="connsiteX85" fmla="*/ 1490335 w 1511813"/>
                <a:gd name="connsiteY85" fmla="*/ 717397 h 1516973"/>
                <a:gd name="connsiteX86" fmla="*/ 1379916 w 1511813"/>
                <a:gd name="connsiteY86" fmla="*/ 738036 h 1516973"/>
                <a:gd name="connsiteX87" fmla="*/ 1367532 w 1511813"/>
                <a:gd name="connsiteY87" fmla="*/ 749904 h 1516973"/>
                <a:gd name="connsiteX88" fmla="*/ 1363920 w 1511813"/>
                <a:gd name="connsiteY88" fmla="*/ 822141 h 1516973"/>
                <a:gd name="connsiteX89" fmla="*/ 1375788 w 1511813"/>
                <a:gd name="connsiteY89" fmla="*/ 838136 h 1516973"/>
                <a:gd name="connsiteX90" fmla="*/ 1498590 w 1511813"/>
                <a:gd name="connsiteY90" fmla="*/ 876834 h 1516973"/>
                <a:gd name="connsiteX91" fmla="*/ 1506330 w 1511813"/>
                <a:gd name="connsiteY91" fmla="*/ 891798 h 1516973"/>
                <a:gd name="connsiteX92" fmla="*/ 1444413 w 1511813"/>
                <a:gd name="connsiteY92" fmla="*/ 1085289 h 1516973"/>
                <a:gd name="connsiteX93" fmla="*/ 1429449 w 1511813"/>
                <a:gd name="connsiteY93" fmla="*/ 1093029 h 1516973"/>
                <a:gd name="connsiteX94" fmla="*/ 1306647 w 1511813"/>
                <a:gd name="connsiteY94" fmla="*/ 1052783 h 1516973"/>
                <a:gd name="connsiteX95" fmla="*/ 1287556 w 1511813"/>
                <a:gd name="connsiteY95" fmla="*/ 1057942 h 1516973"/>
                <a:gd name="connsiteX96" fmla="*/ 1248857 w 1511813"/>
                <a:gd name="connsiteY96" fmla="*/ 1118828 h 1516973"/>
                <a:gd name="connsiteX97" fmla="*/ 1250405 w 1511813"/>
                <a:gd name="connsiteY97" fmla="*/ 1135339 h 1516973"/>
                <a:gd name="connsiteX98" fmla="*/ 1339153 w 1511813"/>
                <a:gd name="connsiteY98" fmla="*/ 1230795 h 1516973"/>
                <a:gd name="connsiteX99" fmla="*/ 1337605 w 1511813"/>
                <a:gd name="connsiteY99" fmla="*/ 1249370 h 1516973"/>
                <a:gd name="connsiteX100" fmla="*/ 1189004 w 1511813"/>
                <a:gd name="connsiteY100" fmla="*/ 1384040 h 1516973"/>
                <a:gd name="connsiteX101" fmla="*/ 1170945 w 1511813"/>
                <a:gd name="connsiteY101" fmla="*/ 1383524 h 1516973"/>
                <a:gd name="connsiteX102" fmla="*/ 1118831 w 1511813"/>
                <a:gd name="connsiteY102" fmla="*/ 1337602 h 1516973"/>
                <a:gd name="connsiteX103" fmla="*/ 1086840 w 1511813"/>
                <a:gd name="connsiteY103" fmla="*/ 1289616 h 1516973"/>
                <a:gd name="connsiteX104" fmla="*/ 1064137 w 1511813"/>
                <a:gd name="connsiteY104" fmla="*/ 1284456 h 1516973"/>
                <a:gd name="connsiteX105" fmla="*/ 1002220 w 1511813"/>
                <a:gd name="connsiteY105" fmla="*/ 1316447 h 1516973"/>
                <a:gd name="connsiteX106" fmla="*/ 996028 w 1511813"/>
                <a:gd name="connsiteY106" fmla="*/ 1332958 h 1516973"/>
                <a:gd name="connsiteX107" fmla="*/ 1022859 w 1511813"/>
                <a:gd name="connsiteY107" fmla="*/ 1446989 h 1516973"/>
                <a:gd name="connsiteX108" fmla="*/ 1024407 w 1511813"/>
                <a:gd name="connsiteY108" fmla="*/ 1459889 h 1516973"/>
                <a:gd name="connsiteX109" fmla="*/ 1015636 w 1511813"/>
                <a:gd name="connsiteY109" fmla="*/ 1473304 h 1516973"/>
                <a:gd name="connsiteX110" fmla="*/ 817500 w 1511813"/>
                <a:gd name="connsiteY110" fmla="*/ 1518710 h 1516973"/>
                <a:gd name="connsiteX111" fmla="*/ 758163 w 1511813"/>
                <a:gd name="connsiteY111" fmla="*/ 1148238 h 1516973"/>
                <a:gd name="connsiteX112" fmla="*/ 1145146 w 1511813"/>
                <a:gd name="connsiteY112" fmla="*/ 758675 h 1516973"/>
                <a:gd name="connsiteX113" fmla="*/ 757131 w 1511813"/>
                <a:gd name="connsiteY113" fmla="*/ 371176 h 1516973"/>
                <a:gd name="connsiteX114" fmla="*/ 368600 w 1511813"/>
                <a:gd name="connsiteY114" fmla="*/ 759707 h 1516973"/>
                <a:gd name="connsiteX115" fmla="*/ 758163 w 1511813"/>
                <a:gd name="connsiteY115" fmla="*/ 1148238 h 1516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</a:cxnLst>
              <a:rect l="l" t="t" r="r" b="b"/>
              <a:pathLst>
                <a:path w="1511813" h="1516973">
                  <a:moveTo>
                    <a:pt x="817500" y="1518710"/>
                  </a:moveTo>
                  <a:cubicBezTo>
                    <a:pt x="809245" y="1520774"/>
                    <a:pt x="805633" y="1516130"/>
                    <a:pt x="802537" y="1507875"/>
                  </a:cubicBezTo>
                  <a:cubicBezTo>
                    <a:pt x="795829" y="1486204"/>
                    <a:pt x="788090" y="1464532"/>
                    <a:pt x="780866" y="1442862"/>
                  </a:cubicBezTo>
                  <a:cubicBezTo>
                    <a:pt x="774674" y="1424286"/>
                    <a:pt x="777770" y="1404679"/>
                    <a:pt x="776738" y="1385072"/>
                  </a:cubicBezTo>
                  <a:cubicBezTo>
                    <a:pt x="776222" y="1369593"/>
                    <a:pt x="775706" y="1370109"/>
                    <a:pt x="760227" y="1369593"/>
                  </a:cubicBezTo>
                  <a:cubicBezTo>
                    <a:pt x="738556" y="1369593"/>
                    <a:pt x="716369" y="1368045"/>
                    <a:pt x="694698" y="1366497"/>
                  </a:cubicBezTo>
                  <a:cubicBezTo>
                    <a:pt x="683346" y="1365465"/>
                    <a:pt x="676638" y="1365981"/>
                    <a:pt x="676638" y="1379912"/>
                  </a:cubicBezTo>
                  <a:cubicBezTo>
                    <a:pt x="676638" y="1424286"/>
                    <a:pt x="655483" y="1462469"/>
                    <a:pt x="637940" y="1501683"/>
                  </a:cubicBezTo>
                  <a:cubicBezTo>
                    <a:pt x="634844" y="1508907"/>
                    <a:pt x="630716" y="1510454"/>
                    <a:pt x="622977" y="1508907"/>
                  </a:cubicBezTo>
                  <a:cubicBezTo>
                    <a:pt x="556416" y="1496523"/>
                    <a:pt x="492434" y="1475368"/>
                    <a:pt x="430517" y="1447505"/>
                  </a:cubicBezTo>
                  <a:cubicBezTo>
                    <a:pt x="423294" y="1443893"/>
                    <a:pt x="420198" y="1440282"/>
                    <a:pt x="422262" y="1431510"/>
                  </a:cubicBezTo>
                  <a:cubicBezTo>
                    <a:pt x="427421" y="1409323"/>
                    <a:pt x="431033" y="1386620"/>
                    <a:pt x="435677" y="1364433"/>
                  </a:cubicBezTo>
                  <a:cubicBezTo>
                    <a:pt x="439805" y="1344310"/>
                    <a:pt x="452704" y="1327798"/>
                    <a:pt x="461992" y="1310255"/>
                  </a:cubicBezTo>
                  <a:cubicBezTo>
                    <a:pt x="467152" y="1300452"/>
                    <a:pt x="466120" y="1295808"/>
                    <a:pt x="456316" y="1290132"/>
                  </a:cubicBezTo>
                  <a:cubicBezTo>
                    <a:pt x="435677" y="1278265"/>
                    <a:pt x="415554" y="1264849"/>
                    <a:pt x="395431" y="1251434"/>
                  </a:cubicBezTo>
                  <a:cubicBezTo>
                    <a:pt x="388207" y="1246274"/>
                    <a:pt x="383563" y="1246274"/>
                    <a:pt x="378919" y="1254014"/>
                  </a:cubicBezTo>
                  <a:cubicBezTo>
                    <a:pt x="356216" y="1293228"/>
                    <a:pt x="319066" y="1317479"/>
                    <a:pt x="283464" y="1342246"/>
                  </a:cubicBezTo>
                  <a:cubicBezTo>
                    <a:pt x="276240" y="1346890"/>
                    <a:pt x="272112" y="1346374"/>
                    <a:pt x="265920" y="1341214"/>
                  </a:cubicBezTo>
                  <a:cubicBezTo>
                    <a:pt x="214323" y="1297356"/>
                    <a:pt x="169433" y="1246790"/>
                    <a:pt x="130218" y="1191580"/>
                  </a:cubicBezTo>
                  <a:cubicBezTo>
                    <a:pt x="125575" y="1185389"/>
                    <a:pt x="125059" y="1180745"/>
                    <a:pt x="130734" y="1174553"/>
                  </a:cubicBezTo>
                  <a:cubicBezTo>
                    <a:pt x="146730" y="1157010"/>
                    <a:pt x="161177" y="1138435"/>
                    <a:pt x="177688" y="1121408"/>
                  </a:cubicBezTo>
                  <a:cubicBezTo>
                    <a:pt x="191104" y="1107476"/>
                    <a:pt x="209163" y="1099221"/>
                    <a:pt x="225674" y="1089417"/>
                  </a:cubicBezTo>
                  <a:cubicBezTo>
                    <a:pt x="236510" y="1083225"/>
                    <a:pt x="237026" y="1078065"/>
                    <a:pt x="230834" y="1067230"/>
                  </a:cubicBezTo>
                  <a:cubicBezTo>
                    <a:pt x="218967" y="1047107"/>
                    <a:pt x="208647" y="1025436"/>
                    <a:pt x="198327" y="1004281"/>
                  </a:cubicBezTo>
                  <a:cubicBezTo>
                    <a:pt x="194716" y="997057"/>
                    <a:pt x="192136" y="993445"/>
                    <a:pt x="183880" y="998089"/>
                  </a:cubicBezTo>
                  <a:cubicBezTo>
                    <a:pt x="147246" y="1017180"/>
                    <a:pt x="108031" y="1024920"/>
                    <a:pt x="67269" y="1025952"/>
                  </a:cubicBezTo>
                  <a:cubicBezTo>
                    <a:pt x="63657" y="1025952"/>
                    <a:pt x="59529" y="1026984"/>
                    <a:pt x="55918" y="1027500"/>
                  </a:cubicBezTo>
                  <a:cubicBezTo>
                    <a:pt x="48694" y="1028532"/>
                    <a:pt x="44050" y="1025952"/>
                    <a:pt x="41470" y="1018212"/>
                  </a:cubicBezTo>
                  <a:cubicBezTo>
                    <a:pt x="21347" y="960939"/>
                    <a:pt x="6384" y="902117"/>
                    <a:pt x="1224" y="841748"/>
                  </a:cubicBezTo>
                  <a:cubicBezTo>
                    <a:pt x="-1872" y="808725"/>
                    <a:pt x="-1356" y="809241"/>
                    <a:pt x="30635" y="797374"/>
                  </a:cubicBezTo>
                  <a:cubicBezTo>
                    <a:pt x="64173" y="784474"/>
                    <a:pt x="98744" y="775703"/>
                    <a:pt x="134862" y="778799"/>
                  </a:cubicBezTo>
                  <a:cubicBezTo>
                    <a:pt x="144150" y="779315"/>
                    <a:pt x="147246" y="775187"/>
                    <a:pt x="147246" y="765899"/>
                  </a:cubicBezTo>
                  <a:cubicBezTo>
                    <a:pt x="147246" y="742680"/>
                    <a:pt x="148278" y="719461"/>
                    <a:pt x="150342" y="696242"/>
                  </a:cubicBezTo>
                  <a:cubicBezTo>
                    <a:pt x="151373" y="685923"/>
                    <a:pt x="150858" y="678699"/>
                    <a:pt x="137442" y="678699"/>
                  </a:cubicBezTo>
                  <a:cubicBezTo>
                    <a:pt x="92552" y="678699"/>
                    <a:pt x="53854" y="657544"/>
                    <a:pt x="14639" y="639485"/>
                  </a:cubicBezTo>
                  <a:cubicBezTo>
                    <a:pt x="7932" y="636389"/>
                    <a:pt x="6384" y="632261"/>
                    <a:pt x="7932" y="625037"/>
                  </a:cubicBezTo>
                  <a:cubicBezTo>
                    <a:pt x="20315" y="558476"/>
                    <a:pt x="40954" y="494495"/>
                    <a:pt x="69333" y="432578"/>
                  </a:cubicBezTo>
                  <a:cubicBezTo>
                    <a:pt x="72945" y="424838"/>
                    <a:pt x="77073" y="421742"/>
                    <a:pt x="86360" y="423806"/>
                  </a:cubicBezTo>
                  <a:cubicBezTo>
                    <a:pt x="107515" y="428450"/>
                    <a:pt x="129186" y="432578"/>
                    <a:pt x="150858" y="436706"/>
                  </a:cubicBezTo>
                  <a:cubicBezTo>
                    <a:pt x="171497" y="440833"/>
                    <a:pt x="188008" y="453733"/>
                    <a:pt x="206583" y="463536"/>
                  </a:cubicBezTo>
                  <a:cubicBezTo>
                    <a:pt x="216903" y="468696"/>
                    <a:pt x="221546" y="467664"/>
                    <a:pt x="227738" y="457345"/>
                  </a:cubicBezTo>
                  <a:cubicBezTo>
                    <a:pt x="239606" y="436706"/>
                    <a:pt x="253021" y="416582"/>
                    <a:pt x="266952" y="396459"/>
                  </a:cubicBezTo>
                  <a:cubicBezTo>
                    <a:pt x="271596" y="389752"/>
                    <a:pt x="271596" y="385108"/>
                    <a:pt x="264373" y="380980"/>
                  </a:cubicBezTo>
                  <a:cubicBezTo>
                    <a:pt x="225158" y="357761"/>
                    <a:pt x="200391" y="320611"/>
                    <a:pt x="175108" y="284492"/>
                  </a:cubicBezTo>
                  <a:cubicBezTo>
                    <a:pt x="170465" y="277785"/>
                    <a:pt x="170981" y="273657"/>
                    <a:pt x="176140" y="267981"/>
                  </a:cubicBezTo>
                  <a:cubicBezTo>
                    <a:pt x="219998" y="216383"/>
                    <a:pt x="270048" y="171493"/>
                    <a:pt x="325258" y="132279"/>
                  </a:cubicBezTo>
                  <a:cubicBezTo>
                    <a:pt x="331966" y="127635"/>
                    <a:pt x="336609" y="126603"/>
                    <a:pt x="343317" y="132795"/>
                  </a:cubicBezTo>
                  <a:cubicBezTo>
                    <a:pt x="360344" y="148274"/>
                    <a:pt x="378404" y="162722"/>
                    <a:pt x="395431" y="178717"/>
                  </a:cubicBezTo>
                  <a:cubicBezTo>
                    <a:pt x="409362" y="191616"/>
                    <a:pt x="416070" y="209160"/>
                    <a:pt x="426389" y="224639"/>
                  </a:cubicBezTo>
                  <a:cubicBezTo>
                    <a:pt x="437741" y="241666"/>
                    <a:pt x="435161" y="240634"/>
                    <a:pt x="451156" y="231347"/>
                  </a:cubicBezTo>
                  <a:cubicBezTo>
                    <a:pt x="470763" y="219995"/>
                    <a:pt x="491403" y="209676"/>
                    <a:pt x="512042" y="200388"/>
                  </a:cubicBezTo>
                  <a:cubicBezTo>
                    <a:pt x="521329" y="196260"/>
                    <a:pt x="522361" y="192132"/>
                    <a:pt x="518233" y="183877"/>
                  </a:cubicBezTo>
                  <a:cubicBezTo>
                    <a:pt x="499142" y="148274"/>
                    <a:pt x="492434" y="109576"/>
                    <a:pt x="491403" y="69846"/>
                  </a:cubicBezTo>
                  <a:cubicBezTo>
                    <a:pt x="491403" y="66234"/>
                    <a:pt x="490371" y="62106"/>
                    <a:pt x="489855" y="58494"/>
                  </a:cubicBezTo>
                  <a:cubicBezTo>
                    <a:pt x="488307" y="50239"/>
                    <a:pt x="491403" y="46111"/>
                    <a:pt x="499658" y="43015"/>
                  </a:cubicBezTo>
                  <a:cubicBezTo>
                    <a:pt x="563123" y="20312"/>
                    <a:pt x="628653" y="6380"/>
                    <a:pt x="695730" y="189"/>
                  </a:cubicBezTo>
                  <a:cubicBezTo>
                    <a:pt x="706049" y="-843"/>
                    <a:pt x="710693" y="2253"/>
                    <a:pt x="713273" y="12056"/>
                  </a:cubicBezTo>
                  <a:cubicBezTo>
                    <a:pt x="715337" y="19796"/>
                    <a:pt x="717917" y="27536"/>
                    <a:pt x="721012" y="35275"/>
                  </a:cubicBezTo>
                  <a:cubicBezTo>
                    <a:pt x="734428" y="67266"/>
                    <a:pt x="741136" y="99772"/>
                    <a:pt x="738556" y="134343"/>
                  </a:cubicBezTo>
                  <a:cubicBezTo>
                    <a:pt x="737524" y="145694"/>
                    <a:pt x="742168" y="148790"/>
                    <a:pt x="753519" y="148790"/>
                  </a:cubicBezTo>
                  <a:cubicBezTo>
                    <a:pt x="775706" y="148274"/>
                    <a:pt x="797893" y="149822"/>
                    <a:pt x="820596" y="151886"/>
                  </a:cubicBezTo>
                  <a:cubicBezTo>
                    <a:pt x="831948" y="152918"/>
                    <a:pt x="838655" y="152402"/>
                    <a:pt x="838655" y="138471"/>
                  </a:cubicBezTo>
                  <a:cubicBezTo>
                    <a:pt x="838655" y="94097"/>
                    <a:pt x="859810" y="55914"/>
                    <a:pt x="877354" y="16700"/>
                  </a:cubicBezTo>
                  <a:cubicBezTo>
                    <a:pt x="880449" y="9476"/>
                    <a:pt x="885093" y="7928"/>
                    <a:pt x="892317" y="9476"/>
                  </a:cubicBezTo>
                  <a:cubicBezTo>
                    <a:pt x="958878" y="21860"/>
                    <a:pt x="1022859" y="42499"/>
                    <a:pt x="1084777" y="70878"/>
                  </a:cubicBezTo>
                  <a:cubicBezTo>
                    <a:pt x="1092000" y="74489"/>
                    <a:pt x="1095096" y="78617"/>
                    <a:pt x="1093032" y="86873"/>
                  </a:cubicBezTo>
                  <a:cubicBezTo>
                    <a:pt x="1088388" y="108544"/>
                    <a:pt x="1084261" y="130731"/>
                    <a:pt x="1079617" y="152402"/>
                  </a:cubicBezTo>
                  <a:cubicBezTo>
                    <a:pt x="1075489" y="172525"/>
                    <a:pt x="1062590" y="189036"/>
                    <a:pt x="1053302" y="206580"/>
                  </a:cubicBezTo>
                  <a:cubicBezTo>
                    <a:pt x="1047626" y="217415"/>
                    <a:pt x="1048658" y="222575"/>
                    <a:pt x="1060010" y="228251"/>
                  </a:cubicBezTo>
                  <a:cubicBezTo>
                    <a:pt x="1080133" y="239602"/>
                    <a:pt x="1099740" y="252502"/>
                    <a:pt x="1118315" y="265917"/>
                  </a:cubicBezTo>
                  <a:cubicBezTo>
                    <a:pt x="1126571" y="272109"/>
                    <a:pt x="1131214" y="271593"/>
                    <a:pt x="1136374" y="262821"/>
                  </a:cubicBezTo>
                  <a:cubicBezTo>
                    <a:pt x="1159077" y="223607"/>
                    <a:pt x="1196744" y="199872"/>
                    <a:pt x="1232346" y="174589"/>
                  </a:cubicBezTo>
                  <a:cubicBezTo>
                    <a:pt x="1238538" y="170461"/>
                    <a:pt x="1242666" y="170977"/>
                    <a:pt x="1247825" y="175621"/>
                  </a:cubicBezTo>
                  <a:cubicBezTo>
                    <a:pt x="1299939" y="219995"/>
                    <a:pt x="1345345" y="270045"/>
                    <a:pt x="1384559" y="325770"/>
                  </a:cubicBezTo>
                  <a:cubicBezTo>
                    <a:pt x="1389203" y="331962"/>
                    <a:pt x="1389719" y="336606"/>
                    <a:pt x="1384043" y="342798"/>
                  </a:cubicBezTo>
                  <a:cubicBezTo>
                    <a:pt x="1368048" y="360857"/>
                    <a:pt x="1352569" y="379432"/>
                    <a:pt x="1336057" y="396975"/>
                  </a:cubicBezTo>
                  <a:cubicBezTo>
                    <a:pt x="1323674" y="409875"/>
                    <a:pt x="1306131" y="417098"/>
                    <a:pt x="1291167" y="426902"/>
                  </a:cubicBezTo>
                  <a:cubicBezTo>
                    <a:pt x="1276720" y="436706"/>
                    <a:pt x="1276720" y="436190"/>
                    <a:pt x="1284976" y="451153"/>
                  </a:cubicBezTo>
                  <a:cubicBezTo>
                    <a:pt x="1295811" y="471792"/>
                    <a:pt x="1306647" y="492431"/>
                    <a:pt x="1316450" y="513070"/>
                  </a:cubicBezTo>
                  <a:cubicBezTo>
                    <a:pt x="1320062" y="520294"/>
                    <a:pt x="1323158" y="523390"/>
                    <a:pt x="1330898" y="519262"/>
                  </a:cubicBezTo>
                  <a:cubicBezTo>
                    <a:pt x="1367532" y="500171"/>
                    <a:pt x="1406746" y="492431"/>
                    <a:pt x="1447509" y="491399"/>
                  </a:cubicBezTo>
                  <a:cubicBezTo>
                    <a:pt x="1451120" y="491399"/>
                    <a:pt x="1455248" y="490367"/>
                    <a:pt x="1458860" y="489851"/>
                  </a:cubicBezTo>
                  <a:cubicBezTo>
                    <a:pt x="1466600" y="488819"/>
                    <a:pt x="1470728" y="491399"/>
                    <a:pt x="1473307" y="499139"/>
                  </a:cubicBezTo>
                  <a:cubicBezTo>
                    <a:pt x="1493431" y="556412"/>
                    <a:pt x="1508394" y="615234"/>
                    <a:pt x="1513554" y="675603"/>
                  </a:cubicBezTo>
                  <a:cubicBezTo>
                    <a:pt x="1513554" y="676635"/>
                    <a:pt x="1513554" y="678183"/>
                    <a:pt x="1514070" y="679215"/>
                  </a:cubicBezTo>
                  <a:cubicBezTo>
                    <a:pt x="1518713" y="714301"/>
                    <a:pt x="1519745" y="706046"/>
                    <a:pt x="1490335" y="717397"/>
                  </a:cubicBezTo>
                  <a:cubicBezTo>
                    <a:pt x="1454732" y="730813"/>
                    <a:pt x="1418614" y="741648"/>
                    <a:pt x="1379916" y="738036"/>
                  </a:cubicBezTo>
                  <a:cubicBezTo>
                    <a:pt x="1371144" y="737004"/>
                    <a:pt x="1368048" y="740616"/>
                    <a:pt x="1367532" y="749904"/>
                  </a:cubicBezTo>
                  <a:cubicBezTo>
                    <a:pt x="1367016" y="774155"/>
                    <a:pt x="1365984" y="797890"/>
                    <a:pt x="1363920" y="822141"/>
                  </a:cubicBezTo>
                  <a:cubicBezTo>
                    <a:pt x="1363404" y="831944"/>
                    <a:pt x="1363920" y="838136"/>
                    <a:pt x="1375788" y="838136"/>
                  </a:cubicBezTo>
                  <a:cubicBezTo>
                    <a:pt x="1420678" y="838136"/>
                    <a:pt x="1459376" y="858775"/>
                    <a:pt x="1498590" y="876834"/>
                  </a:cubicBezTo>
                  <a:cubicBezTo>
                    <a:pt x="1505298" y="879930"/>
                    <a:pt x="1507878" y="883542"/>
                    <a:pt x="1506330" y="891798"/>
                  </a:cubicBezTo>
                  <a:cubicBezTo>
                    <a:pt x="1493947" y="958875"/>
                    <a:pt x="1472791" y="1023372"/>
                    <a:pt x="1444413" y="1085289"/>
                  </a:cubicBezTo>
                  <a:cubicBezTo>
                    <a:pt x="1441317" y="1092513"/>
                    <a:pt x="1437189" y="1094577"/>
                    <a:pt x="1429449" y="1093029"/>
                  </a:cubicBezTo>
                  <a:cubicBezTo>
                    <a:pt x="1386623" y="1085289"/>
                    <a:pt x="1343797" y="1078581"/>
                    <a:pt x="1306647" y="1052783"/>
                  </a:cubicBezTo>
                  <a:cubicBezTo>
                    <a:pt x="1297875" y="1046591"/>
                    <a:pt x="1293231" y="1048655"/>
                    <a:pt x="1287556" y="1057942"/>
                  </a:cubicBezTo>
                  <a:cubicBezTo>
                    <a:pt x="1275688" y="1078581"/>
                    <a:pt x="1262273" y="1098705"/>
                    <a:pt x="1248857" y="1118828"/>
                  </a:cubicBezTo>
                  <a:cubicBezTo>
                    <a:pt x="1244214" y="1125535"/>
                    <a:pt x="1242150" y="1130179"/>
                    <a:pt x="1250405" y="1135339"/>
                  </a:cubicBezTo>
                  <a:cubicBezTo>
                    <a:pt x="1289620" y="1158558"/>
                    <a:pt x="1313871" y="1194676"/>
                    <a:pt x="1339153" y="1230795"/>
                  </a:cubicBezTo>
                  <a:cubicBezTo>
                    <a:pt x="1344313" y="1238018"/>
                    <a:pt x="1343797" y="1242662"/>
                    <a:pt x="1337605" y="1249370"/>
                  </a:cubicBezTo>
                  <a:cubicBezTo>
                    <a:pt x="1293747" y="1300968"/>
                    <a:pt x="1244214" y="1345342"/>
                    <a:pt x="1189004" y="1384040"/>
                  </a:cubicBezTo>
                  <a:cubicBezTo>
                    <a:pt x="1182296" y="1388684"/>
                    <a:pt x="1177652" y="1389716"/>
                    <a:pt x="1170945" y="1383524"/>
                  </a:cubicBezTo>
                  <a:cubicBezTo>
                    <a:pt x="1153918" y="1368045"/>
                    <a:pt x="1135858" y="1353597"/>
                    <a:pt x="1118831" y="1337602"/>
                  </a:cubicBezTo>
                  <a:cubicBezTo>
                    <a:pt x="1104384" y="1324187"/>
                    <a:pt x="1096644" y="1306128"/>
                    <a:pt x="1086840" y="1289616"/>
                  </a:cubicBezTo>
                  <a:cubicBezTo>
                    <a:pt x="1080133" y="1278265"/>
                    <a:pt x="1074973" y="1277749"/>
                    <a:pt x="1064137" y="1284456"/>
                  </a:cubicBezTo>
                  <a:cubicBezTo>
                    <a:pt x="1044530" y="1296324"/>
                    <a:pt x="1023375" y="1306643"/>
                    <a:pt x="1002220" y="1316447"/>
                  </a:cubicBezTo>
                  <a:cubicBezTo>
                    <a:pt x="993449" y="1320575"/>
                    <a:pt x="991385" y="1324703"/>
                    <a:pt x="996028" y="1332958"/>
                  </a:cubicBezTo>
                  <a:cubicBezTo>
                    <a:pt x="1015120" y="1368561"/>
                    <a:pt x="1021827" y="1407259"/>
                    <a:pt x="1022859" y="1446989"/>
                  </a:cubicBezTo>
                  <a:cubicBezTo>
                    <a:pt x="1022859" y="1451117"/>
                    <a:pt x="1023891" y="1455245"/>
                    <a:pt x="1024407" y="1459889"/>
                  </a:cubicBezTo>
                  <a:cubicBezTo>
                    <a:pt x="1025439" y="1466596"/>
                    <a:pt x="1022859" y="1470724"/>
                    <a:pt x="1015636" y="1473304"/>
                  </a:cubicBezTo>
                  <a:cubicBezTo>
                    <a:pt x="970745" y="1493943"/>
                    <a:pt x="870646" y="1516130"/>
                    <a:pt x="817500" y="1518710"/>
                  </a:cubicBezTo>
                  <a:close/>
                  <a:moveTo>
                    <a:pt x="758163" y="1148238"/>
                  </a:moveTo>
                  <a:cubicBezTo>
                    <a:pt x="974357" y="1144627"/>
                    <a:pt x="1145146" y="976418"/>
                    <a:pt x="1145146" y="758675"/>
                  </a:cubicBezTo>
                  <a:cubicBezTo>
                    <a:pt x="1145146" y="542481"/>
                    <a:pt x="974357" y="371176"/>
                    <a:pt x="757131" y="371176"/>
                  </a:cubicBezTo>
                  <a:cubicBezTo>
                    <a:pt x="539904" y="371176"/>
                    <a:pt x="368600" y="542481"/>
                    <a:pt x="368600" y="759707"/>
                  </a:cubicBezTo>
                  <a:cubicBezTo>
                    <a:pt x="369116" y="977966"/>
                    <a:pt x="541452" y="1145659"/>
                    <a:pt x="758163" y="1148238"/>
                  </a:cubicBezTo>
                  <a:close/>
                </a:path>
              </a:pathLst>
            </a:custGeom>
            <a:grpFill/>
            <a:ln w="51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F5A5C1DD-EF26-4025-B68D-0775AA454261}"/>
                </a:ext>
              </a:extLst>
            </p:cNvPr>
            <p:cNvGrpSpPr/>
            <p:nvPr/>
          </p:nvGrpSpPr>
          <p:grpSpPr>
            <a:xfrm>
              <a:off x="3563163" y="3556278"/>
              <a:ext cx="1218879" cy="1218879"/>
              <a:chOff x="3264582" y="1870309"/>
              <a:chExt cx="1774962" cy="1774962"/>
            </a:xfrm>
            <a:grpFill/>
          </p:grpSpPr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F04AE5A0-084E-4214-8571-E964F22366AE}"/>
                  </a:ext>
                </a:extLst>
              </p:cNvPr>
              <p:cNvSpPr/>
              <p:nvPr/>
            </p:nvSpPr>
            <p:spPr>
              <a:xfrm>
                <a:off x="3264582" y="1870309"/>
                <a:ext cx="1774962" cy="1774962"/>
              </a:xfrm>
              <a:custGeom>
                <a:avLst/>
                <a:gdLst>
                  <a:gd name="connsiteX0" fmla="*/ 894776 w 1774962"/>
                  <a:gd name="connsiteY0" fmla="*/ 1775736 h 1774962"/>
                  <a:gd name="connsiteX1" fmla="*/ 852466 w 1774962"/>
                  <a:gd name="connsiteY1" fmla="*/ 1775736 h 1774962"/>
                  <a:gd name="connsiteX2" fmla="*/ 839567 w 1774962"/>
                  <a:gd name="connsiteY2" fmla="*/ 1764901 h 1774962"/>
                  <a:gd name="connsiteX3" fmla="*/ 819960 w 1774962"/>
                  <a:gd name="connsiteY3" fmla="*/ 1666349 h 1774962"/>
                  <a:gd name="connsiteX4" fmla="*/ 822024 w 1774962"/>
                  <a:gd name="connsiteY4" fmla="*/ 1636938 h 1774962"/>
                  <a:gd name="connsiteX5" fmla="*/ 811704 w 1774962"/>
                  <a:gd name="connsiteY5" fmla="*/ 1623523 h 1774962"/>
                  <a:gd name="connsiteX6" fmla="*/ 695093 w 1774962"/>
                  <a:gd name="connsiteY6" fmla="*/ 1601852 h 1774962"/>
                  <a:gd name="connsiteX7" fmla="*/ 680130 w 1774962"/>
                  <a:gd name="connsiteY7" fmla="*/ 1610623 h 1774962"/>
                  <a:gd name="connsiteX8" fmla="*/ 615116 w 1774962"/>
                  <a:gd name="connsiteY8" fmla="*/ 1727234 h 1774962"/>
                  <a:gd name="connsiteX9" fmla="*/ 603765 w 1774962"/>
                  <a:gd name="connsiteY9" fmla="*/ 1730330 h 1774962"/>
                  <a:gd name="connsiteX10" fmla="*/ 512953 w 1774962"/>
                  <a:gd name="connsiteY10" fmla="*/ 1694212 h 1774962"/>
                  <a:gd name="connsiteX11" fmla="*/ 507277 w 1774962"/>
                  <a:gd name="connsiteY11" fmla="*/ 1681828 h 1774962"/>
                  <a:gd name="connsiteX12" fmla="*/ 527400 w 1774962"/>
                  <a:gd name="connsiteY12" fmla="*/ 1583277 h 1774962"/>
                  <a:gd name="connsiteX13" fmla="*/ 541848 w 1774962"/>
                  <a:gd name="connsiteY13" fmla="*/ 1552834 h 1774962"/>
                  <a:gd name="connsiteX14" fmla="*/ 537720 w 1774962"/>
                  <a:gd name="connsiteY14" fmla="*/ 1539418 h 1774962"/>
                  <a:gd name="connsiteX15" fmla="*/ 435041 w 1774962"/>
                  <a:gd name="connsiteY15" fmla="*/ 1472857 h 1774962"/>
                  <a:gd name="connsiteX16" fmla="*/ 420593 w 1774962"/>
                  <a:gd name="connsiteY16" fmla="*/ 1474921 h 1774962"/>
                  <a:gd name="connsiteX17" fmla="*/ 315334 w 1774962"/>
                  <a:gd name="connsiteY17" fmla="*/ 1559026 h 1774962"/>
                  <a:gd name="connsiteX18" fmla="*/ 302950 w 1774962"/>
                  <a:gd name="connsiteY18" fmla="*/ 1557478 h 1774962"/>
                  <a:gd name="connsiteX19" fmla="*/ 233809 w 1774962"/>
                  <a:gd name="connsiteY19" fmla="*/ 1490401 h 1774962"/>
                  <a:gd name="connsiteX20" fmla="*/ 232777 w 1774962"/>
                  <a:gd name="connsiteY20" fmla="*/ 1476985 h 1774962"/>
                  <a:gd name="connsiteX21" fmla="*/ 289019 w 1774962"/>
                  <a:gd name="connsiteY21" fmla="*/ 1393397 h 1774962"/>
                  <a:gd name="connsiteX22" fmla="*/ 312754 w 1774962"/>
                  <a:gd name="connsiteY22" fmla="*/ 1371726 h 1774962"/>
                  <a:gd name="connsiteX23" fmla="*/ 314818 w 1774962"/>
                  <a:gd name="connsiteY23" fmla="*/ 1355731 h 1774962"/>
                  <a:gd name="connsiteX24" fmla="*/ 246193 w 1774962"/>
                  <a:gd name="connsiteY24" fmla="*/ 1255631 h 1774962"/>
                  <a:gd name="connsiteX25" fmla="*/ 230713 w 1774962"/>
                  <a:gd name="connsiteY25" fmla="*/ 1253051 h 1774962"/>
                  <a:gd name="connsiteX26" fmla="*/ 102751 w 1774962"/>
                  <a:gd name="connsiteY26" fmla="*/ 1289685 h 1774962"/>
                  <a:gd name="connsiteX27" fmla="*/ 91916 w 1774962"/>
                  <a:gd name="connsiteY27" fmla="*/ 1282978 h 1774962"/>
                  <a:gd name="connsiteX28" fmla="*/ 53733 w 1774962"/>
                  <a:gd name="connsiteY28" fmla="*/ 1194230 h 1774962"/>
                  <a:gd name="connsiteX29" fmla="*/ 58377 w 1774962"/>
                  <a:gd name="connsiteY29" fmla="*/ 1181330 h 1774962"/>
                  <a:gd name="connsiteX30" fmla="*/ 142481 w 1774962"/>
                  <a:gd name="connsiteY30" fmla="*/ 1125605 h 1774962"/>
                  <a:gd name="connsiteX31" fmla="*/ 173956 w 1774962"/>
                  <a:gd name="connsiteY31" fmla="*/ 1114253 h 1774962"/>
                  <a:gd name="connsiteX32" fmla="*/ 180664 w 1774962"/>
                  <a:gd name="connsiteY32" fmla="*/ 1101870 h 1774962"/>
                  <a:gd name="connsiteX33" fmla="*/ 154865 w 1774962"/>
                  <a:gd name="connsiteY33" fmla="*/ 981131 h 1774962"/>
                  <a:gd name="connsiteX34" fmla="*/ 144029 w 1774962"/>
                  <a:gd name="connsiteY34" fmla="*/ 973391 h 1774962"/>
                  <a:gd name="connsiteX35" fmla="*/ 10391 w 1774962"/>
                  <a:gd name="connsiteY35" fmla="*/ 958428 h 1774962"/>
                  <a:gd name="connsiteX36" fmla="*/ 2135 w 1774962"/>
                  <a:gd name="connsiteY36" fmla="*/ 948624 h 1774962"/>
                  <a:gd name="connsiteX37" fmla="*/ 588 w 1774962"/>
                  <a:gd name="connsiteY37" fmla="*/ 850589 h 1774962"/>
                  <a:gd name="connsiteX38" fmla="*/ 10391 w 1774962"/>
                  <a:gd name="connsiteY38" fmla="*/ 840785 h 1774962"/>
                  <a:gd name="connsiteX39" fmla="*/ 110491 w 1774962"/>
                  <a:gd name="connsiteY39" fmla="*/ 820662 h 1774962"/>
                  <a:gd name="connsiteX40" fmla="*/ 139901 w 1774962"/>
                  <a:gd name="connsiteY40" fmla="*/ 822726 h 1774962"/>
                  <a:gd name="connsiteX41" fmla="*/ 153317 w 1774962"/>
                  <a:gd name="connsiteY41" fmla="*/ 811890 h 1774962"/>
                  <a:gd name="connsiteX42" fmla="*/ 174472 w 1774962"/>
                  <a:gd name="connsiteY42" fmla="*/ 696827 h 1774962"/>
                  <a:gd name="connsiteX43" fmla="*/ 164152 w 1774962"/>
                  <a:gd name="connsiteY43" fmla="*/ 680316 h 1774962"/>
                  <a:gd name="connsiteX44" fmla="*/ 49090 w 1774962"/>
                  <a:gd name="connsiteY44" fmla="*/ 615819 h 1774962"/>
                  <a:gd name="connsiteX45" fmla="*/ 45993 w 1774962"/>
                  <a:gd name="connsiteY45" fmla="*/ 606015 h 1774962"/>
                  <a:gd name="connsiteX46" fmla="*/ 82628 w 1774962"/>
                  <a:gd name="connsiteY46" fmla="*/ 513655 h 1774962"/>
                  <a:gd name="connsiteX47" fmla="*/ 93979 w 1774962"/>
                  <a:gd name="connsiteY47" fmla="*/ 508496 h 1774962"/>
                  <a:gd name="connsiteX48" fmla="*/ 224006 w 1774962"/>
                  <a:gd name="connsiteY48" fmla="*/ 543066 h 1774962"/>
                  <a:gd name="connsiteX49" fmla="*/ 236905 w 1774962"/>
                  <a:gd name="connsiteY49" fmla="*/ 538938 h 1774962"/>
                  <a:gd name="connsiteX50" fmla="*/ 302434 w 1774962"/>
                  <a:gd name="connsiteY50" fmla="*/ 437291 h 1774962"/>
                  <a:gd name="connsiteX51" fmla="*/ 302950 w 1774962"/>
                  <a:gd name="connsiteY51" fmla="*/ 423359 h 1774962"/>
                  <a:gd name="connsiteX52" fmla="*/ 238453 w 1774962"/>
                  <a:gd name="connsiteY52" fmla="*/ 346995 h 1774962"/>
                  <a:gd name="connsiteX53" fmla="*/ 228650 w 1774962"/>
                  <a:gd name="connsiteY53" fmla="*/ 333063 h 1774962"/>
                  <a:gd name="connsiteX54" fmla="*/ 230713 w 1774962"/>
                  <a:gd name="connsiteY54" fmla="*/ 290237 h 1774962"/>
                  <a:gd name="connsiteX55" fmla="*/ 283859 w 1774962"/>
                  <a:gd name="connsiteY55" fmla="*/ 236060 h 1774962"/>
                  <a:gd name="connsiteX56" fmla="*/ 300370 w 1774962"/>
                  <a:gd name="connsiteY56" fmla="*/ 234512 h 1774962"/>
                  <a:gd name="connsiteX57" fmla="*/ 380863 w 1774962"/>
                  <a:gd name="connsiteY57" fmla="*/ 288173 h 1774962"/>
                  <a:gd name="connsiteX58" fmla="*/ 403050 w 1774962"/>
                  <a:gd name="connsiteY58" fmla="*/ 311392 h 1774962"/>
                  <a:gd name="connsiteX59" fmla="*/ 422141 w 1774962"/>
                  <a:gd name="connsiteY59" fmla="*/ 313972 h 1774962"/>
                  <a:gd name="connsiteX60" fmla="*/ 519661 w 1774962"/>
                  <a:gd name="connsiteY60" fmla="*/ 246895 h 1774962"/>
                  <a:gd name="connsiteX61" fmla="*/ 524820 w 1774962"/>
                  <a:gd name="connsiteY61" fmla="*/ 233996 h 1774962"/>
                  <a:gd name="connsiteX62" fmla="*/ 492314 w 1774962"/>
                  <a:gd name="connsiteY62" fmla="*/ 127704 h 1774962"/>
                  <a:gd name="connsiteX63" fmla="*/ 514501 w 1774962"/>
                  <a:gd name="connsiteY63" fmla="*/ 82298 h 1774962"/>
                  <a:gd name="connsiteX64" fmla="*/ 578482 w 1774962"/>
                  <a:gd name="connsiteY64" fmla="*/ 55468 h 1774962"/>
                  <a:gd name="connsiteX65" fmla="*/ 595509 w 1774962"/>
                  <a:gd name="connsiteY65" fmla="*/ 60111 h 1774962"/>
                  <a:gd name="connsiteX66" fmla="*/ 648655 w 1774962"/>
                  <a:gd name="connsiteY66" fmla="*/ 139572 h 1774962"/>
                  <a:gd name="connsiteX67" fmla="*/ 661039 w 1774962"/>
                  <a:gd name="connsiteY67" fmla="*/ 172078 h 1774962"/>
                  <a:gd name="connsiteX68" fmla="*/ 675486 w 1774962"/>
                  <a:gd name="connsiteY68" fmla="*/ 180334 h 1774962"/>
                  <a:gd name="connsiteX69" fmla="*/ 792613 w 1774962"/>
                  <a:gd name="connsiteY69" fmla="*/ 155567 h 1774962"/>
                  <a:gd name="connsiteX70" fmla="*/ 801900 w 1774962"/>
                  <a:gd name="connsiteY70" fmla="*/ 143700 h 1774962"/>
                  <a:gd name="connsiteX71" fmla="*/ 816864 w 1774962"/>
                  <a:gd name="connsiteY71" fmla="*/ 11094 h 1774962"/>
                  <a:gd name="connsiteX72" fmla="*/ 826151 w 1774962"/>
                  <a:gd name="connsiteY72" fmla="*/ 2322 h 1774962"/>
                  <a:gd name="connsiteX73" fmla="*/ 925219 w 1774962"/>
                  <a:gd name="connsiteY73" fmla="*/ 774 h 1774962"/>
                  <a:gd name="connsiteX74" fmla="*/ 934507 w 1774962"/>
                  <a:gd name="connsiteY74" fmla="*/ 10062 h 1774962"/>
                  <a:gd name="connsiteX75" fmla="*/ 954114 w 1774962"/>
                  <a:gd name="connsiteY75" fmla="*/ 111193 h 1774962"/>
                  <a:gd name="connsiteX76" fmla="*/ 952050 w 1774962"/>
                  <a:gd name="connsiteY76" fmla="*/ 140604 h 1774962"/>
                  <a:gd name="connsiteX77" fmla="*/ 962369 w 1774962"/>
                  <a:gd name="connsiteY77" fmla="*/ 152987 h 1774962"/>
                  <a:gd name="connsiteX78" fmla="*/ 1078980 w 1774962"/>
                  <a:gd name="connsiteY78" fmla="*/ 174658 h 1774962"/>
                  <a:gd name="connsiteX79" fmla="*/ 1093428 w 1774962"/>
                  <a:gd name="connsiteY79" fmla="*/ 168467 h 1774962"/>
                  <a:gd name="connsiteX80" fmla="*/ 1147089 w 1774962"/>
                  <a:gd name="connsiteY80" fmla="*/ 69399 h 1774962"/>
                  <a:gd name="connsiteX81" fmla="*/ 1192495 w 1774962"/>
                  <a:gd name="connsiteY81" fmla="*/ 54436 h 1774962"/>
                  <a:gd name="connsiteX82" fmla="*/ 1258024 w 1774962"/>
                  <a:gd name="connsiteY82" fmla="*/ 81266 h 1774962"/>
                  <a:gd name="connsiteX83" fmla="*/ 1267312 w 1774962"/>
                  <a:gd name="connsiteY83" fmla="*/ 96746 h 1774962"/>
                  <a:gd name="connsiteX84" fmla="*/ 1247705 w 1774962"/>
                  <a:gd name="connsiteY84" fmla="*/ 192718 h 1774962"/>
                  <a:gd name="connsiteX85" fmla="*/ 1233258 w 1774962"/>
                  <a:gd name="connsiteY85" fmla="*/ 224192 h 1774962"/>
                  <a:gd name="connsiteX86" fmla="*/ 1237385 w 1774962"/>
                  <a:gd name="connsiteY86" fmla="*/ 237608 h 1774962"/>
                  <a:gd name="connsiteX87" fmla="*/ 1340065 w 1774962"/>
                  <a:gd name="connsiteY87" fmla="*/ 304169 h 1774962"/>
                  <a:gd name="connsiteX88" fmla="*/ 1354512 w 1774962"/>
                  <a:gd name="connsiteY88" fmla="*/ 302621 h 1774962"/>
                  <a:gd name="connsiteX89" fmla="*/ 1459771 w 1774962"/>
                  <a:gd name="connsiteY89" fmla="*/ 218516 h 1774962"/>
                  <a:gd name="connsiteX90" fmla="*/ 1472155 w 1774962"/>
                  <a:gd name="connsiteY90" fmla="*/ 220064 h 1774962"/>
                  <a:gd name="connsiteX91" fmla="*/ 1541296 w 1774962"/>
                  <a:gd name="connsiteY91" fmla="*/ 287657 h 1774962"/>
                  <a:gd name="connsiteX92" fmla="*/ 1542328 w 1774962"/>
                  <a:gd name="connsiteY92" fmla="*/ 301073 h 1774962"/>
                  <a:gd name="connsiteX93" fmla="*/ 1485570 w 1774962"/>
                  <a:gd name="connsiteY93" fmla="*/ 385693 h 1774962"/>
                  <a:gd name="connsiteX94" fmla="*/ 1462868 w 1774962"/>
                  <a:gd name="connsiteY94" fmla="*/ 406332 h 1774962"/>
                  <a:gd name="connsiteX95" fmla="*/ 1460803 w 1774962"/>
                  <a:gd name="connsiteY95" fmla="*/ 422327 h 1774962"/>
                  <a:gd name="connsiteX96" fmla="*/ 1529428 w 1774962"/>
                  <a:gd name="connsiteY96" fmla="*/ 522427 h 1774962"/>
                  <a:gd name="connsiteX97" fmla="*/ 1544908 w 1774962"/>
                  <a:gd name="connsiteY97" fmla="*/ 525007 h 1774962"/>
                  <a:gd name="connsiteX98" fmla="*/ 1672870 w 1774962"/>
                  <a:gd name="connsiteY98" fmla="*/ 488373 h 1774962"/>
                  <a:gd name="connsiteX99" fmla="*/ 1683706 w 1774962"/>
                  <a:gd name="connsiteY99" fmla="*/ 495080 h 1774962"/>
                  <a:gd name="connsiteX100" fmla="*/ 1721888 w 1774962"/>
                  <a:gd name="connsiteY100" fmla="*/ 583828 h 1774962"/>
                  <a:gd name="connsiteX101" fmla="*/ 1717244 w 1774962"/>
                  <a:gd name="connsiteY101" fmla="*/ 596728 h 1774962"/>
                  <a:gd name="connsiteX102" fmla="*/ 1633140 w 1774962"/>
                  <a:gd name="connsiteY102" fmla="*/ 652453 h 1774962"/>
                  <a:gd name="connsiteX103" fmla="*/ 1601665 w 1774962"/>
                  <a:gd name="connsiteY103" fmla="*/ 663805 h 1774962"/>
                  <a:gd name="connsiteX104" fmla="*/ 1594958 w 1774962"/>
                  <a:gd name="connsiteY104" fmla="*/ 676188 h 1774962"/>
                  <a:gd name="connsiteX105" fmla="*/ 1620241 w 1774962"/>
                  <a:gd name="connsiteY105" fmla="*/ 795895 h 1774962"/>
                  <a:gd name="connsiteX106" fmla="*/ 1631076 w 1774962"/>
                  <a:gd name="connsiteY106" fmla="*/ 804667 h 1774962"/>
                  <a:gd name="connsiteX107" fmla="*/ 1763682 w 1774962"/>
                  <a:gd name="connsiteY107" fmla="*/ 819630 h 1774962"/>
                  <a:gd name="connsiteX108" fmla="*/ 1773486 w 1774962"/>
                  <a:gd name="connsiteY108" fmla="*/ 829950 h 1774962"/>
                  <a:gd name="connsiteX109" fmla="*/ 1775034 w 1774962"/>
                  <a:gd name="connsiteY109" fmla="*/ 927985 h 1774962"/>
                  <a:gd name="connsiteX110" fmla="*/ 1766262 w 1774962"/>
                  <a:gd name="connsiteY110" fmla="*/ 937273 h 1774962"/>
                  <a:gd name="connsiteX111" fmla="*/ 1663583 w 1774962"/>
                  <a:gd name="connsiteY111" fmla="*/ 957396 h 1774962"/>
                  <a:gd name="connsiteX112" fmla="*/ 1636752 w 1774962"/>
                  <a:gd name="connsiteY112" fmla="*/ 955332 h 1774962"/>
                  <a:gd name="connsiteX113" fmla="*/ 1622304 w 1774962"/>
                  <a:gd name="connsiteY113" fmla="*/ 966684 h 1774962"/>
                  <a:gd name="connsiteX114" fmla="*/ 1601149 w 1774962"/>
                  <a:gd name="connsiteY114" fmla="*/ 1081746 h 1774962"/>
                  <a:gd name="connsiteX115" fmla="*/ 1610437 w 1774962"/>
                  <a:gd name="connsiteY115" fmla="*/ 1097742 h 1774962"/>
                  <a:gd name="connsiteX116" fmla="*/ 1726016 w 1774962"/>
                  <a:gd name="connsiteY116" fmla="*/ 1161723 h 1774962"/>
                  <a:gd name="connsiteX117" fmla="*/ 1729112 w 1774962"/>
                  <a:gd name="connsiteY117" fmla="*/ 1174107 h 1774962"/>
                  <a:gd name="connsiteX118" fmla="*/ 1693509 w 1774962"/>
                  <a:gd name="connsiteY118" fmla="*/ 1263887 h 1774962"/>
                  <a:gd name="connsiteX119" fmla="*/ 1681126 w 1774962"/>
                  <a:gd name="connsiteY119" fmla="*/ 1270078 h 1774962"/>
                  <a:gd name="connsiteX120" fmla="*/ 1581542 w 1774962"/>
                  <a:gd name="connsiteY120" fmla="*/ 1249955 h 1774962"/>
                  <a:gd name="connsiteX121" fmla="*/ 1552647 w 1774962"/>
                  <a:gd name="connsiteY121" fmla="*/ 1236024 h 1774962"/>
                  <a:gd name="connsiteX122" fmla="*/ 1538200 w 1774962"/>
                  <a:gd name="connsiteY122" fmla="*/ 1240152 h 1774962"/>
                  <a:gd name="connsiteX123" fmla="*/ 1473187 w 1774962"/>
                  <a:gd name="connsiteY123" fmla="*/ 1340767 h 1774962"/>
                  <a:gd name="connsiteX124" fmla="*/ 1475251 w 1774962"/>
                  <a:gd name="connsiteY124" fmla="*/ 1358310 h 1774962"/>
                  <a:gd name="connsiteX125" fmla="*/ 1535104 w 1774962"/>
                  <a:gd name="connsiteY125" fmla="*/ 1430031 h 1774962"/>
                  <a:gd name="connsiteX126" fmla="*/ 1545424 w 1774962"/>
                  <a:gd name="connsiteY126" fmla="*/ 1444995 h 1774962"/>
                  <a:gd name="connsiteX127" fmla="*/ 1542844 w 1774962"/>
                  <a:gd name="connsiteY127" fmla="*/ 1489885 h 1774962"/>
                  <a:gd name="connsiteX128" fmla="*/ 1491246 w 1774962"/>
                  <a:gd name="connsiteY128" fmla="*/ 1542514 h 1774962"/>
                  <a:gd name="connsiteX129" fmla="*/ 1472155 w 1774962"/>
                  <a:gd name="connsiteY129" fmla="*/ 1544062 h 1774962"/>
                  <a:gd name="connsiteX130" fmla="*/ 1393726 w 1774962"/>
                  <a:gd name="connsiteY130" fmla="*/ 1491948 h 1774962"/>
                  <a:gd name="connsiteX131" fmla="*/ 1369992 w 1774962"/>
                  <a:gd name="connsiteY131" fmla="*/ 1466666 h 1774962"/>
                  <a:gd name="connsiteX132" fmla="*/ 1352964 w 1774962"/>
                  <a:gd name="connsiteY132" fmla="*/ 1464602 h 1774962"/>
                  <a:gd name="connsiteX133" fmla="*/ 1254413 w 1774962"/>
                  <a:gd name="connsiteY133" fmla="*/ 1532711 h 1774962"/>
                  <a:gd name="connsiteX134" fmla="*/ 1248737 w 1774962"/>
                  <a:gd name="connsiteY134" fmla="*/ 1544578 h 1774962"/>
                  <a:gd name="connsiteX135" fmla="*/ 1284339 w 1774962"/>
                  <a:gd name="connsiteY135" fmla="*/ 1662221 h 1774962"/>
                  <a:gd name="connsiteX136" fmla="*/ 1268860 w 1774962"/>
                  <a:gd name="connsiteY136" fmla="*/ 1693180 h 1774962"/>
                  <a:gd name="connsiteX137" fmla="*/ 1195591 w 1774962"/>
                  <a:gd name="connsiteY137" fmla="*/ 1724654 h 1774962"/>
                  <a:gd name="connsiteX138" fmla="*/ 1178564 w 1774962"/>
                  <a:gd name="connsiteY138" fmla="*/ 1719495 h 1774962"/>
                  <a:gd name="connsiteX139" fmla="*/ 1125418 w 1774962"/>
                  <a:gd name="connsiteY139" fmla="*/ 1640034 h 1774962"/>
                  <a:gd name="connsiteX140" fmla="*/ 1113035 w 1774962"/>
                  <a:gd name="connsiteY140" fmla="*/ 1606496 h 1774962"/>
                  <a:gd name="connsiteX141" fmla="*/ 1099619 w 1774962"/>
                  <a:gd name="connsiteY141" fmla="*/ 1599272 h 1774962"/>
                  <a:gd name="connsiteX142" fmla="*/ 979913 w 1774962"/>
                  <a:gd name="connsiteY142" fmla="*/ 1624555 h 1774962"/>
                  <a:gd name="connsiteX143" fmla="*/ 972173 w 1774962"/>
                  <a:gd name="connsiteY143" fmla="*/ 1634874 h 1774962"/>
                  <a:gd name="connsiteX144" fmla="*/ 957726 w 1774962"/>
                  <a:gd name="connsiteY144" fmla="*/ 1767481 h 1774962"/>
                  <a:gd name="connsiteX145" fmla="*/ 945858 w 1774962"/>
                  <a:gd name="connsiteY145" fmla="*/ 1777800 h 1774962"/>
                  <a:gd name="connsiteX146" fmla="*/ 895808 w 1774962"/>
                  <a:gd name="connsiteY146" fmla="*/ 1779864 h 1774962"/>
                  <a:gd name="connsiteX147" fmla="*/ 894776 w 1774962"/>
                  <a:gd name="connsiteY147" fmla="*/ 1775736 h 1774962"/>
                  <a:gd name="connsiteX148" fmla="*/ 890648 w 1774962"/>
                  <a:gd name="connsiteY148" fmla="*/ 1454798 h 1774962"/>
                  <a:gd name="connsiteX149" fmla="*/ 1452548 w 1774962"/>
                  <a:gd name="connsiteY149" fmla="*/ 884127 h 1774962"/>
                  <a:gd name="connsiteX150" fmla="*/ 881361 w 1774962"/>
                  <a:gd name="connsiteY150" fmla="*/ 322228 h 1774962"/>
                  <a:gd name="connsiteX151" fmla="*/ 320494 w 1774962"/>
                  <a:gd name="connsiteY151" fmla="*/ 893415 h 1774962"/>
                  <a:gd name="connsiteX152" fmla="*/ 890648 w 1774962"/>
                  <a:gd name="connsiteY152" fmla="*/ 1454798 h 1774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</a:cxnLst>
                <a:rect l="l" t="t" r="r" b="b"/>
                <a:pathLst>
                  <a:path w="1774962" h="1774962">
                    <a:moveTo>
                      <a:pt x="894776" y="1775736"/>
                    </a:moveTo>
                    <a:cubicBezTo>
                      <a:pt x="880845" y="1775736"/>
                      <a:pt x="866397" y="1775736"/>
                      <a:pt x="852466" y="1775736"/>
                    </a:cubicBezTo>
                    <a:cubicBezTo>
                      <a:pt x="844726" y="1775736"/>
                      <a:pt x="840599" y="1772640"/>
                      <a:pt x="839567" y="1764901"/>
                    </a:cubicBezTo>
                    <a:cubicBezTo>
                      <a:pt x="833375" y="1731878"/>
                      <a:pt x="826151" y="1699371"/>
                      <a:pt x="819960" y="1666349"/>
                    </a:cubicBezTo>
                    <a:cubicBezTo>
                      <a:pt x="817896" y="1656545"/>
                      <a:pt x="820992" y="1646742"/>
                      <a:pt x="822024" y="1636938"/>
                    </a:cubicBezTo>
                    <a:cubicBezTo>
                      <a:pt x="823056" y="1628682"/>
                      <a:pt x="820992" y="1624555"/>
                      <a:pt x="811704" y="1623523"/>
                    </a:cubicBezTo>
                    <a:cubicBezTo>
                      <a:pt x="772490" y="1619395"/>
                      <a:pt x="733275" y="1612171"/>
                      <a:pt x="695093" y="1601852"/>
                    </a:cubicBezTo>
                    <a:cubicBezTo>
                      <a:pt x="686837" y="1599788"/>
                      <a:pt x="682194" y="1602368"/>
                      <a:pt x="680130" y="1610623"/>
                    </a:cubicBezTo>
                    <a:cubicBezTo>
                      <a:pt x="669294" y="1655513"/>
                      <a:pt x="636788" y="1688020"/>
                      <a:pt x="615116" y="1727234"/>
                    </a:cubicBezTo>
                    <a:cubicBezTo>
                      <a:pt x="612537" y="1731878"/>
                      <a:pt x="608409" y="1731878"/>
                      <a:pt x="603765" y="1730330"/>
                    </a:cubicBezTo>
                    <a:cubicBezTo>
                      <a:pt x="572807" y="1720011"/>
                      <a:pt x="542364" y="1707627"/>
                      <a:pt x="512953" y="1694212"/>
                    </a:cubicBezTo>
                    <a:cubicBezTo>
                      <a:pt x="506761" y="1691632"/>
                      <a:pt x="506245" y="1686988"/>
                      <a:pt x="507277" y="1681828"/>
                    </a:cubicBezTo>
                    <a:cubicBezTo>
                      <a:pt x="513985" y="1648806"/>
                      <a:pt x="519661" y="1615783"/>
                      <a:pt x="527400" y="1583277"/>
                    </a:cubicBezTo>
                    <a:cubicBezTo>
                      <a:pt x="529980" y="1572441"/>
                      <a:pt x="536172" y="1562637"/>
                      <a:pt x="541848" y="1552834"/>
                    </a:cubicBezTo>
                    <a:cubicBezTo>
                      <a:pt x="545460" y="1546642"/>
                      <a:pt x="544428" y="1543030"/>
                      <a:pt x="537720" y="1539418"/>
                    </a:cubicBezTo>
                    <a:cubicBezTo>
                      <a:pt x="501601" y="1520327"/>
                      <a:pt x="467547" y="1497624"/>
                      <a:pt x="435041" y="1472857"/>
                    </a:cubicBezTo>
                    <a:cubicBezTo>
                      <a:pt x="429365" y="1468214"/>
                      <a:pt x="425237" y="1468214"/>
                      <a:pt x="420593" y="1474921"/>
                    </a:cubicBezTo>
                    <a:cubicBezTo>
                      <a:pt x="393762" y="1512588"/>
                      <a:pt x="350936" y="1531163"/>
                      <a:pt x="315334" y="1559026"/>
                    </a:cubicBezTo>
                    <a:cubicBezTo>
                      <a:pt x="310690" y="1562637"/>
                      <a:pt x="307078" y="1561090"/>
                      <a:pt x="302950" y="1557478"/>
                    </a:cubicBezTo>
                    <a:cubicBezTo>
                      <a:pt x="278699" y="1536323"/>
                      <a:pt x="255996" y="1513104"/>
                      <a:pt x="233809" y="1490401"/>
                    </a:cubicBezTo>
                    <a:cubicBezTo>
                      <a:pt x="229682" y="1485757"/>
                      <a:pt x="229165" y="1482145"/>
                      <a:pt x="232777" y="1476985"/>
                    </a:cubicBezTo>
                    <a:cubicBezTo>
                      <a:pt x="251352" y="1449122"/>
                      <a:pt x="269928" y="1421260"/>
                      <a:pt x="289019" y="1393397"/>
                    </a:cubicBezTo>
                    <a:cubicBezTo>
                      <a:pt x="295210" y="1384625"/>
                      <a:pt x="304498" y="1378949"/>
                      <a:pt x="312754" y="1371726"/>
                    </a:cubicBezTo>
                    <a:cubicBezTo>
                      <a:pt x="318946" y="1366566"/>
                      <a:pt x="319978" y="1361922"/>
                      <a:pt x="314818" y="1355731"/>
                    </a:cubicBezTo>
                    <a:cubicBezTo>
                      <a:pt x="289535" y="1324256"/>
                      <a:pt x="266316" y="1291233"/>
                      <a:pt x="246193" y="1255631"/>
                    </a:cubicBezTo>
                    <a:cubicBezTo>
                      <a:pt x="241549" y="1247375"/>
                      <a:pt x="236905" y="1248923"/>
                      <a:pt x="230713" y="1253051"/>
                    </a:cubicBezTo>
                    <a:cubicBezTo>
                      <a:pt x="191499" y="1277302"/>
                      <a:pt x="145577" y="1277818"/>
                      <a:pt x="102751" y="1289685"/>
                    </a:cubicBezTo>
                    <a:cubicBezTo>
                      <a:pt x="97075" y="1291233"/>
                      <a:pt x="93979" y="1288137"/>
                      <a:pt x="91916" y="1282978"/>
                    </a:cubicBezTo>
                    <a:cubicBezTo>
                      <a:pt x="77984" y="1254083"/>
                      <a:pt x="65085" y="1224156"/>
                      <a:pt x="53733" y="1194230"/>
                    </a:cubicBezTo>
                    <a:cubicBezTo>
                      <a:pt x="51669" y="1188038"/>
                      <a:pt x="53217" y="1184426"/>
                      <a:pt x="58377" y="1181330"/>
                    </a:cubicBezTo>
                    <a:cubicBezTo>
                      <a:pt x="86240" y="1162755"/>
                      <a:pt x="113587" y="1143664"/>
                      <a:pt x="142481" y="1125605"/>
                    </a:cubicBezTo>
                    <a:cubicBezTo>
                      <a:pt x="151769" y="1119929"/>
                      <a:pt x="163120" y="1117349"/>
                      <a:pt x="173956" y="1114253"/>
                    </a:cubicBezTo>
                    <a:cubicBezTo>
                      <a:pt x="180664" y="1112189"/>
                      <a:pt x="182727" y="1109093"/>
                      <a:pt x="180664" y="1101870"/>
                    </a:cubicBezTo>
                    <a:cubicBezTo>
                      <a:pt x="168796" y="1062139"/>
                      <a:pt x="160541" y="1021893"/>
                      <a:pt x="154865" y="981131"/>
                    </a:cubicBezTo>
                    <a:cubicBezTo>
                      <a:pt x="153833" y="974423"/>
                      <a:pt x="150737" y="972359"/>
                      <a:pt x="144029" y="973391"/>
                    </a:cubicBezTo>
                    <a:cubicBezTo>
                      <a:pt x="98107" y="981131"/>
                      <a:pt x="54765" y="963588"/>
                      <a:pt x="10391" y="958428"/>
                    </a:cubicBezTo>
                    <a:cubicBezTo>
                      <a:pt x="4715" y="957912"/>
                      <a:pt x="2652" y="954300"/>
                      <a:pt x="2135" y="948624"/>
                    </a:cubicBezTo>
                    <a:cubicBezTo>
                      <a:pt x="-960" y="916118"/>
                      <a:pt x="72" y="883611"/>
                      <a:pt x="588" y="850589"/>
                    </a:cubicBezTo>
                    <a:cubicBezTo>
                      <a:pt x="588" y="844397"/>
                      <a:pt x="4715" y="841817"/>
                      <a:pt x="10391" y="840785"/>
                    </a:cubicBezTo>
                    <a:cubicBezTo>
                      <a:pt x="43930" y="834077"/>
                      <a:pt x="76952" y="827370"/>
                      <a:pt x="110491" y="820662"/>
                    </a:cubicBezTo>
                    <a:cubicBezTo>
                      <a:pt x="120294" y="818598"/>
                      <a:pt x="130098" y="821694"/>
                      <a:pt x="139901" y="822726"/>
                    </a:cubicBezTo>
                    <a:cubicBezTo>
                      <a:pt x="148157" y="823758"/>
                      <a:pt x="152285" y="820662"/>
                      <a:pt x="153317" y="811890"/>
                    </a:cubicBezTo>
                    <a:cubicBezTo>
                      <a:pt x="157445" y="773192"/>
                      <a:pt x="164668" y="734494"/>
                      <a:pt x="174472" y="696827"/>
                    </a:cubicBezTo>
                    <a:cubicBezTo>
                      <a:pt x="177052" y="687024"/>
                      <a:pt x="173440" y="682380"/>
                      <a:pt x="164152" y="680316"/>
                    </a:cubicBezTo>
                    <a:cubicBezTo>
                      <a:pt x="120294" y="668965"/>
                      <a:pt x="87272" y="636974"/>
                      <a:pt x="49090" y="615819"/>
                    </a:cubicBezTo>
                    <a:cubicBezTo>
                      <a:pt x="44961" y="613755"/>
                      <a:pt x="44961" y="610143"/>
                      <a:pt x="45993" y="606015"/>
                    </a:cubicBezTo>
                    <a:cubicBezTo>
                      <a:pt x="56313" y="574541"/>
                      <a:pt x="69212" y="544098"/>
                      <a:pt x="82628" y="513655"/>
                    </a:cubicBezTo>
                    <a:cubicBezTo>
                      <a:pt x="85208" y="507980"/>
                      <a:pt x="89336" y="506948"/>
                      <a:pt x="93979" y="508496"/>
                    </a:cubicBezTo>
                    <a:cubicBezTo>
                      <a:pt x="137322" y="519847"/>
                      <a:pt x="183760" y="518815"/>
                      <a:pt x="224006" y="543066"/>
                    </a:cubicBezTo>
                    <a:cubicBezTo>
                      <a:pt x="230713" y="547194"/>
                      <a:pt x="233809" y="544614"/>
                      <a:pt x="236905" y="538938"/>
                    </a:cubicBezTo>
                    <a:cubicBezTo>
                      <a:pt x="255996" y="503336"/>
                      <a:pt x="278183" y="469281"/>
                      <a:pt x="302434" y="437291"/>
                    </a:cubicBezTo>
                    <a:cubicBezTo>
                      <a:pt x="305530" y="433163"/>
                      <a:pt x="310690" y="428519"/>
                      <a:pt x="302950" y="423359"/>
                    </a:cubicBezTo>
                    <a:cubicBezTo>
                      <a:pt x="273540" y="404268"/>
                      <a:pt x="258576" y="373826"/>
                      <a:pt x="238453" y="346995"/>
                    </a:cubicBezTo>
                    <a:cubicBezTo>
                      <a:pt x="234841" y="342351"/>
                      <a:pt x="232262" y="337707"/>
                      <a:pt x="228650" y="333063"/>
                    </a:cubicBezTo>
                    <a:cubicBezTo>
                      <a:pt x="212654" y="310360"/>
                      <a:pt x="212138" y="309844"/>
                      <a:pt x="230713" y="290237"/>
                    </a:cubicBezTo>
                    <a:cubicBezTo>
                      <a:pt x="248257" y="271662"/>
                      <a:pt x="266316" y="254119"/>
                      <a:pt x="283859" y="236060"/>
                    </a:cubicBezTo>
                    <a:cubicBezTo>
                      <a:pt x="289535" y="230384"/>
                      <a:pt x="294179" y="229868"/>
                      <a:pt x="300370" y="234512"/>
                    </a:cubicBezTo>
                    <a:cubicBezTo>
                      <a:pt x="327201" y="252571"/>
                      <a:pt x="354032" y="270114"/>
                      <a:pt x="380863" y="288173"/>
                    </a:cubicBezTo>
                    <a:cubicBezTo>
                      <a:pt x="390150" y="294365"/>
                      <a:pt x="396342" y="303137"/>
                      <a:pt x="403050" y="311392"/>
                    </a:cubicBezTo>
                    <a:cubicBezTo>
                      <a:pt x="408726" y="319132"/>
                      <a:pt x="413885" y="320680"/>
                      <a:pt x="422141" y="313972"/>
                    </a:cubicBezTo>
                    <a:cubicBezTo>
                      <a:pt x="452584" y="288689"/>
                      <a:pt x="485606" y="266502"/>
                      <a:pt x="519661" y="246895"/>
                    </a:cubicBezTo>
                    <a:cubicBezTo>
                      <a:pt x="524820" y="243799"/>
                      <a:pt x="529464" y="240703"/>
                      <a:pt x="524820" y="233996"/>
                    </a:cubicBezTo>
                    <a:cubicBezTo>
                      <a:pt x="502633" y="202005"/>
                      <a:pt x="501086" y="163823"/>
                      <a:pt x="492314" y="127704"/>
                    </a:cubicBezTo>
                    <a:cubicBezTo>
                      <a:pt x="484574" y="96230"/>
                      <a:pt x="485606" y="96746"/>
                      <a:pt x="514501" y="82298"/>
                    </a:cubicBezTo>
                    <a:cubicBezTo>
                      <a:pt x="535140" y="71979"/>
                      <a:pt x="557327" y="64239"/>
                      <a:pt x="578482" y="55468"/>
                    </a:cubicBezTo>
                    <a:cubicBezTo>
                      <a:pt x="586222" y="52372"/>
                      <a:pt x="590866" y="52888"/>
                      <a:pt x="595509" y="60111"/>
                    </a:cubicBezTo>
                    <a:cubicBezTo>
                      <a:pt x="613053" y="86942"/>
                      <a:pt x="630596" y="113257"/>
                      <a:pt x="648655" y="139572"/>
                    </a:cubicBezTo>
                    <a:cubicBezTo>
                      <a:pt x="655363" y="149375"/>
                      <a:pt x="657427" y="160727"/>
                      <a:pt x="661039" y="172078"/>
                    </a:cubicBezTo>
                    <a:cubicBezTo>
                      <a:pt x="663618" y="180334"/>
                      <a:pt x="667230" y="182914"/>
                      <a:pt x="675486" y="180334"/>
                    </a:cubicBezTo>
                    <a:cubicBezTo>
                      <a:pt x="713668" y="168983"/>
                      <a:pt x="752882" y="160727"/>
                      <a:pt x="792613" y="155567"/>
                    </a:cubicBezTo>
                    <a:cubicBezTo>
                      <a:pt x="800352" y="154535"/>
                      <a:pt x="802932" y="151439"/>
                      <a:pt x="801900" y="143700"/>
                    </a:cubicBezTo>
                    <a:cubicBezTo>
                      <a:pt x="795193" y="98294"/>
                      <a:pt x="811704" y="55468"/>
                      <a:pt x="816864" y="11094"/>
                    </a:cubicBezTo>
                    <a:cubicBezTo>
                      <a:pt x="817380" y="5934"/>
                      <a:pt x="820476" y="2838"/>
                      <a:pt x="826151" y="2322"/>
                    </a:cubicBezTo>
                    <a:cubicBezTo>
                      <a:pt x="859174" y="-1290"/>
                      <a:pt x="892196" y="258"/>
                      <a:pt x="925219" y="774"/>
                    </a:cubicBezTo>
                    <a:cubicBezTo>
                      <a:pt x="930895" y="774"/>
                      <a:pt x="933475" y="4902"/>
                      <a:pt x="934507" y="10062"/>
                    </a:cubicBezTo>
                    <a:cubicBezTo>
                      <a:pt x="941214" y="43600"/>
                      <a:pt x="948438" y="77139"/>
                      <a:pt x="954114" y="111193"/>
                    </a:cubicBezTo>
                    <a:cubicBezTo>
                      <a:pt x="955662" y="120481"/>
                      <a:pt x="953082" y="130800"/>
                      <a:pt x="952050" y="140604"/>
                    </a:cubicBezTo>
                    <a:cubicBezTo>
                      <a:pt x="951018" y="148343"/>
                      <a:pt x="954114" y="151955"/>
                      <a:pt x="962369" y="152987"/>
                    </a:cubicBezTo>
                    <a:cubicBezTo>
                      <a:pt x="1001584" y="157115"/>
                      <a:pt x="1040798" y="164339"/>
                      <a:pt x="1078980" y="174658"/>
                    </a:cubicBezTo>
                    <a:cubicBezTo>
                      <a:pt x="1085172" y="176206"/>
                      <a:pt x="1091364" y="176722"/>
                      <a:pt x="1093428" y="168467"/>
                    </a:cubicBezTo>
                    <a:cubicBezTo>
                      <a:pt x="1101683" y="130284"/>
                      <a:pt x="1127482" y="101390"/>
                      <a:pt x="1147089" y="69399"/>
                    </a:cubicBezTo>
                    <a:cubicBezTo>
                      <a:pt x="1162569" y="43084"/>
                      <a:pt x="1163601" y="43600"/>
                      <a:pt x="1192495" y="54436"/>
                    </a:cubicBezTo>
                    <a:cubicBezTo>
                      <a:pt x="1214682" y="62691"/>
                      <a:pt x="1236353" y="71979"/>
                      <a:pt x="1258024" y="81266"/>
                    </a:cubicBezTo>
                    <a:cubicBezTo>
                      <a:pt x="1265764" y="84362"/>
                      <a:pt x="1268860" y="88490"/>
                      <a:pt x="1267312" y="96746"/>
                    </a:cubicBezTo>
                    <a:cubicBezTo>
                      <a:pt x="1260604" y="128736"/>
                      <a:pt x="1254928" y="160727"/>
                      <a:pt x="1247705" y="192718"/>
                    </a:cubicBezTo>
                    <a:cubicBezTo>
                      <a:pt x="1245125" y="203553"/>
                      <a:pt x="1238417" y="213873"/>
                      <a:pt x="1233258" y="224192"/>
                    </a:cubicBezTo>
                    <a:cubicBezTo>
                      <a:pt x="1229646" y="230384"/>
                      <a:pt x="1230678" y="233996"/>
                      <a:pt x="1237385" y="237608"/>
                    </a:cubicBezTo>
                    <a:cubicBezTo>
                      <a:pt x="1273504" y="256699"/>
                      <a:pt x="1307558" y="279402"/>
                      <a:pt x="1340065" y="304169"/>
                    </a:cubicBezTo>
                    <a:cubicBezTo>
                      <a:pt x="1345741" y="308812"/>
                      <a:pt x="1349868" y="309328"/>
                      <a:pt x="1354512" y="302621"/>
                    </a:cubicBezTo>
                    <a:cubicBezTo>
                      <a:pt x="1381343" y="264954"/>
                      <a:pt x="1424169" y="246379"/>
                      <a:pt x="1459771" y="218516"/>
                    </a:cubicBezTo>
                    <a:cubicBezTo>
                      <a:pt x="1464415" y="214905"/>
                      <a:pt x="1468027" y="216452"/>
                      <a:pt x="1472155" y="220064"/>
                    </a:cubicBezTo>
                    <a:cubicBezTo>
                      <a:pt x="1496406" y="241219"/>
                      <a:pt x="1519109" y="264438"/>
                      <a:pt x="1541296" y="287657"/>
                    </a:cubicBezTo>
                    <a:cubicBezTo>
                      <a:pt x="1545424" y="292301"/>
                      <a:pt x="1545940" y="296429"/>
                      <a:pt x="1542328" y="301073"/>
                    </a:cubicBezTo>
                    <a:cubicBezTo>
                      <a:pt x="1523237" y="329452"/>
                      <a:pt x="1505177" y="357830"/>
                      <a:pt x="1485570" y="385693"/>
                    </a:cubicBezTo>
                    <a:cubicBezTo>
                      <a:pt x="1479895" y="393949"/>
                      <a:pt x="1470607" y="400140"/>
                      <a:pt x="1462868" y="406332"/>
                    </a:cubicBezTo>
                    <a:cubicBezTo>
                      <a:pt x="1456676" y="411492"/>
                      <a:pt x="1455644" y="416136"/>
                      <a:pt x="1460803" y="422327"/>
                    </a:cubicBezTo>
                    <a:cubicBezTo>
                      <a:pt x="1486086" y="453802"/>
                      <a:pt x="1509305" y="487341"/>
                      <a:pt x="1529428" y="522427"/>
                    </a:cubicBezTo>
                    <a:cubicBezTo>
                      <a:pt x="1534072" y="530167"/>
                      <a:pt x="1538716" y="529135"/>
                      <a:pt x="1544908" y="525007"/>
                    </a:cubicBezTo>
                    <a:cubicBezTo>
                      <a:pt x="1584122" y="500756"/>
                      <a:pt x="1630044" y="500240"/>
                      <a:pt x="1672870" y="488373"/>
                    </a:cubicBezTo>
                    <a:cubicBezTo>
                      <a:pt x="1678546" y="486825"/>
                      <a:pt x="1681642" y="489921"/>
                      <a:pt x="1683706" y="495080"/>
                    </a:cubicBezTo>
                    <a:cubicBezTo>
                      <a:pt x="1697637" y="523975"/>
                      <a:pt x="1710537" y="553902"/>
                      <a:pt x="1721888" y="583828"/>
                    </a:cubicBezTo>
                    <a:cubicBezTo>
                      <a:pt x="1723952" y="590020"/>
                      <a:pt x="1722404" y="593632"/>
                      <a:pt x="1717244" y="596728"/>
                    </a:cubicBezTo>
                    <a:cubicBezTo>
                      <a:pt x="1689381" y="615303"/>
                      <a:pt x="1662035" y="634394"/>
                      <a:pt x="1633140" y="652453"/>
                    </a:cubicBezTo>
                    <a:cubicBezTo>
                      <a:pt x="1623852" y="658129"/>
                      <a:pt x="1612501" y="660709"/>
                      <a:pt x="1601665" y="663805"/>
                    </a:cubicBezTo>
                    <a:cubicBezTo>
                      <a:pt x="1594958" y="665869"/>
                      <a:pt x="1592894" y="668965"/>
                      <a:pt x="1594958" y="676188"/>
                    </a:cubicBezTo>
                    <a:cubicBezTo>
                      <a:pt x="1606309" y="715403"/>
                      <a:pt x="1615081" y="755133"/>
                      <a:pt x="1620241" y="795895"/>
                    </a:cubicBezTo>
                    <a:cubicBezTo>
                      <a:pt x="1621272" y="803119"/>
                      <a:pt x="1624368" y="805699"/>
                      <a:pt x="1631076" y="804667"/>
                    </a:cubicBezTo>
                    <a:cubicBezTo>
                      <a:pt x="1676482" y="797959"/>
                      <a:pt x="1719308" y="814470"/>
                      <a:pt x="1763682" y="819630"/>
                    </a:cubicBezTo>
                    <a:cubicBezTo>
                      <a:pt x="1769874" y="820146"/>
                      <a:pt x="1772454" y="823758"/>
                      <a:pt x="1773486" y="829950"/>
                    </a:cubicBezTo>
                    <a:cubicBezTo>
                      <a:pt x="1776582" y="862456"/>
                      <a:pt x="1775034" y="895479"/>
                      <a:pt x="1775034" y="927985"/>
                    </a:cubicBezTo>
                    <a:cubicBezTo>
                      <a:pt x="1775034" y="933661"/>
                      <a:pt x="1771422" y="936241"/>
                      <a:pt x="1766262" y="937273"/>
                    </a:cubicBezTo>
                    <a:cubicBezTo>
                      <a:pt x="1732207" y="943981"/>
                      <a:pt x="1698153" y="951204"/>
                      <a:pt x="1663583" y="957396"/>
                    </a:cubicBezTo>
                    <a:cubicBezTo>
                      <a:pt x="1654811" y="958944"/>
                      <a:pt x="1645523" y="956364"/>
                      <a:pt x="1636752" y="955332"/>
                    </a:cubicBezTo>
                    <a:cubicBezTo>
                      <a:pt x="1627980" y="954300"/>
                      <a:pt x="1623336" y="956364"/>
                      <a:pt x="1622304" y="966684"/>
                    </a:cubicBezTo>
                    <a:cubicBezTo>
                      <a:pt x="1618177" y="1005382"/>
                      <a:pt x="1610953" y="1044080"/>
                      <a:pt x="1601149" y="1081746"/>
                    </a:cubicBezTo>
                    <a:cubicBezTo>
                      <a:pt x="1598569" y="1091034"/>
                      <a:pt x="1601665" y="1095678"/>
                      <a:pt x="1610437" y="1097742"/>
                    </a:cubicBezTo>
                    <a:cubicBezTo>
                      <a:pt x="1654811" y="1108577"/>
                      <a:pt x="1687318" y="1140568"/>
                      <a:pt x="1726016" y="1161723"/>
                    </a:cubicBezTo>
                    <a:cubicBezTo>
                      <a:pt x="1731176" y="1164819"/>
                      <a:pt x="1731176" y="1168947"/>
                      <a:pt x="1729112" y="1174107"/>
                    </a:cubicBezTo>
                    <a:cubicBezTo>
                      <a:pt x="1718792" y="1204549"/>
                      <a:pt x="1706409" y="1234476"/>
                      <a:pt x="1693509" y="1263887"/>
                    </a:cubicBezTo>
                    <a:cubicBezTo>
                      <a:pt x="1690929" y="1269562"/>
                      <a:pt x="1687318" y="1271626"/>
                      <a:pt x="1681126" y="1270078"/>
                    </a:cubicBezTo>
                    <a:cubicBezTo>
                      <a:pt x="1648103" y="1263371"/>
                      <a:pt x="1614565" y="1257179"/>
                      <a:pt x="1581542" y="1249955"/>
                    </a:cubicBezTo>
                    <a:cubicBezTo>
                      <a:pt x="1571223" y="1247375"/>
                      <a:pt x="1561935" y="1241184"/>
                      <a:pt x="1552647" y="1236024"/>
                    </a:cubicBezTo>
                    <a:cubicBezTo>
                      <a:pt x="1545940" y="1232412"/>
                      <a:pt x="1542328" y="1232928"/>
                      <a:pt x="1538200" y="1240152"/>
                    </a:cubicBezTo>
                    <a:cubicBezTo>
                      <a:pt x="1519109" y="1275238"/>
                      <a:pt x="1497954" y="1309293"/>
                      <a:pt x="1473187" y="1340767"/>
                    </a:cubicBezTo>
                    <a:cubicBezTo>
                      <a:pt x="1467511" y="1347991"/>
                      <a:pt x="1466479" y="1352635"/>
                      <a:pt x="1475251" y="1358310"/>
                    </a:cubicBezTo>
                    <a:cubicBezTo>
                      <a:pt x="1502598" y="1375854"/>
                      <a:pt x="1516013" y="1405264"/>
                      <a:pt x="1535104" y="1430031"/>
                    </a:cubicBezTo>
                    <a:cubicBezTo>
                      <a:pt x="1538716" y="1434675"/>
                      <a:pt x="1541812" y="1439835"/>
                      <a:pt x="1545424" y="1444995"/>
                    </a:cubicBezTo>
                    <a:cubicBezTo>
                      <a:pt x="1566063" y="1474921"/>
                      <a:pt x="1565031" y="1464602"/>
                      <a:pt x="1542844" y="1489885"/>
                    </a:cubicBezTo>
                    <a:cubicBezTo>
                      <a:pt x="1526849" y="1508460"/>
                      <a:pt x="1508273" y="1524971"/>
                      <a:pt x="1491246" y="1542514"/>
                    </a:cubicBezTo>
                    <a:cubicBezTo>
                      <a:pt x="1485054" y="1549222"/>
                      <a:pt x="1479895" y="1549222"/>
                      <a:pt x="1472155" y="1544062"/>
                    </a:cubicBezTo>
                    <a:cubicBezTo>
                      <a:pt x="1446356" y="1526519"/>
                      <a:pt x="1420041" y="1508976"/>
                      <a:pt x="1393726" y="1491948"/>
                    </a:cubicBezTo>
                    <a:cubicBezTo>
                      <a:pt x="1383923" y="1485241"/>
                      <a:pt x="1377215" y="1475437"/>
                      <a:pt x="1369992" y="1466666"/>
                    </a:cubicBezTo>
                    <a:cubicBezTo>
                      <a:pt x="1364316" y="1459958"/>
                      <a:pt x="1359672" y="1458926"/>
                      <a:pt x="1352964" y="1464602"/>
                    </a:cubicBezTo>
                    <a:cubicBezTo>
                      <a:pt x="1322005" y="1489885"/>
                      <a:pt x="1288983" y="1512588"/>
                      <a:pt x="1254413" y="1532711"/>
                    </a:cubicBezTo>
                    <a:cubicBezTo>
                      <a:pt x="1249769" y="1535291"/>
                      <a:pt x="1244609" y="1537871"/>
                      <a:pt x="1248737" y="1544578"/>
                    </a:cubicBezTo>
                    <a:cubicBezTo>
                      <a:pt x="1272472" y="1580181"/>
                      <a:pt x="1274020" y="1622491"/>
                      <a:pt x="1284339" y="1662221"/>
                    </a:cubicBezTo>
                    <a:cubicBezTo>
                      <a:pt x="1290531" y="1685440"/>
                      <a:pt x="1292079" y="1682344"/>
                      <a:pt x="1268860" y="1693180"/>
                    </a:cubicBezTo>
                    <a:cubicBezTo>
                      <a:pt x="1244609" y="1704531"/>
                      <a:pt x="1219842" y="1714335"/>
                      <a:pt x="1195591" y="1724654"/>
                    </a:cubicBezTo>
                    <a:cubicBezTo>
                      <a:pt x="1187851" y="1727750"/>
                      <a:pt x="1183208" y="1726718"/>
                      <a:pt x="1178564" y="1719495"/>
                    </a:cubicBezTo>
                    <a:cubicBezTo>
                      <a:pt x="1161021" y="1692664"/>
                      <a:pt x="1142962" y="1666865"/>
                      <a:pt x="1125418" y="1640034"/>
                    </a:cubicBezTo>
                    <a:cubicBezTo>
                      <a:pt x="1118711" y="1629715"/>
                      <a:pt x="1116131" y="1617847"/>
                      <a:pt x="1113035" y="1606496"/>
                    </a:cubicBezTo>
                    <a:cubicBezTo>
                      <a:pt x="1110971" y="1599272"/>
                      <a:pt x="1107359" y="1597208"/>
                      <a:pt x="1099619" y="1599272"/>
                    </a:cubicBezTo>
                    <a:cubicBezTo>
                      <a:pt x="1060405" y="1611139"/>
                      <a:pt x="1020675" y="1619395"/>
                      <a:pt x="979913" y="1624555"/>
                    </a:cubicBezTo>
                    <a:cubicBezTo>
                      <a:pt x="973205" y="1625587"/>
                      <a:pt x="971141" y="1628682"/>
                      <a:pt x="972173" y="1634874"/>
                    </a:cubicBezTo>
                    <a:cubicBezTo>
                      <a:pt x="979397" y="1680280"/>
                      <a:pt x="962885" y="1723106"/>
                      <a:pt x="957726" y="1767481"/>
                    </a:cubicBezTo>
                    <a:cubicBezTo>
                      <a:pt x="956694" y="1775220"/>
                      <a:pt x="952566" y="1777800"/>
                      <a:pt x="945858" y="1777800"/>
                    </a:cubicBezTo>
                    <a:cubicBezTo>
                      <a:pt x="929347" y="1778316"/>
                      <a:pt x="912320" y="1779348"/>
                      <a:pt x="895808" y="1779864"/>
                    </a:cubicBezTo>
                    <a:cubicBezTo>
                      <a:pt x="894776" y="1776252"/>
                      <a:pt x="894776" y="1776252"/>
                      <a:pt x="894776" y="1775736"/>
                    </a:cubicBezTo>
                    <a:close/>
                    <a:moveTo>
                      <a:pt x="890648" y="1454798"/>
                    </a:moveTo>
                    <a:cubicBezTo>
                      <a:pt x="1199203" y="1449638"/>
                      <a:pt x="1454096" y="1207645"/>
                      <a:pt x="1452548" y="884127"/>
                    </a:cubicBezTo>
                    <a:cubicBezTo>
                      <a:pt x="1451516" y="575057"/>
                      <a:pt x="1205395" y="320164"/>
                      <a:pt x="881361" y="322228"/>
                    </a:cubicBezTo>
                    <a:cubicBezTo>
                      <a:pt x="571775" y="324292"/>
                      <a:pt x="318429" y="570929"/>
                      <a:pt x="320494" y="893415"/>
                    </a:cubicBezTo>
                    <a:cubicBezTo>
                      <a:pt x="323073" y="1202485"/>
                      <a:pt x="569195" y="1452218"/>
                      <a:pt x="890648" y="1454798"/>
                    </a:cubicBezTo>
                    <a:close/>
                  </a:path>
                </a:pathLst>
              </a:custGeom>
              <a:grpFill/>
              <a:ln w="51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6F66AB02-A030-4AD1-9F74-1D06F453FF8F}"/>
                  </a:ext>
                </a:extLst>
              </p:cNvPr>
              <p:cNvSpPr/>
              <p:nvPr/>
            </p:nvSpPr>
            <p:spPr>
              <a:xfrm>
                <a:off x="3733675" y="2339591"/>
                <a:ext cx="835883" cy="835883"/>
              </a:xfrm>
              <a:custGeom>
                <a:avLst/>
                <a:gdLst>
                  <a:gd name="connsiteX0" fmla="*/ 836916 w 835883"/>
                  <a:gd name="connsiteY0" fmla="*/ 418458 h 835883"/>
                  <a:gd name="connsiteX1" fmla="*/ 418459 w 835883"/>
                  <a:gd name="connsiteY1" fmla="*/ 836399 h 835883"/>
                  <a:gd name="connsiteX2" fmla="*/ 1 w 835883"/>
                  <a:gd name="connsiteY2" fmla="*/ 417426 h 835883"/>
                  <a:gd name="connsiteX3" fmla="*/ 418975 w 835883"/>
                  <a:gd name="connsiteY3" fmla="*/ 0 h 835883"/>
                  <a:gd name="connsiteX4" fmla="*/ 836916 w 835883"/>
                  <a:gd name="connsiteY4" fmla="*/ 418458 h 835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5883" h="835883">
                    <a:moveTo>
                      <a:pt x="836916" y="418458"/>
                    </a:moveTo>
                    <a:cubicBezTo>
                      <a:pt x="833821" y="651679"/>
                      <a:pt x="651165" y="836915"/>
                      <a:pt x="418459" y="836399"/>
                    </a:cubicBezTo>
                    <a:cubicBezTo>
                      <a:pt x="182657" y="836399"/>
                      <a:pt x="-515" y="649615"/>
                      <a:pt x="1" y="417426"/>
                    </a:cubicBezTo>
                    <a:cubicBezTo>
                      <a:pt x="517" y="181624"/>
                      <a:pt x="187301" y="0"/>
                      <a:pt x="418975" y="0"/>
                    </a:cubicBezTo>
                    <a:cubicBezTo>
                      <a:pt x="651680" y="516"/>
                      <a:pt x="833821" y="186268"/>
                      <a:pt x="836916" y="418458"/>
                    </a:cubicBezTo>
                    <a:close/>
                  </a:path>
                </a:pathLst>
              </a:custGeom>
              <a:grpFill/>
              <a:ln w="51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72" name="Freeform: Shape 71">
            <a:extLst>
              <a:ext uri="{FF2B5EF4-FFF2-40B4-BE49-F238E27FC236}">
                <a16:creationId xmlns:a16="http://schemas.microsoft.com/office/drawing/2014/main" id="{1C980EF8-E09C-4F4B-BF9F-49F28E94B6ED}"/>
              </a:ext>
            </a:extLst>
          </p:cNvPr>
          <p:cNvSpPr/>
          <p:nvPr userDrawn="1"/>
        </p:nvSpPr>
        <p:spPr>
          <a:xfrm>
            <a:off x="8809094" y="351406"/>
            <a:ext cx="577306" cy="577307"/>
          </a:xfrm>
          <a:custGeom>
            <a:avLst/>
            <a:gdLst>
              <a:gd name="connsiteX0" fmla="*/ 686157 w 1243505"/>
              <a:gd name="connsiteY0" fmla="*/ 1016068 h 1243505"/>
              <a:gd name="connsiteX1" fmla="*/ 560258 w 1243505"/>
              <a:gd name="connsiteY1" fmla="*/ 1016068 h 1243505"/>
              <a:gd name="connsiteX2" fmla="*/ 545811 w 1243505"/>
              <a:gd name="connsiteY2" fmla="*/ 1026903 h 1243505"/>
              <a:gd name="connsiteX3" fmla="*/ 533944 w 1243505"/>
              <a:gd name="connsiteY3" fmla="*/ 1088821 h 1243505"/>
              <a:gd name="connsiteX4" fmla="*/ 505565 w 1243505"/>
              <a:gd name="connsiteY4" fmla="*/ 1169829 h 1243505"/>
              <a:gd name="connsiteX5" fmla="*/ 469447 w 1243505"/>
              <a:gd name="connsiteY5" fmla="*/ 1240002 h 1243505"/>
              <a:gd name="connsiteX6" fmla="*/ 452935 w 1243505"/>
              <a:gd name="connsiteY6" fmla="*/ 1246710 h 1243505"/>
              <a:gd name="connsiteX7" fmla="*/ 305366 w 1243505"/>
              <a:gd name="connsiteY7" fmla="*/ 1185824 h 1243505"/>
              <a:gd name="connsiteX8" fmla="*/ 298142 w 1243505"/>
              <a:gd name="connsiteY8" fmla="*/ 1168281 h 1243505"/>
              <a:gd name="connsiteX9" fmla="*/ 333744 w 1243505"/>
              <a:gd name="connsiteY9" fmla="*/ 1059410 h 1243505"/>
              <a:gd name="connsiteX10" fmla="*/ 342000 w 1243505"/>
              <a:gd name="connsiteY10" fmla="*/ 1043415 h 1243505"/>
              <a:gd name="connsiteX11" fmla="*/ 395662 w 1243505"/>
              <a:gd name="connsiteY11" fmla="*/ 962922 h 1243505"/>
              <a:gd name="connsiteX12" fmla="*/ 393598 w 1243505"/>
              <a:gd name="connsiteY12" fmla="*/ 947959 h 1243505"/>
              <a:gd name="connsiteX13" fmla="*/ 299174 w 1243505"/>
              <a:gd name="connsiteY13" fmla="*/ 853535 h 1243505"/>
              <a:gd name="connsiteX14" fmla="*/ 285243 w 1243505"/>
              <a:gd name="connsiteY14" fmla="*/ 851471 h 1243505"/>
              <a:gd name="connsiteX15" fmla="*/ 230549 w 1243505"/>
              <a:gd name="connsiteY15" fmla="*/ 888106 h 1243505"/>
              <a:gd name="connsiteX16" fmla="*/ 148509 w 1243505"/>
              <a:gd name="connsiteY16" fmla="*/ 926804 h 1243505"/>
              <a:gd name="connsiteX17" fmla="*/ 78852 w 1243505"/>
              <a:gd name="connsiteY17" fmla="*/ 949507 h 1243505"/>
              <a:gd name="connsiteX18" fmla="*/ 62340 w 1243505"/>
              <a:gd name="connsiteY18" fmla="*/ 942799 h 1243505"/>
              <a:gd name="connsiteX19" fmla="*/ 939 w 1243505"/>
              <a:gd name="connsiteY19" fmla="*/ 794198 h 1243505"/>
              <a:gd name="connsiteX20" fmla="*/ 7131 w 1243505"/>
              <a:gd name="connsiteY20" fmla="*/ 778718 h 1243505"/>
              <a:gd name="connsiteX21" fmla="*/ 114454 w 1243505"/>
              <a:gd name="connsiteY21" fmla="*/ 725056 h 1243505"/>
              <a:gd name="connsiteX22" fmla="*/ 189787 w 1243505"/>
              <a:gd name="connsiteY22" fmla="*/ 708545 h 1243505"/>
              <a:gd name="connsiteX23" fmla="*/ 221261 w 1243505"/>
              <a:gd name="connsiteY23" fmla="*/ 702354 h 1243505"/>
              <a:gd name="connsiteX24" fmla="*/ 231581 w 1243505"/>
              <a:gd name="connsiteY24" fmla="*/ 688938 h 1243505"/>
              <a:gd name="connsiteX25" fmla="*/ 225905 w 1243505"/>
              <a:gd name="connsiteY25" fmla="*/ 631149 h 1243505"/>
              <a:gd name="connsiteX26" fmla="*/ 231581 w 1243505"/>
              <a:gd name="connsiteY26" fmla="*/ 559428 h 1243505"/>
              <a:gd name="connsiteX27" fmla="*/ 220745 w 1243505"/>
              <a:gd name="connsiteY27" fmla="*/ 544980 h 1243505"/>
              <a:gd name="connsiteX28" fmla="*/ 172760 w 1243505"/>
              <a:gd name="connsiteY28" fmla="*/ 535693 h 1243505"/>
              <a:gd name="connsiteX29" fmla="*/ 27770 w 1243505"/>
              <a:gd name="connsiteY29" fmla="*/ 478419 h 1243505"/>
              <a:gd name="connsiteX30" fmla="*/ 8163 w 1243505"/>
              <a:gd name="connsiteY30" fmla="*/ 431465 h 1243505"/>
              <a:gd name="connsiteX31" fmla="*/ 62340 w 1243505"/>
              <a:gd name="connsiteY31" fmla="*/ 305051 h 1243505"/>
              <a:gd name="connsiteX32" fmla="*/ 79884 w 1243505"/>
              <a:gd name="connsiteY32" fmla="*/ 297827 h 1243505"/>
              <a:gd name="connsiteX33" fmla="*/ 188755 w 1243505"/>
              <a:gd name="connsiteY33" fmla="*/ 333430 h 1243505"/>
              <a:gd name="connsiteX34" fmla="*/ 204750 w 1243505"/>
              <a:gd name="connsiteY34" fmla="*/ 341685 h 1243505"/>
              <a:gd name="connsiteX35" fmla="*/ 285243 w 1243505"/>
              <a:gd name="connsiteY35" fmla="*/ 395347 h 1243505"/>
              <a:gd name="connsiteX36" fmla="*/ 300206 w 1243505"/>
              <a:gd name="connsiteY36" fmla="*/ 393283 h 1243505"/>
              <a:gd name="connsiteX37" fmla="*/ 393598 w 1243505"/>
              <a:gd name="connsiteY37" fmla="*/ 299891 h 1243505"/>
              <a:gd name="connsiteX38" fmla="*/ 395662 w 1243505"/>
              <a:gd name="connsiteY38" fmla="*/ 283896 h 1243505"/>
              <a:gd name="connsiteX39" fmla="*/ 353352 w 1243505"/>
              <a:gd name="connsiteY39" fmla="*/ 220947 h 1243505"/>
              <a:gd name="connsiteX40" fmla="*/ 325489 w 1243505"/>
              <a:gd name="connsiteY40" fmla="*/ 162125 h 1243505"/>
              <a:gd name="connsiteX41" fmla="*/ 299690 w 1243505"/>
              <a:gd name="connsiteY41" fmla="*/ 82665 h 1243505"/>
              <a:gd name="connsiteX42" fmla="*/ 307946 w 1243505"/>
              <a:gd name="connsiteY42" fmla="*/ 61510 h 1243505"/>
              <a:gd name="connsiteX43" fmla="*/ 451903 w 1243505"/>
              <a:gd name="connsiteY43" fmla="*/ 2172 h 1243505"/>
              <a:gd name="connsiteX44" fmla="*/ 470478 w 1243505"/>
              <a:gd name="connsiteY44" fmla="*/ 9396 h 1243505"/>
              <a:gd name="connsiteX45" fmla="*/ 522076 w 1243505"/>
              <a:gd name="connsiteY45" fmla="*/ 111559 h 1243505"/>
              <a:gd name="connsiteX46" fmla="*/ 537555 w 1243505"/>
              <a:gd name="connsiteY46" fmla="*/ 177605 h 1243505"/>
              <a:gd name="connsiteX47" fmla="*/ 546843 w 1243505"/>
              <a:gd name="connsiteY47" fmla="*/ 223011 h 1243505"/>
              <a:gd name="connsiteX48" fmla="*/ 559227 w 1243505"/>
              <a:gd name="connsiteY48" fmla="*/ 231782 h 1243505"/>
              <a:gd name="connsiteX49" fmla="*/ 688737 w 1243505"/>
              <a:gd name="connsiteY49" fmla="*/ 231782 h 1243505"/>
              <a:gd name="connsiteX50" fmla="*/ 704216 w 1243505"/>
              <a:gd name="connsiteY50" fmla="*/ 220431 h 1243505"/>
              <a:gd name="connsiteX51" fmla="*/ 716600 w 1243505"/>
              <a:gd name="connsiteY51" fmla="*/ 156966 h 1243505"/>
              <a:gd name="connsiteX52" fmla="*/ 743430 w 1243505"/>
              <a:gd name="connsiteY52" fmla="*/ 79569 h 1243505"/>
              <a:gd name="connsiteX53" fmla="*/ 780065 w 1243505"/>
              <a:gd name="connsiteY53" fmla="*/ 8364 h 1243505"/>
              <a:gd name="connsiteX54" fmla="*/ 797092 w 1243505"/>
              <a:gd name="connsiteY54" fmla="*/ 1140 h 1243505"/>
              <a:gd name="connsiteX55" fmla="*/ 944146 w 1243505"/>
              <a:gd name="connsiteY55" fmla="*/ 62542 h 1243505"/>
              <a:gd name="connsiteX56" fmla="*/ 950853 w 1243505"/>
              <a:gd name="connsiteY56" fmla="*/ 79053 h 1243505"/>
              <a:gd name="connsiteX57" fmla="*/ 914735 w 1243505"/>
              <a:gd name="connsiteY57" fmla="*/ 189472 h 1243505"/>
              <a:gd name="connsiteX58" fmla="*/ 906479 w 1243505"/>
              <a:gd name="connsiteY58" fmla="*/ 205467 h 1243505"/>
              <a:gd name="connsiteX59" fmla="*/ 853334 w 1243505"/>
              <a:gd name="connsiteY59" fmla="*/ 284928 h 1243505"/>
              <a:gd name="connsiteX60" fmla="*/ 855398 w 1243505"/>
              <a:gd name="connsiteY60" fmla="*/ 300923 h 1243505"/>
              <a:gd name="connsiteX61" fmla="*/ 948789 w 1243505"/>
              <a:gd name="connsiteY61" fmla="*/ 394315 h 1243505"/>
              <a:gd name="connsiteX62" fmla="*/ 963753 w 1243505"/>
              <a:gd name="connsiteY62" fmla="*/ 396379 h 1243505"/>
              <a:gd name="connsiteX63" fmla="*/ 1015866 w 1243505"/>
              <a:gd name="connsiteY63" fmla="*/ 360777 h 1243505"/>
              <a:gd name="connsiteX64" fmla="*/ 1099971 w 1243505"/>
              <a:gd name="connsiteY64" fmla="*/ 320530 h 1243505"/>
              <a:gd name="connsiteX65" fmla="*/ 1168596 w 1243505"/>
              <a:gd name="connsiteY65" fmla="*/ 298343 h 1243505"/>
              <a:gd name="connsiteX66" fmla="*/ 1186139 w 1243505"/>
              <a:gd name="connsiteY66" fmla="*/ 305567 h 1243505"/>
              <a:gd name="connsiteX67" fmla="*/ 1247024 w 1243505"/>
              <a:gd name="connsiteY67" fmla="*/ 453136 h 1243505"/>
              <a:gd name="connsiteX68" fmla="*/ 1240317 w 1243505"/>
              <a:gd name="connsiteY68" fmla="*/ 469648 h 1243505"/>
              <a:gd name="connsiteX69" fmla="*/ 1135573 w 1243505"/>
              <a:gd name="connsiteY69" fmla="*/ 522277 h 1243505"/>
              <a:gd name="connsiteX70" fmla="*/ 1059209 w 1243505"/>
              <a:gd name="connsiteY70" fmla="*/ 539821 h 1243505"/>
              <a:gd name="connsiteX71" fmla="*/ 1040117 w 1243505"/>
              <a:gd name="connsiteY71" fmla="*/ 543433 h 1243505"/>
              <a:gd name="connsiteX72" fmla="*/ 1017930 w 1243505"/>
              <a:gd name="connsiteY72" fmla="*/ 572843 h 1243505"/>
              <a:gd name="connsiteX73" fmla="*/ 1016383 w 1243505"/>
              <a:gd name="connsiteY73" fmla="*/ 688422 h 1243505"/>
              <a:gd name="connsiteX74" fmla="*/ 1028250 w 1243505"/>
              <a:gd name="connsiteY74" fmla="*/ 703386 h 1243505"/>
              <a:gd name="connsiteX75" fmla="*/ 1118030 w 1243505"/>
              <a:gd name="connsiteY75" fmla="*/ 720929 h 1243505"/>
              <a:gd name="connsiteX76" fmla="*/ 1142281 w 1243505"/>
              <a:gd name="connsiteY76" fmla="*/ 729184 h 1243505"/>
              <a:gd name="connsiteX77" fmla="*/ 1237737 w 1243505"/>
              <a:gd name="connsiteY77" fmla="*/ 777686 h 1243505"/>
              <a:gd name="connsiteX78" fmla="*/ 1246508 w 1243505"/>
              <a:gd name="connsiteY78" fmla="*/ 797809 h 1243505"/>
              <a:gd name="connsiteX79" fmla="*/ 1186655 w 1243505"/>
              <a:gd name="connsiteY79" fmla="*/ 941767 h 1243505"/>
              <a:gd name="connsiteX80" fmla="*/ 1167564 w 1243505"/>
              <a:gd name="connsiteY80" fmla="*/ 950023 h 1243505"/>
              <a:gd name="connsiteX81" fmla="*/ 1062304 w 1243505"/>
              <a:gd name="connsiteY81" fmla="*/ 915452 h 1243505"/>
              <a:gd name="connsiteX82" fmla="*/ 1042697 w 1243505"/>
              <a:gd name="connsiteY82" fmla="*/ 905649 h 1243505"/>
              <a:gd name="connsiteX83" fmla="*/ 963237 w 1243505"/>
              <a:gd name="connsiteY83" fmla="*/ 852503 h 1243505"/>
              <a:gd name="connsiteX84" fmla="*/ 947241 w 1243505"/>
              <a:gd name="connsiteY84" fmla="*/ 855083 h 1243505"/>
              <a:gd name="connsiteX85" fmla="*/ 855914 w 1243505"/>
              <a:gd name="connsiteY85" fmla="*/ 946927 h 1243505"/>
              <a:gd name="connsiteX86" fmla="*/ 853850 w 1243505"/>
              <a:gd name="connsiteY86" fmla="*/ 966018 h 1243505"/>
              <a:gd name="connsiteX87" fmla="*/ 890484 w 1243505"/>
              <a:gd name="connsiteY87" fmla="*/ 1020711 h 1243505"/>
              <a:gd name="connsiteX88" fmla="*/ 925054 w 1243505"/>
              <a:gd name="connsiteY88" fmla="*/ 1093464 h 1243505"/>
              <a:gd name="connsiteX89" fmla="*/ 949821 w 1243505"/>
              <a:gd name="connsiteY89" fmla="*/ 1169313 h 1243505"/>
              <a:gd name="connsiteX90" fmla="*/ 943114 w 1243505"/>
              <a:gd name="connsiteY90" fmla="*/ 1185824 h 1243505"/>
              <a:gd name="connsiteX91" fmla="*/ 794512 w 1243505"/>
              <a:gd name="connsiteY91" fmla="*/ 1247226 h 1243505"/>
              <a:gd name="connsiteX92" fmla="*/ 779033 w 1243505"/>
              <a:gd name="connsiteY92" fmla="*/ 1241034 h 1243505"/>
              <a:gd name="connsiteX93" fmla="*/ 724855 w 1243505"/>
              <a:gd name="connsiteY93" fmla="*/ 1134226 h 1243505"/>
              <a:gd name="connsiteX94" fmla="*/ 718148 w 1243505"/>
              <a:gd name="connsiteY94" fmla="*/ 1105332 h 1243505"/>
              <a:gd name="connsiteX95" fmla="*/ 703184 w 1243505"/>
              <a:gd name="connsiteY95" fmla="*/ 1031031 h 1243505"/>
              <a:gd name="connsiteX96" fmla="*/ 686157 w 1243505"/>
              <a:gd name="connsiteY96" fmla="*/ 1016068 h 1243505"/>
              <a:gd name="connsiteX97" fmla="*/ 624240 w 1243505"/>
              <a:gd name="connsiteY97" fmla="*/ 791102 h 1243505"/>
              <a:gd name="connsiteX98" fmla="*/ 790900 w 1243505"/>
              <a:gd name="connsiteY98" fmla="*/ 623925 h 1243505"/>
              <a:gd name="connsiteX99" fmla="*/ 624240 w 1243505"/>
              <a:gd name="connsiteY99" fmla="*/ 458296 h 1243505"/>
              <a:gd name="connsiteX100" fmla="*/ 458095 w 1243505"/>
              <a:gd name="connsiteY100" fmla="*/ 624441 h 1243505"/>
              <a:gd name="connsiteX101" fmla="*/ 624240 w 1243505"/>
              <a:gd name="connsiteY101" fmla="*/ 791102 h 1243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</a:cxnLst>
            <a:rect l="l" t="t" r="r" b="b"/>
            <a:pathLst>
              <a:path w="1243505" h="1243505">
                <a:moveTo>
                  <a:pt x="686157" y="1016068"/>
                </a:moveTo>
                <a:cubicBezTo>
                  <a:pt x="644363" y="1024840"/>
                  <a:pt x="602053" y="1021743"/>
                  <a:pt x="560258" y="1016068"/>
                </a:cubicBezTo>
                <a:cubicBezTo>
                  <a:pt x="550455" y="1015036"/>
                  <a:pt x="547359" y="1018132"/>
                  <a:pt x="545811" y="1026903"/>
                </a:cubicBezTo>
                <a:cubicBezTo>
                  <a:pt x="542199" y="1047542"/>
                  <a:pt x="537039" y="1068181"/>
                  <a:pt x="533944" y="1088821"/>
                </a:cubicBezTo>
                <a:cubicBezTo>
                  <a:pt x="529816" y="1117715"/>
                  <a:pt x="519496" y="1144030"/>
                  <a:pt x="505565" y="1169829"/>
                </a:cubicBezTo>
                <a:cubicBezTo>
                  <a:pt x="492666" y="1192532"/>
                  <a:pt x="481314" y="1216267"/>
                  <a:pt x="469447" y="1240002"/>
                </a:cubicBezTo>
                <a:cubicBezTo>
                  <a:pt x="465835" y="1247741"/>
                  <a:pt x="461191" y="1249290"/>
                  <a:pt x="452935" y="1246710"/>
                </a:cubicBezTo>
                <a:cubicBezTo>
                  <a:pt x="401853" y="1231230"/>
                  <a:pt x="352836" y="1211107"/>
                  <a:pt x="305366" y="1185824"/>
                </a:cubicBezTo>
                <a:cubicBezTo>
                  <a:pt x="297110" y="1181696"/>
                  <a:pt x="295562" y="1177053"/>
                  <a:pt x="298142" y="1168281"/>
                </a:cubicBezTo>
                <a:cubicBezTo>
                  <a:pt x="310525" y="1132163"/>
                  <a:pt x="321877" y="1095528"/>
                  <a:pt x="333744" y="1059410"/>
                </a:cubicBezTo>
                <a:cubicBezTo>
                  <a:pt x="335808" y="1053734"/>
                  <a:pt x="338904" y="1048574"/>
                  <a:pt x="342000" y="1043415"/>
                </a:cubicBezTo>
                <a:cubicBezTo>
                  <a:pt x="360059" y="1016584"/>
                  <a:pt x="377602" y="989753"/>
                  <a:pt x="395662" y="962922"/>
                </a:cubicBezTo>
                <a:cubicBezTo>
                  <a:pt x="399790" y="956730"/>
                  <a:pt x="399790" y="952603"/>
                  <a:pt x="393598" y="947959"/>
                </a:cubicBezTo>
                <a:cubicBezTo>
                  <a:pt x="356963" y="921644"/>
                  <a:pt x="326005" y="889653"/>
                  <a:pt x="299174" y="853535"/>
                </a:cubicBezTo>
                <a:cubicBezTo>
                  <a:pt x="295046" y="847859"/>
                  <a:pt x="290918" y="847859"/>
                  <a:pt x="285243" y="851471"/>
                </a:cubicBezTo>
                <a:cubicBezTo>
                  <a:pt x="267183" y="863855"/>
                  <a:pt x="248092" y="875206"/>
                  <a:pt x="230549" y="888106"/>
                </a:cubicBezTo>
                <a:cubicBezTo>
                  <a:pt x="205782" y="906681"/>
                  <a:pt x="178435" y="918548"/>
                  <a:pt x="148509" y="926804"/>
                </a:cubicBezTo>
                <a:cubicBezTo>
                  <a:pt x="124774" y="933511"/>
                  <a:pt x="101555" y="941767"/>
                  <a:pt x="78852" y="949507"/>
                </a:cubicBezTo>
                <a:cubicBezTo>
                  <a:pt x="71112" y="952087"/>
                  <a:pt x="66468" y="950539"/>
                  <a:pt x="62340" y="942799"/>
                </a:cubicBezTo>
                <a:cubicBezTo>
                  <a:pt x="36541" y="895329"/>
                  <a:pt x="15902" y="845795"/>
                  <a:pt x="939" y="794198"/>
                </a:cubicBezTo>
                <a:cubicBezTo>
                  <a:pt x="-1125" y="786458"/>
                  <a:pt x="-93" y="782330"/>
                  <a:pt x="7131" y="778718"/>
                </a:cubicBezTo>
                <a:cubicBezTo>
                  <a:pt x="42733" y="760659"/>
                  <a:pt x="77820" y="741052"/>
                  <a:pt x="114454" y="725056"/>
                </a:cubicBezTo>
                <a:cubicBezTo>
                  <a:pt x="137673" y="714737"/>
                  <a:pt x="164504" y="714221"/>
                  <a:pt x="189787" y="708545"/>
                </a:cubicBezTo>
                <a:cubicBezTo>
                  <a:pt x="200106" y="705965"/>
                  <a:pt x="210942" y="704417"/>
                  <a:pt x="221261" y="702354"/>
                </a:cubicBezTo>
                <a:cubicBezTo>
                  <a:pt x="229001" y="700806"/>
                  <a:pt x="233129" y="698226"/>
                  <a:pt x="231581" y="688938"/>
                </a:cubicBezTo>
                <a:cubicBezTo>
                  <a:pt x="229001" y="669847"/>
                  <a:pt x="226937" y="650756"/>
                  <a:pt x="225905" y="631149"/>
                </a:cubicBezTo>
                <a:cubicBezTo>
                  <a:pt x="224873" y="606898"/>
                  <a:pt x="229517" y="583163"/>
                  <a:pt x="231581" y="559428"/>
                </a:cubicBezTo>
                <a:cubicBezTo>
                  <a:pt x="232613" y="549624"/>
                  <a:pt x="229001" y="546528"/>
                  <a:pt x="220745" y="544980"/>
                </a:cubicBezTo>
                <a:cubicBezTo>
                  <a:pt x="204750" y="542401"/>
                  <a:pt x="188755" y="537757"/>
                  <a:pt x="172760" y="535693"/>
                </a:cubicBezTo>
                <a:cubicBezTo>
                  <a:pt x="118582" y="530533"/>
                  <a:pt x="74208" y="502154"/>
                  <a:pt x="27770" y="478419"/>
                </a:cubicBezTo>
                <a:cubicBezTo>
                  <a:pt x="-2157" y="463456"/>
                  <a:pt x="-1125" y="463456"/>
                  <a:pt x="8163" y="431465"/>
                </a:cubicBezTo>
                <a:cubicBezTo>
                  <a:pt x="21062" y="387091"/>
                  <a:pt x="41701" y="345813"/>
                  <a:pt x="62340" y="305051"/>
                </a:cubicBezTo>
                <a:cubicBezTo>
                  <a:pt x="66468" y="296795"/>
                  <a:pt x="71112" y="295247"/>
                  <a:pt x="79884" y="297827"/>
                </a:cubicBezTo>
                <a:cubicBezTo>
                  <a:pt x="116002" y="310211"/>
                  <a:pt x="152636" y="321562"/>
                  <a:pt x="188755" y="333430"/>
                </a:cubicBezTo>
                <a:cubicBezTo>
                  <a:pt x="194430" y="335494"/>
                  <a:pt x="199590" y="338589"/>
                  <a:pt x="204750" y="341685"/>
                </a:cubicBezTo>
                <a:cubicBezTo>
                  <a:pt x="231581" y="359745"/>
                  <a:pt x="258412" y="377288"/>
                  <a:pt x="285243" y="395347"/>
                </a:cubicBezTo>
                <a:cubicBezTo>
                  <a:pt x="291434" y="399475"/>
                  <a:pt x="295562" y="399475"/>
                  <a:pt x="300206" y="393283"/>
                </a:cubicBezTo>
                <a:cubicBezTo>
                  <a:pt x="326521" y="357165"/>
                  <a:pt x="357479" y="326206"/>
                  <a:pt x="393598" y="299891"/>
                </a:cubicBezTo>
                <a:cubicBezTo>
                  <a:pt x="400305" y="294731"/>
                  <a:pt x="399790" y="290604"/>
                  <a:pt x="395662" y="283896"/>
                </a:cubicBezTo>
                <a:cubicBezTo>
                  <a:pt x="381214" y="263257"/>
                  <a:pt x="367799" y="241586"/>
                  <a:pt x="353352" y="220947"/>
                </a:cubicBezTo>
                <a:cubicBezTo>
                  <a:pt x="340452" y="202887"/>
                  <a:pt x="331681" y="183280"/>
                  <a:pt x="325489" y="162125"/>
                </a:cubicBezTo>
                <a:cubicBezTo>
                  <a:pt x="317749" y="135294"/>
                  <a:pt x="308978" y="108980"/>
                  <a:pt x="299690" y="82665"/>
                </a:cubicBezTo>
                <a:cubicBezTo>
                  <a:pt x="296078" y="72345"/>
                  <a:pt x="297626" y="66669"/>
                  <a:pt x="307946" y="61510"/>
                </a:cubicBezTo>
                <a:cubicBezTo>
                  <a:pt x="353867" y="37259"/>
                  <a:pt x="401853" y="17136"/>
                  <a:pt x="451903" y="2172"/>
                </a:cubicBezTo>
                <a:cubicBezTo>
                  <a:pt x="461191" y="-408"/>
                  <a:pt x="465835" y="624"/>
                  <a:pt x="470478" y="9396"/>
                </a:cubicBezTo>
                <a:cubicBezTo>
                  <a:pt x="487506" y="43451"/>
                  <a:pt x="505565" y="77505"/>
                  <a:pt x="522076" y="111559"/>
                </a:cubicBezTo>
                <a:cubicBezTo>
                  <a:pt x="531880" y="132199"/>
                  <a:pt x="532396" y="155934"/>
                  <a:pt x="537555" y="177605"/>
                </a:cubicBezTo>
                <a:cubicBezTo>
                  <a:pt x="541167" y="192568"/>
                  <a:pt x="543747" y="208047"/>
                  <a:pt x="546843" y="223011"/>
                </a:cubicBezTo>
                <a:cubicBezTo>
                  <a:pt x="548391" y="230234"/>
                  <a:pt x="550971" y="232814"/>
                  <a:pt x="559227" y="231782"/>
                </a:cubicBezTo>
                <a:cubicBezTo>
                  <a:pt x="602569" y="225590"/>
                  <a:pt x="645395" y="225074"/>
                  <a:pt x="688737" y="231782"/>
                </a:cubicBezTo>
                <a:cubicBezTo>
                  <a:pt x="699056" y="233330"/>
                  <a:pt x="702152" y="229718"/>
                  <a:pt x="704216" y="220431"/>
                </a:cubicBezTo>
                <a:cubicBezTo>
                  <a:pt x="707828" y="199276"/>
                  <a:pt x="713504" y="178636"/>
                  <a:pt x="716600" y="156966"/>
                </a:cubicBezTo>
                <a:cubicBezTo>
                  <a:pt x="720727" y="129103"/>
                  <a:pt x="730531" y="103820"/>
                  <a:pt x="743430" y="79569"/>
                </a:cubicBezTo>
                <a:cubicBezTo>
                  <a:pt x="756330" y="56350"/>
                  <a:pt x="768197" y="32099"/>
                  <a:pt x="780065" y="8364"/>
                </a:cubicBezTo>
                <a:cubicBezTo>
                  <a:pt x="784193" y="108"/>
                  <a:pt x="788320" y="-1440"/>
                  <a:pt x="797092" y="1140"/>
                </a:cubicBezTo>
                <a:cubicBezTo>
                  <a:pt x="848174" y="16620"/>
                  <a:pt x="897192" y="36743"/>
                  <a:pt x="944146" y="62542"/>
                </a:cubicBezTo>
                <a:cubicBezTo>
                  <a:pt x="951885" y="66669"/>
                  <a:pt x="953949" y="70797"/>
                  <a:pt x="950853" y="79053"/>
                </a:cubicBezTo>
                <a:cubicBezTo>
                  <a:pt x="938470" y="115687"/>
                  <a:pt x="927118" y="152838"/>
                  <a:pt x="914735" y="189472"/>
                </a:cubicBezTo>
                <a:cubicBezTo>
                  <a:pt x="912671" y="195148"/>
                  <a:pt x="909575" y="200308"/>
                  <a:pt x="906479" y="205467"/>
                </a:cubicBezTo>
                <a:cubicBezTo>
                  <a:pt x="888936" y="231782"/>
                  <a:pt x="871393" y="258613"/>
                  <a:pt x="853334" y="284928"/>
                </a:cubicBezTo>
                <a:cubicBezTo>
                  <a:pt x="848690" y="291635"/>
                  <a:pt x="849206" y="296279"/>
                  <a:pt x="855398" y="300923"/>
                </a:cubicBezTo>
                <a:cubicBezTo>
                  <a:pt x="891516" y="327238"/>
                  <a:pt x="922475" y="358713"/>
                  <a:pt x="948789" y="394315"/>
                </a:cubicBezTo>
                <a:cubicBezTo>
                  <a:pt x="953433" y="401023"/>
                  <a:pt x="957561" y="400507"/>
                  <a:pt x="963753" y="396379"/>
                </a:cubicBezTo>
                <a:cubicBezTo>
                  <a:pt x="981296" y="384511"/>
                  <a:pt x="999355" y="373676"/>
                  <a:pt x="1015866" y="360777"/>
                </a:cubicBezTo>
                <a:cubicBezTo>
                  <a:pt x="1041149" y="341685"/>
                  <a:pt x="1069528" y="329302"/>
                  <a:pt x="1099971" y="320530"/>
                </a:cubicBezTo>
                <a:cubicBezTo>
                  <a:pt x="1123190" y="314339"/>
                  <a:pt x="1145893" y="306083"/>
                  <a:pt x="1168596" y="298343"/>
                </a:cubicBezTo>
                <a:cubicBezTo>
                  <a:pt x="1177368" y="295247"/>
                  <a:pt x="1181495" y="297311"/>
                  <a:pt x="1186139" y="305567"/>
                </a:cubicBezTo>
                <a:cubicBezTo>
                  <a:pt x="1211422" y="352521"/>
                  <a:pt x="1232061" y="401539"/>
                  <a:pt x="1247024" y="453136"/>
                </a:cubicBezTo>
                <a:cubicBezTo>
                  <a:pt x="1249604" y="461392"/>
                  <a:pt x="1247540" y="465520"/>
                  <a:pt x="1240317" y="469648"/>
                </a:cubicBezTo>
                <a:cubicBezTo>
                  <a:pt x="1205230" y="487191"/>
                  <a:pt x="1171176" y="506282"/>
                  <a:pt x="1135573" y="522277"/>
                </a:cubicBezTo>
                <a:cubicBezTo>
                  <a:pt x="1111838" y="533113"/>
                  <a:pt x="1084492" y="533629"/>
                  <a:pt x="1059209" y="539821"/>
                </a:cubicBezTo>
                <a:cubicBezTo>
                  <a:pt x="1053017" y="541369"/>
                  <a:pt x="1046309" y="542401"/>
                  <a:pt x="1040117" y="543433"/>
                </a:cubicBezTo>
                <a:cubicBezTo>
                  <a:pt x="1015866" y="548592"/>
                  <a:pt x="1014318" y="548592"/>
                  <a:pt x="1017930" y="572843"/>
                </a:cubicBezTo>
                <a:cubicBezTo>
                  <a:pt x="1024122" y="611541"/>
                  <a:pt x="1021542" y="649724"/>
                  <a:pt x="1016383" y="688422"/>
                </a:cubicBezTo>
                <a:cubicBezTo>
                  <a:pt x="1014835" y="699258"/>
                  <a:pt x="1019478" y="701837"/>
                  <a:pt x="1028250" y="703386"/>
                </a:cubicBezTo>
                <a:cubicBezTo>
                  <a:pt x="1058177" y="709061"/>
                  <a:pt x="1088103" y="715253"/>
                  <a:pt x="1118030" y="720929"/>
                </a:cubicBezTo>
                <a:cubicBezTo>
                  <a:pt x="1126802" y="722477"/>
                  <a:pt x="1134541" y="725572"/>
                  <a:pt x="1142281" y="729184"/>
                </a:cubicBezTo>
                <a:cubicBezTo>
                  <a:pt x="1173756" y="745696"/>
                  <a:pt x="1205746" y="762207"/>
                  <a:pt x="1237737" y="777686"/>
                </a:cubicBezTo>
                <a:cubicBezTo>
                  <a:pt x="1247024" y="782330"/>
                  <a:pt x="1249604" y="786974"/>
                  <a:pt x="1246508" y="797809"/>
                </a:cubicBezTo>
                <a:cubicBezTo>
                  <a:pt x="1231545" y="847859"/>
                  <a:pt x="1211422" y="895329"/>
                  <a:pt x="1186655" y="941767"/>
                </a:cubicBezTo>
                <a:cubicBezTo>
                  <a:pt x="1182011" y="950539"/>
                  <a:pt x="1177368" y="953634"/>
                  <a:pt x="1167564" y="950023"/>
                </a:cubicBezTo>
                <a:cubicBezTo>
                  <a:pt x="1132477" y="938155"/>
                  <a:pt x="1097391" y="926804"/>
                  <a:pt x="1062304" y="915452"/>
                </a:cubicBezTo>
                <a:cubicBezTo>
                  <a:pt x="1055081" y="913388"/>
                  <a:pt x="1048889" y="909776"/>
                  <a:pt x="1042697" y="905649"/>
                </a:cubicBezTo>
                <a:cubicBezTo>
                  <a:pt x="1016383" y="888106"/>
                  <a:pt x="989552" y="870562"/>
                  <a:pt x="963237" y="852503"/>
                </a:cubicBezTo>
                <a:cubicBezTo>
                  <a:pt x="956529" y="847859"/>
                  <a:pt x="952401" y="848375"/>
                  <a:pt x="947241" y="855083"/>
                </a:cubicBezTo>
                <a:cubicBezTo>
                  <a:pt x="921443" y="890169"/>
                  <a:pt x="891000" y="921128"/>
                  <a:pt x="855914" y="946927"/>
                </a:cubicBezTo>
                <a:cubicBezTo>
                  <a:pt x="847658" y="953119"/>
                  <a:pt x="848174" y="958278"/>
                  <a:pt x="853850" y="966018"/>
                </a:cubicBezTo>
                <a:cubicBezTo>
                  <a:pt x="866749" y="984077"/>
                  <a:pt x="877584" y="1002652"/>
                  <a:pt x="890484" y="1020711"/>
                </a:cubicBezTo>
                <a:cubicBezTo>
                  <a:pt x="906479" y="1042899"/>
                  <a:pt x="917831" y="1067149"/>
                  <a:pt x="925054" y="1093464"/>
                </a:cubicBezTo>
                <a:cubicBezTo>
                  <a:pt x="932278" y="1119263"/>
                  <a:pt x="941050" y="1144030"/>
                  <a:pt x="949821" y="1169313"/>
                </a:cubicBezTo>
                <a:cubicBezTo>
                  <a:pt x="952401" y="1177053"/>
                  <a:pt x="950853" y="1181696"/>
                  <a:pt x="943114" y="1185824"/>
                </a:cubicBezTo>
                <a:cubicBezTo>
                  <a:pt x="895644" y="1211623"/>
                  <a:pt x="846110" y="1232262"/>
                  <a:pt x="794512" y="1247226"/>
                </a:cubicBezTo>
                <a:cubicBezTo>
                  <a:pt x="786773" y="1249290"/>
                  <a:pt x="782645" y="1248258"/>
                  <a:pt x="779033" y="1241034"/>
                </a:cubicBezTo>
                <a:cubicBezTo>
                  <a:pt x="760974" y="1205432"/>
                  <a:pt x="742399" y="1169829"/>
                  <a:pt x="724855" y="1134226"/>
                </a:cubicBezTo>
                <a:cubicBezTo>
                  <a:pt x="720211" y="1125455"/>
                  <a:pt x="720211" y="1115136"/>
                  <a:pt x="718148" y="1105332"/>
                </a:cubicBezTo>
                <a:cubicBezTo>
                  <a:pt x="712988" y="1080565"/>
                  <a:pt x="708344" y="1055798"/>
                  <a:pt x="703184" y="1031031"/>
                </a:cubicBezTo>
                <a:cubicBezTo>
                  <a:pt x="700604" y="1015552"/>
                  <a:pt x="701120" y="1015552"/>
                  <a:pt x="686157" y="1016068"/>
                </a:cubicBezTo>
                <a:close/>
                <a:moveTo>
                  <a:pt x="624240" y="791102"/>
                </a:moveTo>
                <a:cubicBezTo>
                  <a:pt x="720211" y="788522"/>
                  <a:pt x="791416" y="716801"/>
                  <a:pt x="790900" y="623925"/>
                </a:cubicBezTo>
                <a:cubicBezTo>
                  <a:pt x="790384" y="528985"/>
                  <a:pt x="717632" y="457780"/>
                  <a:pt x="624240" y="458296"/>
                </a:cubicBezTo>
                <a:cubicBezTo>
                  <a:pt x="530332" y="458296"/>
                  <a:pt x="458095" y="530533"/>
                  <a:pt x="458095" y="624441"/>
                </a:cubicBezTo>
                <a:cubicBezTo>
                  <a:pt x="458095" y="718349"/>
                  <a:pt x="530848" y="788522"/>
                  <a:pt x="624240" y="791102"/>
                </a:cubicBezTo>
                <a:close/>
              </a:path>
            </a:pathLst>
          </a:custGeom>
          <a:solidFill>
            <a:schemeClr val="bg1">
              <a:alpha val="5000"/>
            </a:schemeClr>
          </a:solidFill>
          <a:ln w="51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1768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Layout Personaliza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6">
            <a:extLst>
              <a:ext uri="{FF2B5EF4-FFF2-40B4-BE49-F238E27FC236}">
                <a16:creationId xmlns:a16="http://schemas.microsoft.com/office/drawing/2014/main" id="{9EAB4F7B-EC3A-43B1-9A97-DB12649AC88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latin typeface="Roboto" panose="02000000000000000000" pitchFamily="2" charset="0"/>
            </a:endParaRPr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BD9F1B34-01D9-4E9C-BE46-52178DA500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4904" y="2638425"/>
            <a:ext cx="6810375" cy="1866900"/>
          </a:xfrm>
        </p:spPr>
        <p:txBody>
          <a:bodyPr>
            <a:noAutofit/>
          </a:bodyPr>
          <a:lstStyle>
            <a:lvl1pPr>
              <a:defRPr sz="5400" b="0">
                <a:solidFill>
                  <a:schemeClr val="bg1"/>
                </a:solidFill>
              </a:defRPr>
            </a:lvl1pPr>
          </a:lstStyle>
          <a:p>
            <a:r>
              <a:rPr lang="pt-BR" dirty="0"/>
              <a:t>Título do capítulo 54pt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E272A967-9196-45DC-B016-2FEC54C73A3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454904" y="2219325"/>
            <a:ext cx="6810375" cy="209550"/>
          </a:xfrm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pt-BR" dirty="0"/>
              <a:t>Nome do capítulo</a:t>
            </a:r>
          </a:p>
        </p:txBody>
      </p:sp>
      <p:sp>
        <p:nvSpPr>
          <p:cNvPr id="6" name="Espaço Reservado para Texto 4">
            <a:extLst>
              <a:ext uri="{FF2B5EF4-FFF2-40B4-BE49-F238E27FC236}">
                <a16:creationId xmlns:a16="http://schemas.microsoft.com/office/drawing/2014/main" id="{B7D71DCA-3EC4-4EFA-B9DB-1CE33904DC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454904" y="4714875"/>
            <a:ext cx="6810375" cy="704850"/>
          </a:xfrm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pt-BR" dirty="0"/>
              <a:t>Descritivo do capítulo 14pt</a:t>
            </a: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F586189E-0D8D-4E3E-9AE5-D799EDB39B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41283" y="5643101"/>
            <a:ext cx="1087752" cy="786273"/>
          </a:xfrm>
          <a:prstGeom prst="rect">
            <a:avLst/>
          </a:prstGeom>
        </p:spPr>
      </p:pic>
      <p:pic>
        <p:nvPicPr>
          <p:cNvPr id="9" name="Imagem 10" descr="Uma imagem contendo edifício, ponte, luz&#10;&#10;Descrição gerada automaticamente">
            <a:extLst>
              <a:ext uri="{FF2B5EF4-FFF2-40B4-BE49-F238E27FC236}">
                <a16:creationId xmlns:a16="http://schemas.microsoft.com/office/drawing/2014/main" id="{4E4CD9ED-2361-4F9E-86D1-8B05B3F682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3678" r="-10581"/>
          <a:stretch/>
        </p:blipFill>
        <p:spPr>
          <a:xfrm>
            <a:off x="0" y="1255143"/>
            <a:ext cx="2285538" cy="5602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9407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slideLayout" Target="../slideLayouts/slideLayout52.xml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slideLayout" Target="../slideLayouts/slideLayout51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50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31" Type="http://schemas.openxmlformats.org/officeDocument/2006/relationships/image" Target="../media/image35.png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slideLayout" Target="../slideLayouts/slideLayout53.xml"/><Relationship Id="rId30" Type="http://schemas.openxmlformats.org/officeDocument/2006/relationships/image" Target="../media/image34.jpeg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72.xml"/><Relationship Id="rId26" Type="http://schemas.openxmlformats.org/officeDocument/2006/relationships/slideLayout" Target="../slideLayouts/slideLayout80.xml"/><Relationship Id="rId3" Type="http://schemas.openxmlformats.org/officeDocument/2006/relationships/slideLayout" Target="../slideLayouts/slideLayout57.xml"/><Relationship Id="rId21" Type="http://schemas.openxmlformats.org/officeDocument/2006/relationships/slideLayout" Target="../slideLayouts/slideLayout75.xml"/><Relationship Id="rId34" Type="http://schemas.openxmlformats.org/officeDocument/2006/relationships/image" Target="../media/image65.png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5" Type="http://schemas.openxmlformats.org/officeDocument/2006/relationships/slideLayout" Target="../slideLayouts/slideLayout79.xml"/><Relationship Id="rId33" Type="http://schemas.openxmlformats.org/officeDocument/2006/relationships/image" Target="../media/image64.emf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0" Type="http://schemas.openxmlformats.org/officeDocument/2006/relationships/slideLayout" Target="../slideLayouts/slideLayout74.xml"/><Relationship Id="rId29" Type="http://schemas.openxmlformats.org/officeDocument/2006/relationships/vmlDrawing" Target="../drawings/vmlDrawing1.v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24" Type="http://schemas.openxmlformats.org/officeDocument/2006/relationships/slideLayout" Target="../slideLayouts/slideLayout78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9.xml"/><Relationship Id="rId23" Type="http://schemas.openxmlformats.org/officeDocument/2006/relationships/slideLayout" Target="../slideLayouts/slideLayout77.xml"/><Relationship Id="rId28" Type="http://schemas.openxmlformats.org/officeDocument/2006/relationships/theme" Target="../theme/theme3.xml"/><Relationship Id="rId10" Type="http://schemas.openxmlformats.org/officeDocument/2006/relationships/slideLayout" Target="../slideLayouts/slideLayout64.xml"/><Relationship Id="rId19" Type="http://schemas.openxmlformats.org/officeDocument/2006/relationships/slideLayout" Target="../slideLayouts/slideLayout73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Relationship Id="rId22" Type="http://schemas.openxmlformats.org/officeDocument/2006/relationships/slideLayout" Target="../slideLayouts/slideLayout76.xml"/><Relationship Id="rId27" Type="http://schemas.openxmlformats.org/officeDocument/2006/relationships/slideLayout" Target="../slideLayouts/slideLayout81.xml"/><Relationship Id="rId30" Type="http://schemas.openxmlformats.org/officeDocument/2006/relationships/tags" Target="../tags/tag1.xml"/><Relationship Id="rId35" Type="http://schemas.openxmlformats.org/officeDocument/2006/relationships/image" Target="../media/image2.png"/><Relationship Id="rId8" Type="http://schemas.openxmlformats.org/officeDocument/2006/relationships/slideLayout" Target="../slideLayouts/slideLayout62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83.xml"/><Relationship Id="rId1" Type="http://schemas.openxmlformats.org/officeDocument/2006/relationships/slideLayout" Target="../slideLayouts/slideLayout8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8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7EC853CF-2447-42CB-A917-D60807C13B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464343"/>
            <a:ext cx="8372475" cy="433388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pt-BR" dirty="0"/>
              <a:t>Título do slide 24pt </a:t>
            </a:r>
            <a:r>
              <a:rPr lang="pt-BR" dirty="0" err="1"/>
              <a:t>bold</a:t>
            </a:r>
            <a:endParaRPr lang="pt-BR" dirty="0"/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96C5EA68-E5A8-4B6E-A058-F5D04C35F3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1072515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 err="1"/>
              <a:t>Bullets</a:t>
            </a:r>
            <a:r>
              <a:rPr lang="pt-BR" dirty="0"/>
              <a:t> points 14pt</a:t>
            </a:r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71F5F9D0-C78D-4368-A2A8-59608CFEF6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25225" y="6489700"/>
            <a:ext cx="5810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>
                <a:solidFill>
                  <a:schemeClr val="bg1"/>
                </a:solidFill>
                <a:latin typeface="Roboto" panose="02000000000000000000" pitchFamily="2" charset="0"/>
              </a:defRPr>
            </a:lvl1pPr>
          </a:lstStyle>
          <a:p>
            <a:fld id="{4D11D262-DD36-4C3A-9581-B03EDCFD2EDD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" name="MSIPCMContentMarking" descr="{&quot;HashCode&quot;:242297648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BCE2143B-E7D4-4798-ABDE-F44287BFC532}"/>
              </a:ext>
            </a:extLst>
          </p:cNvPr>
          <p:cNvSpPr txBox="1"/>
          <p:nvPr userDrawn="1"/>
        </p:nvSpPr>
        <p:spPr>
          <a:xfrm>
            <a:off x="0" y="0"/>
            <a:ext cx="773796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pt-BR" sz="1000">
                <a:solidFill>
                  <a:srgbClr val="000000"/>
                </a:solidFill>
                <a:latin typeface="Calibri" panose="020F0502020204030204" pitchFamily="34" charset="0"/>
              </a:rPr>
              <a:t>RESTRITO</a:t>
            </a:r>
          </a:p>
        </p:txBody>
      </p:sp>
      <p:sp>
        <p:nvSpPr>
          <p:cNvPr id="12" name="MSIPCMContentMarking" descr="{&quot;HashCode&quot;:266435217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FA97A79C-0A49-4B72-BBFC-3C8C016D98FC}"/>
              </a:ext>
            </a:extLst>
          </p:cNvPr>
          <p:cNvSpPr txBox="1"/>
          <p:nvPr userDrawn="1"/>
        </p:nvSpPr>
        <p:spPr>
          <a:xfrm>
            <a:off x="0" y="6595656"/>
            <a:ext cx="773796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pt-BR" sz="1000">
                <a:solidFill>
                  <a:srgbClr val="000000"/>
                </a:solidFill>
                <a:latin typeface="Calibri" panose="020F0502020204030204" pitchFamily="34" charset="0"/>
              </a:rPr>
              <a:t>RESTRITO</a:t>
            </a:r>
          </a:p>
        </p:txBody>
      </p:sp>
    </p:spTree>
    <p:extLst>
      <p:ext uri="{BB962C8B-B14F-4D97-AF65-F5344CB8AC3E}">
        <p14:creationId xmlns:p14="http://schemas.microsoft.com/office/powerpoint/2010/main" val="5210594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54" r:id="rId2"/>
    <p:sldLayoutId id="2147483719" r:id="rId3"/>
    <p:sldLayoutId id="2147483723" r:id="rId4"/>
    <p:sldLayoutId id="2147483752" r:id="rId5"/>
    <p:sldLayoutId id="214748375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44" r:id="rId12"/>
    <p:sldLayoutId id="2147483731" r:id="rId13"/>
    <p:sldLayoutId id="2147483745" r:id="rId14"/>
    <p:sldLayoutId id="2147483736" r:id="rId15"/>
    <p:sldLayoutId id="2147483737" r:id="rId16"/>
    <p:sldLayoutId id="2147483746" r:id="rId17"/>
    <p:sldLayoutId id="2147483738" r:id="rId18"/>
    <p:sldLayoutId id="2147483739" r:id="rId19"/>
    <p:sldLayoutId id="2147483747" r:id="rId20"/>
    <p:sldLayoutId id="2147483748" r:id="rId21"/>
    <p:sldLayoutId id="2147483742" r:id="rId22"/>
    <p:sldLayoutId id="2147483757" r:id="rId23"/>
    <p:sldLayoutId id="2147483759" r:id="rId24"/>
    <p:sldLayoutId id="2147483755" r:id="rId25"/>
    <p:sldLayoutId id="2147483756" r:id="rId2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bg1"/>
          </a:solidFill>
          <a:latin typeface="Roboto" panose="02000000000000000000" pitchFamily="2" charset="0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lnSpc>
          <a:spcPct val="90000"/>
        </a:lnSpc>
        <a:spcBef>
          <a:spcPts val="1800"/>
        </a:spcBef>
        <a:buFontTx/>
        <a:buBlip>
          <a:blip r:embed="rId29"/>
        </a:buBlip>
        <a:defRPr sz="1400" kern="1200">
          <a:solidFill>
            <a:schemeClr val="tx1"/>
          </a:solidFill>
          <a:latin typeface="Roboto" panose="02000000000000000000" pitchFamily="2" charset="0"/>
          <a:ea typeface="+mn-ea"/>
          <a:cs typeface="+mn-cs"/>
        </a:defRPr>
      </a:lvl1pPr>
      <a:lvl2pPr marL="180975" indent="-180975" algn="l" defTabSz="914400" rtl="0" eaLnBrk="1" latinLnBrk="0" hangingPunct="1">
        <a:lnSpc>
          <a:spcPct val="90000"/>
        </a:lnSpc>
        <a:spcBef>
          <a:spcPts val="1800"/>
        </a:spcBef>
        <a:buFontTx/>
        <a:buBlip>
          <a:blip r:embed="rId29"/>
        </a:buBlip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90000"/>
        </a:lnSpc>
        <a:spcBef>
          <a:spcPts val="1800"/>
        </a:spcBef>
        <a:buFontTx/>
        <a:buBlip>
          <a:blip r:embed="rId29"/>
        </a:buBlip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80975" indent="-180975" algn="l" defTabSz="914400" rtl="0" eaLnBrk="1" latinLnBrk="0" hangingPunct="1">
        <a:lnSpc>
          <a:spcPct val="90000"/>
        </a:lnSpc>
        <a:spcBef>
          <a:spcPts val="1800"/>
        </a:spcBef>
        <a:buFontTx/>
        <a:buBlip>
          <a:blip r:embed="rId29"/>
        </a:buBlip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0975" indent="-180975" algn="l" defTabSz="914400" rtl="0" eaLnBrk="1" latinLnBrk="0" hangingPunct="1">
        <a:lnSpc>
          <a:spcPct val="90000"/>
        </a:lnSpc>
        <a:spcBef>
          <a:spcPts val="1800"/>
        </a:spcBef>
        <a:buFontTx/>
        <a:buBlip>
          <a:blip r:embed="rId29"/>
        </a:buBlip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0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 descr="Fundo preto com letras brancas&#10;&#10;Descrição gerada automaticamente" hidden="1">
            <a:extLst>
              <a:ext uri="{FF2B5EF4-FFF2-40B4-BE49-F238E27FC236}">
                <a16:creationId xmlns:a16="http://schemas.microsoft.com/office/drawing/2014/main" id="{DAD1FC78-F319-4B08-AB86-5133F44D7807}"/>
              </a:ext>
            </a:extLst>
          </p:cNvPr>
          <p:cNvPicPr>
            <a:picLocks noChangeAspect="1"/>
          </p:cNvPicPr>
          <p:nvPr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09" y="0"/>
            <a:ext cx="12186584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18007" y="384181"/>
            <a:ext cx="8450943" cy="47771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pt-BR" dirty="0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8007" y="1420108"/>
            <a:ext cx="10560877" cy="47978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I shall see the face of Mars, anyhow, and that will be a rare experience. It seems to me that a view of the heavenly bodies through a fine telescope, as well as a tour round the world, should form a part of a liberal education.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78886" y="6587490"/>
            <a:ext cx="556697" cy="270510"/>
          </a:xfrm>
          <a:prstGeom prst="rect">
            <a:avLst/>
          </a:prstGeom>
        </p:spPr>
        <p:txBody>
          <a:bodyPr vert="horz" lIns="0" tIns="0" rIns="0" bIns="0" rtlCol="0" anchor="ctr" anchorCtr="1"/>
          <a:lstStyle>
            <a:lvl1pPr algn="r">
              <a:defRPr sz="1000" b="1">
                <a:solidFill>
                  <a:schemeClr val="bg1"/>
                </a:solidFill>
              </a:defRPr>
            </a:lvl1pPr>
          </a:lstStyle>
          <a:p>
            <a:fld id="{97C83533-BF64-4BD4-B66F-F63D08579F68}" type="slidenum">
              <a:rPr lang="pt-BR" smtClean="0"/>
              <a:pPr/>
              <a:t>‹nº›</a:t>
            </a:fld>
            <a:endParaRPr lang="pt-BR" dirty="0"/>
          </a:p>
        </p:txBody>
      </p:sp>
      <p:pic>
        <p:nvPicPr>
          <p:cNvPr id="7" name="Imagem 6" descr="Fundo preto com letras brancas&#10;&#10;Descrição gerada automaticamente" hidden="1">
            <a:extLst>
              <a:ext uri="{FF2B5EF4-FFF2-40B4-BE49-F238E27FC236}">
                <a16:creationId xmlns:a16="http://schemas.microsoft.com/office/drawing/2014/main" id="{D2FD2D33-6F1B-463B-8D6F-C025764E7D98}"/>
              </a:ext>
            </a:extLst>
          </p:cNvPr>
          <p:cNvPicPr>
            <a:picLocks noChangeAspect="1"/>
          </p:cNvPicPr>
          <p:nvPr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08" y="0"/>
            <a:ext cx="12186584" cy="6858000"/>
          </a:xfrm>
          <a:prstGeom prst="rect">
            <a:avLst/>
          </a:prstGeom>
        </p:spPr>
      </p:pic>
      <p:pic>
        <p:nvPicPr>
          <p:cNvPr id="9" name="Imagem 8" descr="Fundo preto com letras brancas&#10;&#10;Descrição gerada automaticamente" hidden="1">
            <a:extLst>
              <a:ext uri="{FF2B5EF4-FFF2-40B4-BE49-F238E27FC236}">
                <a16:creationId xmlns:a16="http://schemas.microsoft.com/office/drawing/2014/main" id="{D85B0A4A-CB87-4BCF-AB0D-D767845F0540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08" y="0"/>
            <a:ext cx="12186584" cy="6858000"/>
          </a:xfrm>
          <a:prstGeom prst="rect">
            <a:avLst/>
          </a:prstGeom>
        </p:spPr>
      </p:pic>
      <p:sp>
        <p:nvSpPr>
          <p:cNvPr id="4" name="MSIPCMContentMarking" descr="{&quot;HashCode&quot;:242297648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8CFE9001-BCA4-479D-AC17-3ADB20374A07}"/>
              </a:ext>
            </a:extLst>
          </p:cNvPr>
          <p:cNvSpPr txBox="1"/>
          <p:nvPr userDrawn="1"/>
        </p:nvSpPr>
        <p:spPr>
          <a:xfrm>
            <a:off x="0" y="0"/>
            <a:ext cx="773796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pt-BR" sz="1000">
                <a:solidFill>
                  <a:srgbClr val="000000"/>
                </a:solidFill>
                <a:latin typeface="Calibri" panose="020F0502020204030204" pitchFamily="34" charset="0"/>
              </a:rPr>
              <a:t>RESTRITO</a:t>
            </a:r>
          </a:p>
        </p:txBody>
      </p:sp>
      <p:sp>
        <p:nvSpPr>
          <p:cNvPr id="15" name="MSIPCMContentMarking" descr="{&quot;HashCode&quot;:266435217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0936FB92-A95D-4C60-BA62-56EE97875C78}"/>
              </a:ext>
            </a:extLst>
          </p:cNvPr>
          <p:cNvSpPr txBox="1"/>
          <p:nvPr userDrawn="1"/>
        </p:nvSpPr>
        <p:spPr>
          <a:xfrm>
            <a:off x="0" y="6595656"/>
            <a:ext cx="773796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pt-BR" sz="1000">
                <a:solidFill>
                  <a:srgbClr val="000000"/>
                </a:solidFill>
                <a:latin typeface="Calibri" panose="020F0502020204030204" pitchFamily="34" charset="0"/>
              </a:rPr>
              <a:t>RESTRITO</a:t>
            </a:r>
          </a:p>
        </p:txBody>
      </p:sp>
    </p:spTree>
    <p:extLst>
      <p:ext uri="{BB962C8B-B14F-4D97-AF65-F5344CB8AC3E}">
        <p14:creationId xmlns:p14="http://schemas.microsoft.com/office/powerpoint/2010/main" val="42622143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  <p:sldLayoutId id="2147483770" r:id="rId10"/>
    <p:sldLayoutId id="2147483771" r:id="rId11"/>
    <p:sldLayoutId id="2147483772" r:id="rId12"/>
    <p:sldLayoutId id="2147483773" r:id="rId13"/>
    <p:sldLayoutId id="2147483774" r:id="rId14"/>
    <p:sldLayoutId id="2147483775" r:id="rId15"/>
    <p:sldLayoutId id="2147483776" r:id="rId16"/>
    <p:sldLayoutId id="2147483777" r:id="rId17"/>
    <p:sldLayoutId id="2147483778" r:id="rId18"/>
    <p:sldLayoutId id="2147483779" r:id="rId19"/>
    <p:sldLayoutId id="2147483780" r:id="rId20"/>
    <p:sldLayoutId id="2147483781" r:id="rId21"/>
    <p:sldLayoutId id="2147483782" r:id="rId22"/>
    <p:sldLayoutId id="2147483783" r:id="rId23"/>
    <p:sldLayoutId id="2147483784" r:id="rId24"/>
    <p:sldLayoutId id="2147483785" r:id="rId25"/>
    <p:sldLayoutId id="2147483786" r:id="rId26"/>
    <p:sldLayoutId id="2147483823" r:id="rId27"/>
    <p:sldLayoutId id="2147483824" r:id="rId28"/>
  </p:sldLayoutIdLst>
  <p:hf hdr="0" ftr="0" dt="0"/>
  <p:txStyles>
    <p:titleStyle>
      <a:lvl1pPr algn="l" defTabSz="870875" rtl="0" eaLnBrk="1" latinLnBrk="0" hangingPunct="1">
        <a:lnSpc>
          <a:spcPct val="90000"/>
        </a:lnSpc>
        <a:spcBef>
          <a:spcPct val="0"/>
        </a:spcBef>
        <a:buNone/>
        <a:defRPr sz="2286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17719" indent="-217719" algn="l" defTabSz="870875" rtl="0" eaLnBrk="1" latinLnBrk="0" hangingPunct="1">
        <a:lnSpc>
          <a:spcPct val="130000"/>
        </a:lnSpc>
        <a:spcBef>
          <a:spcPts val="1714"/>
        </a:spcBef>
        <a:buFontTx/>
        <a:buBlip>
          <a:blip r:embed="rId32"/>
        </a:buBlip>
        <a:defRPr sz="1333" kern="1200">
          <a:solidFill>
            <a:schemeClr val="tx1"/>
          </a:solidFill>
          <a:latin typeface="+mn-lt"/>
          <a:ea typeface="+mn-ea"/>
          <a:cs typeface="+mn-cs"/>
        </a:defRPr>
      </a:lvl1pPr>
      <a:lvl2pPr marL="217719" indent="-217719" algn="l" defTabSz="870875" rtl="0" eaLnBrk="1" latinLnBrk="0" hangingPunct="1">
        <a:lnSpc>
          <a:spcPct val="90000"/>
        </a:lnSpc>
        <a:spcBef>
          <a:spcPts val="476"/>
        </a:spcBef>
        <a:buFontTx/>
        <a:buBlip>
          <a:blip r:embed="rId32"/>
        </a:buBlip>
        <a:defRPr sz="1333" kern="1200">
          <a:solidFill>
            <a:schemeClr val="tx1"/>
          </a:solidFill>
          <a:latin typeface="+mn-lt"/>
          <a:ea typeface="+mn-ea"/>
          <a:cs typeface="+mn-cs"/>
        </a:defRPr>
      </a:lvl2pPr>
      <a:lvl3pPr marL="217719" indent="-217719" algn="l" defTabSz="870875" rtl="0" eaLnBrk="1" latinLnBrk="0" hangingPunct="1">
        <a:lnSpc>
          <a:spcPct val="90000"/>
        </a:lnSpc>
        <a:spcBef>
          <a:spcPts val="476"/>
        </a:spcBef>
        <a:buFontTx/>
        <a:buBlip>
          <a:blip r:embed="rId32"/>
        </a:buBlip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217719" indent="-217719" algn="l" defTabSz="870875" rtl="0" eaLnBrk="1" latinLnBrk="0" hangingPunct="1">
        <a:lnSpc>
          <a:spcPct val="90000"/>
        </a:lnSpc>
        <a:spcBef>
          <a:spcPts val="476"/>
        </a:spcBef>
        <a:buFontTx/>
        <a:buBlip>
          <a:blip r:embed="rId32"/>
        </a:buBlip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217719" indent="-217719" algn="l" defTabSz="870875" rtl="0" eaLnBrk="1" latinLnBrk="0" hangingPunct="1">
        <a:lnSpc>
          <a:spcPct val="90000"/>
        </a:lnSpc>
        <a:spcBef>
          <a:spcPts val="476"/>
        </a:spcBef>
        <a:buFontTx/>
        <a:buBlip>
          <a:blip r:embed="rId32"/>
        </a:buBlip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2394905" indent="-217719" algn="l" defTabSz="870875" rtl="0" eaLnBrk="1" latinLnBrk="0" hangingPunct="1">
        <a:lnSpc>
          <a:spcPct val="90000"/>
        </a:lnSpc>
        <a:spcBef>
          <a:spcPts val="476"/>
        </a:spcBef>
        <a:buFont typeface="Arial" panose="020B0604020202020204" pitchFamily="34" charset="0"/>
        <a:buChar char="•"/>
        <a:defRPr sz="1714" kern="1200">
          <a:solidFill>
            <a:schemeClr val="tx1"/>
          </a:solidFill>
          <a:latin typeface="+mn-lt"/>
          <a:ea typeface="+mn-ea"/>
          <a:cs typeface="+mn-cs"/>
        </a:defRPr>
      </a:lvl6pPr>
      <a:lvl7pPr marL="2830342" indent="-217719" algn="l" defTabSz="870875" rtl="0" eaLnBrk="1" latinLnBrk="0" hangingPunct="1">
        <a:lnSpc>
          <a:spcPct val="90000"/>
        </a:lnSpc>
        <a:spcBef>
          <a:spcPts val="476"/>
        </a:spcBef>
        <a:buFont typeface="Arial" panose="020B0604020202020204" pitchFamily="34" charset="0"/>
        <a:buChar char="•"/>
        <a:defRPr sz="1714" kern="1200">
          <a:solidFill>
            <a:schemeClr val="tx1"/>
          </a:solidFill>
          <a:latin typeface="+mn-lt"/>
          <a:ea typeface="+mn-ea"/>
          <a:cs typeface="+mn-cs"/>
        </a:defRPr>
      </a:lvl7pPr>
      <a:lvl8pPr marL="3265780" indent="-217719" algn="l" defTabSz="870875" rtl="0" eaLnBrk="1" latinLnBrk="0" hangingPunct="1">
        <a:lnSpc>
          <a:spcPct val="90000"/>
        </a:lnSpc>
        <a:spcBef>
          <a:spcPts val="476"/>
        </a:spcBef>
        <a:buFont typeface="Arial" panose="020B0604020202020204" pitchFamily="34" charset="0"/>
        <a:buChar char="•"/>
        <a:defRPr sz="1714" kern="1200">
          <a:solidFill>
            <a:schemeClr val="tx1"/>
          </a:solidFill>
          <a:latin typeface="+mn-lt"/>
          <a:ea typeface="+mn-ea"/>
          <a:cs typeface="+mn-cs"/>
        </a:defRPr>
      </a:lvl8pPr>
      <a:lvl9pPr marL="3701217" indent="-217719" algn="l" defTabSz="870875" rtl="0" eaLnBrk="1" latinLnBrk="0" hangingPunct="1">
        <a:lnSpc>
          <a:spcPct val="90000"/>
        </a:lnSpc>
        <a:spcBef>
          <a:spcPts val="476"/>
        </a:spcBef>
        <a:buFont typeface="Arial" panose="020B0604020202020204" pitchFamily="34" charset="0"/>
        <a:buChar char="•"/>
        <a:defRPr sz="17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1pPr>
      <a:lvl2pPr marL="435437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2pPr>
      <a:lvl3pPr marL="870875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3pPr>
      <a:lvl4pPr marL="1306312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4pPr>
      <a:lvl5pPr marL="1741749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5pPr>
      <a:lvl6pPr marL="2177186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6pPr>
      <a:lvl7pPr marL="2612624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7pPr>
      <a:lvl8pPr marL="3048061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8pPr>
      <a:lvl9pPr marL="3483498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52193F6D-891D-43C0-83B4-ADC8749D31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165094404"/>
              </p:ext>
            </p:ext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Slide do think-cell" r:id="rId32" imgW="395" imgH="394" progId="TCLayout.ActiveDocument.1">
                  <p:embed/>
                </p:oleObj>
              </mc:Choice>
              <mc:Fallback>
                <p:oleObj name="Slide do think-cell" r:id="rId32" imgW="395" imgH="394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52193F6D-891D-43C0-83B4-ADC8749D31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 hidden="1">
            <a:extLst>
              <a:ext uri="{FF2B5EF4-FFF2-40B4-BE49-F238E27FC236}">
                <a16:creationId xmlns:a16="http://schemas.microsoft.com/office/drawing/2014/main" id="{1D3C2A61-991B-46A9-AB11-3C09C9BB7D07}"/>
              </a:ext>
            </a:extLst>
          </p:cNvPr>
          <p:cNvSpPr/>
          <p:nvPr userDrawn="1">
            <p:custDataLst>
              <p:tags r:id="rId31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BR" sz="2903" b="1" i="0" baseline="0" dirty="0">
              <a:latin typeface="Roboto"/>
              <a:ea typeface="+mj-ea"/>
              <a:cs typeface="+mj-cs"/>
              <a:sym typeface="Roboto"/>
            </a:endParaRPr>
          </a:p>
        </p:txBody>
      </p:sp>
      <p:pic>
        <p:nvPicPr>
          <p:cNvPr id="8" name="Imagem 7" descr="Fundo preto com letras brancas&#10;&#10;Descrição gerada automaticamente" hidden="1">
            <a:extLst>
              <a:ext uri="{FF2B5EF4-FFF2-40B4-BE49-F238E27FC236}">
                <a16:creationId xmlns:a16="http://schemas.microsoft.com/office/drawing/2014/main" id="{DAD1FC78-F319-4B08-AB86-5133F44D7807}"/>
              </a:ext>
            </a:extLst>
          </p:cNvPr>
          <p:cNvPicPr>
            <a:picLocks noChangeAspect="1"/>
          </p:cNvPicPr>
          <p:nvPr/>
        </p:nvPicPr>
        <p:blipFill>
          <a:blip r:embed="rId3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09" y="0"/>
            <a:ext cx="12186584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18007" y="384181"/>
            <a:ext cx="8450943" cy="47771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pt-BR" dirty="0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8007" y="1420108"/>
            <a:ext cx="10560877" cy="47978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I shall see the face of Mars, anyhow, and that will be a rare experience. It seems to me that a view of the heavenly bodies through a fine telescope, as well as a tour round the world, should form a part of a liberal education.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78886" y="6587490"/>
            <a:ext cx="556697" cy="270510"/>
          </a:xfrm>
          <a:prstGeom prst="rect">
            <a:avLst/>
          </a:prstGeom>
        </p:spPr>
        <p:txBody>
          <a:bodyPr vert="horz" lIns="0" tIns="0" rIns="0" bIns="0" rtlCol="0" anchor="ctr" anchorCtr="1"/>
          <a:lstStyle>
            <a:lvl1pPr algn="r">
              <a:defRPr sz="1270" b="1">
                <a:solidFill>
                  <a:schemeClr val="bg1"/>
                </a:solidFill>
              </a:defRPr>
            </a:lvl1pPr>
          </a:lstStyle>
          <a:p>
            <a:fld id="{97C83533-BF64-4BD4-B66F-F63D08579F68}" type="slidenum">
              <a:rPr lang="pt-BR" smtClean="0"/>
              <a:pPr/>
              <a:t>‹nº›</a:t>
            </a:fld>
            <a:endParaRPr lang="pt-BR" dirty="0"/>
          </a:p>
        </p:txBody>
      </p:sp>
      <p:pic>
        <p:nvPicPr>
          <p:cNvPr id="7" name="Imagem 6" descr="Fundo preto com letras brancas&#10;&#10;Descrição gerada automaticamente" hidden="1">
            <a:extLst>
              <a:ext uri="{FF2B5EF4-FFF2-40B4-BE49-F238E27FC236}">
                <a16:creationId xmlns:a16="http://schemas.microsoft.com/office/drawing/2014/main" id="{D2FD2D33-6F1B-463B-8D6F-C025764E7D98}"/>
              </a:ext>
            </a:extLst>
          </p:cNvPr>
          <p:cNvPicPr>
            <a:picLocks noChangeAspect="1"/>
          </p:cNvPicPr>
          <p:nvPr/>
        </p:nvPicPr>
        <p:blipFill>
          <a:blip r:embed="rId3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08" y="0"/>
            <a:ext cx="12186584" cy="6858000"/>
          </a:xfrm>
          <a:prstGeom prst="rect">
            <a:avLst/>
          </a:prstGeom>
        </p:spPr>
      </p:pic>
      <p:pic>
        <p:nvPicPr>
          <p:cNvPr id="9" name="Imagem 8" descr="Fundo preto com letras brancas&#10;&#10;Descrição gerada automaticamente" hidden="1">
            <a:extLst>
              <a:ext uri="{FF2B5EF4-FFF2-40B4-BE49-F238E27FC236}">
                <a16:creationId xmlns:a16="http://schemas.microsoft.com/office/drawing/2014/main" id="{D85B0A4A-CB87-4BCF-AB0D-D767845F0540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08" y="0"/>
            <a:ext cx="12186584" cy="6858000"/>
          </a:xfrm>
          <a:prstGeom prst="rect">
            <a:avLst/>
          </a:prstGeom>
        </p:spPr>
      </p:pic>
      <p:sp>
        <p:nvSpPr>
          <p:cNvPr id="10" name="MSIPCMContentMarking" descr="{&quot;HashCode&quot;:242297648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535D0A5F-7794-4F2A-8AF3-7E4BD39A144F}"/>
              </a:ext>
            </a:extLst>
          </p:cNvPr>
          <p:cNvSpPr txBox="1"/>
          <p:nvPr userDrawn="1"/>
        </p:nvSpPr>
        <p:spPr>
          <a:xfrm>
            <a:off x="0" y="0"/>
            <a:ext cx="773796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pt-BR" sz="1000">
                <a:solidFill>
                  <a:srgbClr val="000000"/>
                </a:solidFill>
                <a:latin typeface="Calibri" panose="020F0502020204030204" pitchFamily="34" charset="0"/>
              </a:rPr>
              <a:t>RESTRITO</a:t>
            </a:r>
          </a:p>
        </p:txBody>
      </p:sp>
      <p:sp>
        <p:nvSpPr>
          <p:cNvPr id="18" name="MSIPCMContentMarking" descr="{&quot;HashCode&quot;:266435217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8AD48C79-990E-4003-BA50-7B5704777560}"/>
              </a:ext>
            </a:extLst>
          </p:cNvPr>
          <p:cNvSpPr txBox="1"/>
          <p:nvPr userDrawn="1"/>
        </p:nvSpPr>
        <p:spPr>
          <a:xfrm>
            <a:off x="0" y="6595656"/>
            <a:ext cx="773796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pt-BR" sz="1000">
                <a:solidFill>
                  <a:srgbClr val="000000"/>
                </a:solidFill>
                <a:latin typeface="Calibri" panose="020F0502020204030204" pitchFamily="34" charset="0"/>
              </a:rPr>
              <a:t>RESTRITO</a:t>
            </a:r>
          </a:p>
        </p:txBody>
      </p:sp>
    </p:spTree>
    <p:extLst>
      <p:ext uri="{BB962C8B-B14F-4D97-AF65-F5344CB8AC3E}">
        <p14:creationId xmlns:p14="http://schemas.microsoft.com/office/powerpoint/2010/main" val="1782285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  <p:sldLayoutId id="2147483795" r:id="rId4"/>
    <p:sldLayoutId id="2147483796" r:id="rId5"/>
    <p:sldLayoutId id="2147483797" r:id="rId6"/>
    <p:sldLayoutId id="2147483798" r:id="rId7"/>
    <p:sldLayoutId id="2147483799" r:id="rId8"/>
    <p:sldLayoutId id="2147483800" r:id="rId9"/>
    <p:sldLayoutId id="2147483801" r:id="rId10"/>
    <p:sldLayoutId id="2147483802" r:id="rId11"/>
    <p:sldLayoutId id="2147483803" r:id="rId12"/>
    <p:sldLayoutId id="2147483804" r:id="rId13"/>
    <p:sldLayoutId id="2147483805" r:id="rId14"/>
    <p:sldLayoutId id="2147483806" r:id="rId15"/>
    <p:sldLayoutId id="2147483807" r:id="rId16"/>
    <p:sldLayoutId id="2147483808" r:id="rId17"/>
    <p:sldLayoutId id="2147483809" r:id="rId18"/>
    <p:sldLayoutId id="2147483810" r:id="rId19"/>
    <p:sldLayoutId id="2147483811" r:id="rId20"/>
    <p:sldLayoutId id="2147483812" r:id="rId21"/>
    <p:sldLayoutId id="2147483813" r:id="rId22"/>
    <p:sldLayoutId id="2147483814" r:id="rId23"/>
    <p:sldLayoutId id="2147483815" r:id="rId24"/>
    <p:sldLayoutId id="2147483816" r:id="rId25"/>
    <p:sldLayoutId id="2147483817" r:id="rId26"/>
    <p:sldLayoutId id="2147483818" r:id="rId27"/>
  </p:sldLayoutIdLst>
  <p:hf hdr="0" ftr="0" dt="0"/>
  <p:txStyles>
    <p:titleStyle>
      <a:lvl1pPr algn="l" defTabSz="1105837" rtl="0" eaLnBrk="1" latinLnBrk="0" hangingPunct="1">
        <a:lnSpc>
          <a:spcPct val="90000"/>
        </a:lnSpc>
        <a:spcBef>
          <a:spcPct val="0"/>
        </a:spcBef>
        <a:buNone/>
        <a:defRPr sz="2903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76460" indent="-276460" algn="l" defTabSz="1105837" rtl="0" eaLnBrk="1" latinLnBrk="0" hangingPunct="1">
        <a:lnSpc>
          <a:spcPct val="130000"/>
        </a:lnSpc>
        <a:spcBef>
          <a:spcPts val="2176"/>
        </a:spcBef>
        <a:buFontTx/>
        <a:buBlip>
          <a:blip r:embed="rId35"/>
        </a:buBlip>
        <a:defRPr sz="1693" kern="1200">
          <a:solidFill>
            <a:schemeClr val="tx1"/>
          </a:solidFill>
          <a:latin typeface="+mn-lt"/>
          <a:ea typeface="+mn-ea"/>
          <a:cs typeface="+mn-cs"/>
        </a:defRPr>
      </a:lvl1pPr>
      <a:lvl2pPr marL="276460" indent="-276460" algn="l" defTabSz="1105837" rtl="0" eaLnBrk="1" latinLnBrk="0" hangingPunct="1">
        <a:lnSpc>
          <a:spcPct val="90000"/>
        </a:lnSpc>
        <a:spcBef>
          <a:spcPts val="604"/>
        </a:spcBef>
        <a:buFontTx/>
        <a:buBlip>
          <a:blip r:embed="rId35"/>
        </a:buBlip>
        <a:defRPr sz="1693" kern="1200">
          <a:solidFill>
            <a:schemeClr val="tx1"/>
          </a:solidFill>
          <a:latin typeface="+mn-lt"/>
          <a:ea typeface="+mn-ea"/>
          <a:cs typeface="+mn-cs"/>
        </a:defRPr>
      </a:lvl2pPr>
      <a:lvl3pPr marL="276460" indent="-276460" algn="l" defTabSz="1105837" rtl="0" eaLnBrk="1" latinLnBrk="0" hangingPunct="1">
        <a:lnSpc>
          <a:spcPct val="90000"/>
        </a:lnSpc>
        <a:spcBef>
          <a:spcPts val="604"/>
        </a:spcBef>
        <a:buFontTx/>
        <a:buBlip>
          <a:blip r:embed="rId35"/>
        </a:buBlip>
        <a:defRPr sz="1693" kern="1200">
          <a:solidFill>
            <a:schemeClr val="tx1"/>
          </a:solidFill>
          <a:latin typeface="+mn-lt"/>
          <a:ea typeface="+mn-ea"/>
          <a:cs typeface="+mn-cs"/>
        </a:defRPr>
      </a:lvl3pPr>
      <a:lvl4pPr marL="276460" indent="-276460" algn="l" defTabSz="1105837" rtl="0" eaLnBrk="1" latinLnBrk="0" hangingPunct="1">
        <a:lnSpc>
          <a:spcPct val="90000"/>
        </a:lnSpc>
        <a:spcBef>
          <a:spcPts val="604"/>
        </a:spcBef>
        <a:buFontTx/>
        <a:buBlip>
          <a:blip r:embed="rId35"/>
        </a:buBlip>
        <a:defRPr sz="1693" kern="1200">
          <a:solidFill>
            <a:schemeClr val="tx1"/>
          </a:solidFill>
          <a:latin typeface="+mn-lt"/>
          <a:ea typeface="+mn-ea"/>
          <a:cs typeface="+mn-cs"/>
        </a:defRPr>
      </a:lvl4pPr>
      <a:lvl5pPr marL="276460" indent="-276460" algn="l" defTabSz="1105837" rtl="0" eaLnBrk="1" latinLnBrk="0" hangingPunct="1">
        <a:lnSpc>
          <a:spcPct val="90000"/>
        </a:lnSpc>
        <a:spcBef>
          <a:spcPts val="604"/>
        </a:spcBef>
        <a:buFontTx/>
        <a:buBlip>
          <a:blip r:embed="rId35"/>
        </a:buBlip>
        <a:defRPr sz="1693" kern="1200">
          <a:solidFill>
            <a:schemeClr val="tx1"/>
          </a:solidFill>
          <a:latin typeface="+mn-lt"/>
          <a:ea typeface="+mn-ea"/>
          <a:cs typeface="+mn-cs"/>
        </a:defRPr>
      </a:lvl5pPr>
      <a:lvl6pPr marL="3041050" indent="-276460" algn="l" defTabSz="1105837" rtl="0" eaLnBrk="1" latinLnBrk="0" hangingPunct="1">
        <a:lnSpc>
          <a:spcPct val="90000"/>
        </a:lnSpc>
        <a:spcBef>
          <a:spcPts val="604"/>
        </a:spcBef>
        <a:buFont typeface="Arial" panose="020B0604020202020204" pitchFamily="34" charset="0"/>
        <a:buChar char="•"/>
        <a:defRPr sz="2176" kern="1200">
          <a:solidFill>
            <a:schemeClr val="tx1"/>
          </a:solidFill>
          <a:latin typeface="+mn-lt"/>
          <a:ea typeface="+mn-ea"/>
          <a:cs typeface="+mn-cs"/>
        </a:defRPr>
      </a:lvl6pPr>
      <a:lvl7pPr marL="3593968" indent="-276460" algn="l" defTabSz="1105837" rtl="0" eaLnBrk="1" latinLnBrk="0" hangingPunct="1">
        <a:lnSpc>
          <a:spcPct val="90000"/>
        </a:lnSpc>
        <a:spcBef>
          <a:spcPts val="604"/>
        </a:spcBef>
        <a:buFont typeface="Arial" panose="020B0604020202020204" pitchFamily="34" charset="0"/>
        <a:buChar char="•"/>
        <a:defRPr sz="2176" kern="1200">
          <a:solidFill>
            <a:schemeClr val="tx1"/>
          </a:solidFill>
          <a:latin typeface="+mn-lt"/>
          <a:ea typeface="+mn-ea"/>
          <a:cs typeface="+mn-cs"/>
        </a:defRPr>
      </a:lvl7pPr>
      <a:lvl8pPr marL="4146887" indent="-276460" algn="l" defTabSz="1105837" rtl="0" eaLnBrk="1" latinLnBrk="0" hangingPunct="1">
        <a:lnSpc>
          <a:spcPct val="90000"/>
        </a:lnSpc>
        <a:spcBef>
          <a:spcPts val="604"/>
        </a:spcBef>
        <a:buFont typeface="Arial" panose="020B0604020202020204" pitchFamily="34" charset="0"/>
        <a:buChar char="•"/>
        <a:defRPr sz="2176" kern="1200">
          <a:solidFill>
            <a:schemeClr val="tx1"/>
          </a:solidFill>
          <a:latin typeface="+mn-lt"/>
          <a:ea typeface="+mn-ea"/>
          <a:cs typeface="+mn-cs"/>
        </a:defRPr>
      </a:lvl8pPr>
      <a:lvl9pPr marL="4699805" indent="-276460" algn="l" defTabSz="1105837" rtl="0" eaLnBrk="1" latinLnBrk="0" hangingPunct="1">
        <a:lnSpc>
          <a:spcPct val="90000"/>
        </a:lnSpc>
        <a:spcBef>
          <a:spcPts val="604"/>
        </a:spcBef>
        <a:buFont typeface="Arial" panose="020B0604020202020204" pitchFamily="34" charset="0"/>
        <a:buChar char="•"/>
        <a:defRPr sz="217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05837" rtl="0" eaLnBrk="1" latinLnBrk="0" hangingPunct="1">
        <a:defRPr sz="2176" kern="1200">
          <a:solidFill>
            <a:schemeClr val="tx1"/>
          </a:solidFill>
          <a:latin typeface="+mn-lt"/>
          <a:ea typeface="+mn-ea"/>
          <a:cs typeface="+mn-cs"/>
        </a:defRPr>
      </a:lvl1pPr>
      <a:lvl2pPr marL="552918" algn="l" defTabSz="1105837" rtl="0" eaLnBrk="1" latinLnBrk="0" hangingPunct="1">
        <a:defRPr sz="2176" kern="1200">
          <a:solidFill>
            <a:schemeClr val="tx1"/>
          </a:solidFill>
          <a:latin typeface="+mn-lt"/>
          <a:ea typeface="+mn-ea"/>
          <a:cs typeface="+mn-cs"/>
        </a:defRPr>
      </a:lvl2pPr>
      <a:lvl3pPr marL="1105837" algn="l" defTabSz="1105837" rtl="0" eaLnBrk="1" latinLnBrk="0" hangingPunct="1">
        <a:defRPr sz="2176" kern="1200">
          <a:solidFill>
            <a:schemeClr val="tx1"/>
          </a:solidFill>
          <a:latin typeface="+mn-lt"/>
          <a:ea typeface="+mn-ea"/>
          <a:cs typeface="+mn-cs"/>
        </a:defRPr>
      </a:lvl3pPr>
      <a:lvl4pPr marL="1658755" algn="l" defTabSz="1105837" rtl="0" eaLnBrk="1" latinLnBrk="0" hangingPunct="1">
        <a:defRPr sz="2176" kern="1200">
          <a:solidFill>
            <a:schemeClr val="tx1"/>
          </a:solidFill>
          <a:latin typeface="+mn-lt"/>
          <a:ea typeface="+mn-ea"/>
          <a:cs typeface="+mn-cs"/>
        </a:defRPr>
      </a:lvl4pPr>
      <a:lvl5pPr marL="2211673" algn="l" defTabSz="1105837" rtl="0" eaLnBrk="1" latinLnBrk="0" hangingPunct="1">
        <a:defRPr sz="2176" kern="1200">
          <a:solidFill>
            <a:schemeClr val="tx1"/>
          </a:solidFill>
          <a:latin typeface="+mn-lt"/>
          <a:ea typeface="+mn-ea"/>
          <a:cs typeface="+mn-cs"/>
        </a:defRPr>
      </a:lvl5pPr>
      <a:lvl6pPr marL="2764591" algn="l" defTabSz="1105837" rtl="0" eaLnBrk="1" latinLnBrk="0" hangingPunct="1">
        <a:defRPr sz="2176" kern="1200">
          <a:solidFill>
            <a:schemeClr val="tx1"/>
          </a:solidFill>
          <a:latin typeface="+mn-lt"/>
          <a:ea typeface="+mn-ea"/>
          <a:cs typeface="+mn-cs"/>
        </a:defRPr>
      </a:lvl6pPr>
      <a:lvl7pPr marL="3317510" algn="l" defTabSz="1105837" rtl="0" eaLnBrk="1" latinLnBrk="0" hangingPunct="1">
        <a:defRPr sz="2176" kern="1200">
          <a:solidFill>
            <a:schemeClr val="tx1"/>
          </a:solidFill>
          <a:latin typeface="+mn-lt"/>
          <a:ea typeface="+mn-ea"/>
          <a:cs typeface="+mn-cs"/>
        </a:defRPr>
      </a:lvl7pPr>
      <a:lvl8pPr marL="3870428" algn="l" defTabSz="1105837" rtl="0" eaLnBrk="1" latinLnBrk="0" hangingPunct="1">
        <a:defRPr sz="2176" kern="1200">
          <a:solidFill>
            <a:schemeClr val="tx1"/>
          </a:solidFill>
          <a:latin typeface="+mn-lt"/>
          <a:ea typeface="+mn-ea"/>
          <a:cs typeface="+mn-cs"/>
        </a:defRPr>
      </a:lvl8pPr>
      <a:lvl9pPr marL="4423346" algn="l" defTabSz="1105837" rtl="0" eaLnBrk="1" latinLnBrk="0" hangingPunct="1">
        <a:defRPr sz="217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SIPCMContentMarking" descr="{&quot;HashCode&quot;:242297648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2CDC6AC1-CC21-4821-B2C7-DAA084105E38}"/>
              </a:ext>
            </a:extLst>
          </p:cNvPr>
          <p:cNvSpPr txBox="1"/>
          <p:nvPr userDrawn="1"/>
        </p:nvSpPr>
        <p:spPr>
          <a:xfrm>
            <a:off x="0" y="0"/>
            <a:ext cx="773796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pt-BR" sz="1000">
                <a:solidFill>
                  <a:srgbClr val="000000"/>
                </a:solidFill>
                <a:latin typeface="Calibri" panose="020F0502020204030204" pitchFamily="34" charset="0"/>
              </a:rPr>
              <a:t>RESTRITO</a:t>
            </a:r>
          </a:p>
        </p:txBody>
      </p:sp>
      <p:sp>
        <p:nvSpPr>
          <p:cNvPr id="2" name="MSIPCMContentMarking" descr="{&quot;HashCode&quot;:266435217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8C57B667-1817-427D-A183-83D02F452692}"/>
              </a:ext>
            </a:extLst>
          </p:cNvPr>
          <p:cNvSpPr txBox="1"/>
          <p:nvPr userDrawn="1"/>
        </p:nvSpPr>
        <p:spPr>
          <a:xfrm>
            <a:off x="0" y="6595656"/>
            <a:ext cx="773796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pt-BR" sz="1000">
                <a:solidFill>
                  <a:srgbClr val="000000"/>
                </a:solidFill>
                <a:latin typeface="Calibri" panose="020F0502020204030204" pitchFamily="34" charset="0"/>
              </a:rPr>
              <a:t>RESTRITO</a:t>
            </a:r>
          </a:p>
        </p:txBody>
      </p:sp>
    </p:spTree>
    <p:extLst>
      <p:ext uri="{BB962C8B-B14F-4D97-AF65-F5344CB8AC3E}">
        <p14:creationId xmlns:p14="http://schemas.microsoft.com/office/powerpoint/2010/main" val="3339956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2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4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4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sv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5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4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4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4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4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5">
            <a:extLst>
              <a:ext uri="{FF2B5EF4-FFF2-40B4-BE49-F238E27FC236}">
                <a16:creationId xmlns:a16="http://schemas.microsoft.com/office/drawing/2014/main" id="{CCF3633E-F981-48AC-B448-E8D3727CFD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8125" y="2956955"/>
            <a:ext cx="6397088" cy="623018"/>
          </a:xfrm>
        </p:spPr>
        <p:txBody>
          <a:bodyPr>
            <a:normAutofit/>
          </a:bodyPr>
          <a:lstStyle/>
          <a:p>
            <a:r>
              <a:rPr lang="pt-BR" dirty="0"/>
              <a:t>Ciência de dados - Crédito</a:t>
            </a:r>
          </a:p>
        </p:txBody>
      </p:sp>
      <p:sp>
        <p:nvSpPr>
          <p:cNvPr id="13" name="Espaço Reservado para Texto 12">
            <a:extLst>
              <a:ext uri="{FF2B5EF4-FFF2-40B4-BE49-F238E27FC236}">
                <a16:creationId xmlns:a16="http://schemas.microsoft.com/office/drawing/2014/main" id="{9C7E8195-1C3D-4CCA-9D23-573156CD360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88125" y="3586535"/>
            <a:ext cx="2643378" cy="319088"/>
          </a:xfrm>
        </p:spPr>
        <p:txBody>
          <a:bodyPr/>
          <a:lstStyle/>
          <a:p>
            <a:r>
              <a:rPr lang="pt-BR" b="0" dirty="0">
                <a:solidFill>
                  <a:schemeClr val="accent1"/>
                </a:solidFill>
              </a:rPr>
              <a:t>Modelo rápido inad30</a:t>
            </a:r>
          </a:p>
        </p:txBody>
      </p:sp>
    </p:spTree>
    <p:extLst>
      <p:ext uri="{BB962C8B-B14F-4D97-AF65-F5344CB8AC3E}">
        <p14:creationId xmlns:p14="http://schemas.microsoft.com/office/powerpoint/2010/main" val="29520871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ítulo 1">
            <a:extLst>
              <a:ext uri="{FF2B5EF4-FFF2-40B4-BE49-F238E27FC236}">
                <a16:creationId xmlns:a16="http://schemas.microsoft.com/office/drawing/2014/main" id="{87197490-AAFA-412C-8D93-A9D9E6B219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4072" y="411074"/>
            <a:ext cx="8355467" cy="433388"/>
          </a:xfrm>
        </p:spPr>
        <p:txBody>
          <a:bodyPr>
            <a:normAutofit/>
          </a:bodyPr>
          <a:lstStyle/>
          <a:p>
            <a:r>
              <a:rPr lang="pt-BR" sz="2600" dirty="0"/>
              <a:t>Modelo rápido | Restrito</a:t>
            </a:r>
          </a:p>
        </p:txBody>
      </p:sp>
      <p:cxnSp>
        <p:nvCxnSpPr>
          <p:cNvPr id="4" name="Conector reto 3">
            <a:extLst>
              <a:ext uri="{FF2B5EF4-FFF2-40B4-BE49-F238E27FC236}">
                <a16:creationId xmlns:a16="http://schemas.microsoft.com/office/drawing/2014/main" id="{2F9844B0-B10F-4F8D-8F97-77F0F4A0458D}"/>
              </a:ext>
            </a:extLst>
          </p:cNvPr>
          <p:cNvCxnSpPr>
            <a:cxnSpLocks/>
          </p:cNvCxnSpPr>
          <p:nvPr/>
        </p:nvCxnSpPr>
        <p:spPr>
          <a:xfrm>
            <a:off x="1313447" y="1287379"/>
            <a:ext cx="24556" cy="4850082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0" name="Conector reto 19">
            <a:extLst>
              <a:ext uri="{FF2B5EF4-FFF2-40B4-BE49-F238E27FC236}">
                <a16:creationId xmlns:a16="http://schemas.microsoft.com/office/drawing/2014/main" id="{3544E355-2888-4340-B86D-9D5F0E820CB5}"/>
              </a:ext>
            </a:extLst>
          </p:cNvPr>
          <p:cNvCxnSpPr>
            <a:cxnSpLocks/>
          </p:cNvCxnSpPr>
          <p:nvPr/>
        </p:nvCxnSpPr>
        <p:spPr>
          <a:xfrm>
            <a:off x="3545305" y="1287379"/>
            <a:ext cx="0" cy="4850082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5" name="CaixaDeTexto 4">
            <a:extLst>
              <a:ext uri="{FF2B5EF4-FFF2-40B4-BE49-F238E27FC236}">
                <a16:creationId xmlns:a16="http://schemas.microsoft.com/office/drawing/2014/main" id="{160B1AA0-2B8D-40DA-A4EF-846849FAF75B}"/>
              </a:ext>
            </a:extLst>
          </p:cNvPr>
          <p:cNvSpPr txBox="1"/>
          <p:nvPr/>
        </p:nvSpPr>
        <p:spPr>
          <a:xfrm>
            <a:off x="1724527" y="1100372"/>
            <a:ext cx="1215188" cy="33855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sz="1600" b="1" dirty="0"/>
              <a:t>Variáveis</a:t>
            </a:r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FA1361F6-5D77-4B2F-BB1D-5C831DAF39CE}"/>
              </a:ext>
            </a:extLst>
          </p:cNvPr>
          <p:cNvSpPr txBox="1"/>
          <p:nvPr/>
        </p:nvSpPr>
        <p:spPr>
          <a:xfrm>
            <a:off x="3765885" y="1118102"/>
            <a:ext cx="1215188" cy="33855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sz="1600" b="1" dirty="0"/>
              <a:t>Técnica</a:t>
            </a:r>
          </a:p>
        </p:txBody>
      </p:sp>
      <p:sp>
        <p:nvSpPr>
          <p:cNvPr id="27" name="CaixaDeTexto 26">
            <a:extLst>
              <a:ext uri="{FF2B5EF4-FFF2-40B4-BE49-F238E27FC236}">
                <a16:creationId xmlns:a16="http://schemas.microsoft.com/office/drawing/2014/main" id="{B4D7E414-F92A-46B2-8C20-F3C824C5D38D}"/>
              </a:ext>
            </a:extLst>
          </p:cNvPr>
          <p:cNvSpPr txBox="1"/>
          <p:nvPr/>
        </p:nvSpPr>
        <p:spPr>
          <a:xfrm>
            <a:off x="5414210" y="1100372"/>
            <a:ext cx="1215188" cy="33855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sz="1600" b="1" dirty="0"/>
              <a:t>KS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70B17529-87C9-4A5C-AF01-AA9EDFE30754}"/>
              </a:ext>
            </a:extLst>
          </p:cNvPr>
          <p:cNvSpPr txBox="1"/>
          <p:nvPr/>
        </p:nvSpPr>
        <p:spPr>
          <a:xfrm>
            <a:off x="86234" y="1702340"/>
            <a:ext cx="13234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/>
              <a:t>Modelo 1</a:t>
            </a:r>
          </a:p>
        </p:txBody>
      </p:sp>
      <p:sp>
        <p:nvSpPr>
          <p:cNvPr id="31" name="CaixaDeTexto 30">
            <a:extLst>
              <a:ext uri="{FF2B5EF4-FFF2-40B4-BE49-F238E27FC236}">
                <a16:creationId xmlns:a16="http://schemas.microsoft.com/office/drawing/2014/main" id="{62276322-A808-4421-B52E-3E996B3B0F99}"/>
              </a:ext>
            </a:extLst>
          </p:cNvPr>
          <p:cNvSpPr txBox="1"/>
          <p:nvPr/>
        </p:nvSpPr>
        <p:spPr>
          <a:xfrm>
            <a:off x="64960" y="2615761"/>
            <a:ext cx="13234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/>
              <a:t>Modelo 2</a:t>
            </a:r>
          </a:p>
        </p:txBody>
      </p: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8691A8D4-4C82-4495-B015-7A17C9F47DBD}"/>
              </a:ext>
            </a:extLst>
          </p:cNvPr>
          <p:cNvSpPr txBox="1"/>
          <p:nvPr/>
        </p:nvSpPr>
        <p:spPr>
          <a:xfrm>
            <a:off x="64960" y="3414215"/>
            <a:ext cx="13234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/>
              <a:t>Modelo 3</a:t>
            </a:r>
          </a:p>
        </p:txBody>
      </p:sp>
      <p:cxnSp>
        <p:nvCxnSpPr>
          <p:cNvPr id="38" name="Conector reto 37">
            <a:extLst>
              <a:ext uri="{FF2B5EF4-FFF2-40B4-BE49-F238E27FC236}">
                <a16:creationId xmlns:a16="http://schemas.microsoft.com/office/drawing/2014/main" id="{26DEED0A-BCC0-4DCC-A465-0876C1866F89}"/>
              </a:ext>
            </a:extLst>
          </p:cNvPr>
          <p:cNvCxnSpPr>
            <a:cxnSpLocks/>
          </p:cNvCxnSpPr>
          <p:nvPr/>
        </p:nvCxnSpPr>
        <p:spPr>
          <a:xfrm>
            <a:off x="5141494" y="1297070"/>
            <a:ext cx="0" cy="4840391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9" name="Conector reto 38">
            <a:extLst>
              <a:ext uri="{FF2B5EF4-FFF2-40B4-BE49-F238E27FC236}">
                <a16:creationId xmlns:a16="http://schemas.microsoft.com/office/drawing/2014/main" id="{80E31835-C96A-4240-83FE-C291C4E273AA}"/>
              </a:ext>
            </a:extLst>
          </p:cNvPr>
          <p:cNvCxnSpPr>
            <a:cxnSpLocks/>
          </p:cNvCxnSpPr>
          <p:nvPr/>
        </p:nvCxnSpPr>
        <p:spPr>
          <a:xfrm>
            <a:off x="6825916" y="1269649"/>
            <a:ext cx="86692" cy="4857173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7E4615EA-591C-475C-8655-C6CBD5098CD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B06766-DC36-4174-9907-BEF22DE810EF}" type="slidenum">
              <a:rPr lang="pt-BR" smtClean="0"/>
              <a:pPr/>
              <a:t>10</a:t>
            </a:fld>
            <a:r>
              <a:rPr lang="pt-BR"/>
              <a:t> </a:t>
            </a:r>
            <a:endParaRPr lang="pt-BR" dirty="0"/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1463C822-C1E1-45D0-9F94-00BF4C58E8AC}"/>
              </a:ext>
            </a:extLst>
          </p:cNvPr>
          <p:cNvSpPr txBox="1"/>
          <p:nvPr/>
        </p:nvSpPr>
        <p:spPr>
          <a:xfrm>
            <a:off x="3705713" y="1708698"/>
            <a:ext cx="12202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err="1"/>
              <a:t>AdaBoost</a:t>
            </a:r>
            <a:endParaRPr lang="pt-BR" dirty="0"/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id="{AF49949F-0E36-483A-90B2-73CD75156A8C}"/>
              </a:ext>
            </a:extLst>
          </p:cNvPr>
          <p:cNvSpPr txBox="1"/>
          <p:nvPr/>
        </p:nvSpPr>
        <p:spPr>
          <a:xfrm>
            <a:off x="3687213" y="2510104"/>
            <a:ext cx="12378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err="1"/>
              <a:t>LightGBM</a:t>
            </a:r>
            <a:endParaRPr lang="pt-BR" dirty="0"/>
          </a:p>
        </p:txBody>
      </p:sp>
      <p:sp>
        <p:nvSpPr>
          <p:cNvPr id="24" name="CaixaDeTexto 23">
            <a:extLst>
              <a:ext uri="{FF2B5EF4-FFF2-40B4-BE49-F238E27FC236}">
                <a16:creationId xmlns:a16="http://schemas.microsoft.com/office/drawing/2014/main" id="{8CDF7F35-9591-4B08-B7DE-13F87E4EBDA6}"/>
              </a:ext>
            </a:extLst>
          </p:cNvPr>
          <p:cNvSpPr txBox="1"/>
          <p:nvPr/>
        </p:nvSpPr>
        <p:spPr>
          <a:xfrm>
            <a:off x="3688841" y="3269542"/>
            <a:ext cx="138095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err="1"/>
              <a:t>Random</a:t>
            </a:r>
            <a:r>
              <a:rPr lang="pt-BR" dirty="0"/>
              <a:t> Forest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D3F7C541-30EF-4230-9536-488399E63022}"/>
              </a:ext>
            </a:extLst>
          </p:cNvPr>
          <p:cNvSpPr txBox="1"/>
          <p:nvPr/>
        </p:nvSpPr>
        <p:spPr>
          <a:xfrm>
            <a:off x="1338003" y="1576008"/>
            <a:ext cx="213560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 err="1"/>
              <a:t>WoE_score_ajust</a:t>
            </a:r>
            <a:r>
              <a:rPr lang="pt-BR" sz="1100" dirty="0"/>
              <a:t>, WoE_PF_CP_VOL04_PF,</a:t>
            </a:r>
          </a:p>
          <a:p>
            <a:r>
              <a:rPr lang="pt-BR" sz="1100" dirty="0"/>
              <a:t>P4_BVS, QuodScore_v2, SCORE_HSPN</a:t>
            </a:r>
          </a:p>
        </p:txBody>
      </p:sp>
      <p:sp>
        <p:nvSpPr>
          <p:cNvPr id="32" name="CaixaDeTexto 31">
            <a:extLst>
              <a:ext uri="{FF2B5EF4-FFF2-40B4-BE49-F238E27FC236}">
                <a16:creationId xmlns:a16="http://schemas.microsoft.com/office/drawing/2014/main" id="{8D2F52CF-786D-45A7-93C9-3EBEC4F050A3}"/>
              </a:ext>
            </a:extLst>
          </p:cNvPr>
          <p:cNvSpPr txBox="1"/>
          <p:nvPr/>
        </p:nvSpPr>
        <p:spPr>
          <a:xfrm>
            <a:off x="1329491" y="2443495"/>
            <a:ext cx="213560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 err="1"/>
              <a:t>WoE_score_ajust</a:t>
            </a:r>
            <a:r>
              <a:rPr lang="pt-BR" sz="1100" dirty="0"/>
              <a:t>, WoE_PF_CP_VOL04_PF,</a:t>
            </a:r>
          </a:p>
          <a:p>
            <a:r>
              <a:rPr lang="pt-BR" sz="1100" dirty="0"/>
              <a:t>P4_BVS, QuodScore_v2, SCORE_HSPN</a:t>
            </a:r>
          </a:p>
        </p:txBody>
      </p:sp>
      <p:sp>
        <p:nvSpPr>
          <p:cNvPr id="33" name="CaixaDeTexto 32">
            <a:extLst>
              <a:ext uri="{FF2B5EF4-FFF2-40B4-BE49-F238E27FC236}">
                <a16:creationId xmlns:a16="http://schemas.microsoft.com/office/drawing/2014/main" id="{DE7EFCB6-C083-481E-AEAA-93646E138578}"/>
              </a:ext>
            </a:extLst>
          </p:cNvPr>
          <p:cNvSpPr txBox="1"/>
          <p:nvPr/>
        </p:nvSpPr>
        <p:spPr>
          <a:xfrm>
            <a:off x="5563457" y="1720995"/>
            <a:ext cx="84049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/>
              <a:t>28.94</a:t>
            </a:r>
          </a:p>
        </p:txBody>
      </p:sp>
      <p:sp>
        <p:nvSpPr>
          <p:cNvPr id="41" name="CaixaDeTexto 40">
            <a:extLst>
              <a:ext uri="{FF2B5EF4-FFF2-40B4-BE49-F238E27FC236}">
                <a16:creationId xmlns:a16="http://schemas.microsoft.com/office/drawing/2014/main" id="{56A64052-1709-4C99-ACA0-60ACF8E21514}"/>
              </a:ext>
            </a:extLst>
          </p:cNvPr>
          <p:cNvSpPr txBox="1"/>
          <p:nvPr/>
        </p:nvSpPr>
        <p:spPr>
          <a:xfrm>
            <a:off x="5590138" y="2510104"/>
            <a:ext cx="85834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/>
              <a:t>30.64</a:t>
            </a:r>
          </a:p>
        </p:txBody>
      </p:sp>
      <p:sp>
        <p:nvSpPr>
          <p:cNvPr id="45" name="CaixaDeTexto 44">
            <a:extLst>
              <a:ext uri="{FF2B5EF4-FFF2-40B4-BE49-F238E27FC236}">
                <a16:creationId xmlns:a16="http://schemas.microsoft.com/office/drawing/2014/main" id="{7C1A4A09-9C97-4243-9E2F-8154F659651E}"/>
              </a:ext>
            </a:extLst>
          </p:cNvPr>
          <p:cNvSpPr txBox="1"/>
          <p:nvPr/>
        </p:nvSpPr>
        <p:spPr>
          <a:xfrm>
            <a:off x="5610861" y="3332252"/>
            <a:ext cx="85834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/>
              <a:t>30.79</a:t>
            </a:r>
          </a:p>
        </p:txBody>
      </p:sp>
      <p:sp>
        <p:nvSpPr>
          <p:cNvPr id="62" name="CaixaDeTexto 61">
            <a:extLst>
              <a:ext uri="{FF2B5EF4-FFF2-40B4-BE49-F238E27FC236}">
                <a16:creationId xmlns:a16="http://schemas.microsoft.com/office/drawing/2014/main" id="{057C1072-13EE-43A9-9E1C-A2113CE6EEFF}"/>
              </a:ext>
            </a:extLst>
          </p:cNvPr>
          <p:cNvSpPr txBox="1"/>
          <p:nvPr/>
        </p:nvSpPr>
        <p:spPr>
          <a:xfrm>
            <a:off x="64960" y="4428204"/>
            <a:ext cx="13234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/>
              <a:t>Modelo 4</a:t>
            </a:r>
          </a:p>
        </p:txBody>
      </p:sp>
      <p:sp>
        <p:nvSpPr>
          <p:cNvPr id="63" name="CaixaDeTexto 62">
            <a:extLst>
              <a:ext uri="{FF2B5EF4-FFF2-40B4-BE49-F238E27FC236}">
                <a16:creationId xmlns:a16="http://schemas.microsoft.com/office/drawing/2014/main" id="{C93487AD-8586-44F7-A66A-7C3B2991FB9B}"/>
              </a:ext>
            </a:extLst>
          </p:cNvPr>
          <p:cNvSpPr txBox="1"/>
          <p:nvPr/>
        </p:nvSpPr>
        <p:spPr>
          <a:xfrm>
            <a:off x="3669758" y="4386787"/>
            <a:ext cx="10647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err="1"/>
              <a:t>XgBoost</a:t>
            </a:r>
            <a:endParaRPr lang="pt-BR" dirty="0"/>
          </a:p>
        </p:txBody>
      </p:sp>
      <p:sp>
        <p:nvSpPr>
          <p:cNvPr id="65" name="CaixaDeTexto 64">
            <a:extLst>
              <a:ext uri="{FF2B5EF4-FFF2-40B4-BE49-F238E27FC236}">
                <a16:creationId xmlns:a16="http://schemas.microsoft.com/office/drawing/2014/main" id="{DE6715A8-3D35-4F90-BA22-CCEAD8391CDC}"/>
              </a:ext>
            </a:extLst>
          </p:cNvPr>
          <p:cNvSpPr txBox="1"/>
          <p:nvPr/>
        </p:nvSpPr>
        <p:spPr>
          <a:xfrm>
            <a:off x="5591782" y="4345461"/>
            <a:ext cx="85834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/>
              <a:t>24.67</a:t>
            </a:r>
          </a:p>
        </p:txBody>
      </p:sp>
      <p:sp>
        <p:nvSpPr>
          <p:cNvPr id="68" name="CaixaDeTexto 67">
            <a:extLst>
              <a:ext uri="{FF2B5EF4-FFF2-40B4-BE49-F238E27FC236}">
                <a16:creationId xmlns:a16="http://schemas.microsoft.com/office/drawing/2014/main" id="{1F673E54-A3B8-45DD-B4E0-617343B60112}"/>
              </a:ext>
            </a:extLst>
          </p:cNvPr>
          <p:cNvSpPr txBox="1"/>
          <p:nvPr/>
        </p:nvSpPr>
        <p:spPr>
          <a:xfrm>
            <a:off x="88639" y="5292045"/>
            <a:ext cx="13234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/>
              <a:t>Modelo 5</a:t>
            </a:r>
          </a:p>
        </p:txBody>
      </p:sp>
      <p:sp>
        <p:nvSpPr>
          <p:cNvPr id="69" name="CaixaDeTexto 68">
            <a:extLst>
              <a:ext uri="{FF2B5EF4-FFF2-40B4-BE49-F238E27FC236}">
                <a16:creationId xmlns:a16="http://schemas.microsoft.com/office/drawing/2014/main" id="{80F57EBC-A197-40BA-AA32-DC0EF3DFB7E7}"/>
              </a:ext>
            </a:extLst>
          </p:cNvPr>
          <p:cNvSpPr txBox="1"/>
          <p:nvPr/>
        </p:nvSpPr>
        <p:spPr>
          <a:xfrm>
            <a:off x="3693437" y="5250628"/>
            <a:ext cx="10294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Reg Log</a:t>
            </a:r>
          </a:p>
        </p:txBody>
      </p:sp>
      <p:sp>
        <p:nvSpPr>
          <p:cNvPr id="71" name="CaixaDeTexto 70">
            <a:extLst>
              <a:ext uri="{FF2B5EF4-FFF2-40B4-BE49-F238E27FC236}">
                <a16:creationId xmlns:a16="http://schemas.microsoft.com/office/drawing/2014/main" id="{33D14275-BBAF-4F86-8381-5801EDE5C9F6}"/>
              </a:ext>
            </a:extLst>
          </p:cNvPr>
          <p:cNvSpPr txBox="1"/>
          <p:nvPr/>
        </p:nvSpPr>
        <p:spPr>
          <a:xfrm>
            <a:off x="5615461" y="5209302"/>
            <a:ext cx="85834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/>
              <a:t>34.14</a:t>
            </a:r>
          </a:p>
        </p:txBody>
      </p:sp>
      <p:sp>
        <p:nvSpPr>
          <p:cNvPr id="80" name="CaixaDeTexto 79">
            <a:extLst>
              <a:ext uri="{FF2B5EF4-FFF2-40B4-BE49-F238E27FC236}">
                <a16:creationId xmlns:a16="http://schemas.microsoft.com/office/drawing/2014/main" id="{489ADA64-1EA6-4294-8D91-2ED689751C76}"/>
              </a:ext>
            </a:extLst>
          </p:cNvPr>
          <p:cNvSpPr txBox="1"/>
          <p:nvPr/>
        </p:nvSpPr>
        <p:spPr>
          <a:xfrm>
            <a:off x="1329491" y="3349969"/>
            <a:ext cx="213560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 err="1"/>
              <a:t>WoE_score_ajust</a:t>
            </a:r>
            <a:r>
              <a:rPr lang="pt-BR" sz="1100" dirty="0"/>
              <a:t>, WoE_PF_CP_VOL04_PF,</a:t>
            </a:r>
          </a:p>
          <a:p>
            <a:r>
              <a:rPr lang="pt-BR" sz="1100" dirty="0"/>
              <a:t>P4_BVS, QuodScore_v2, SCORE_HSPN</a:t>
            </a:r>
          </a:p>
        </p:txBody>
      </p:sp>
      <p:sp>
        <p:nvSpPr>
          <p:cNvPr id="81" name="CaixaDeTexto 80">
            <a:extLst>
              <a:ext uri="{FF2B5EF4-FFF2-40B4-BE49-F238E27FC236}">
                <a16:creationId xmlns:a16="http://schemas.microsoft.com/office/drawing/2014/main" id="{29E86FB0-04F0-4C90-AAC0-E334A96A8F8C}"/>
              </a:ext>
            </a:extLst>
          </p:cNvPr>
          <p:cNvSpPr txBox="1"/>
          <p:nvPr/>
        </p:nvSpPr>
        <p:spPr>
          <a:xfrm>
            <a:off x="1329491" y="4290842"/>
            <a:ext cx="213560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 err="1"/>
              <a:t>WoE_score_ajust</a:t>
            </a:r>
            <a:r>
              <a:rPr lang="pt-BR" sz="1100" dirty="0"/>
              <a:t>, WoE_PF_CP_VOL04_PF,</a:t>
            </a:r>
          </a:p>
          <a:p>
            <a:r>
              <a:rPr lang="pt-BR" sz="1100" dirty="0"/>
              <a:t>P4_BVS, QuodScore_v2, SCORE_HSPN</a:t>
            </a:r>
          </a:p>
        </p:txBody>
      </p:sp>
      <p:sp>
        <p:nvSpPr>
          <p:cNvPr id="82" name="CaixaDeTexto 81">
            <a:extLst>
              <a:ext uri="{FF2B5EF4-FFF2-40B4-BE49-F238E27FC236}">
                <a16:creationId xmlns:a16="http://schemas.microsoft.com/office/drawing/2014/main" id="{8D7F01E2-9918-4806-B8D2-6BFFDE95BF28}"/>
              </a:ext>
            </a:extLst>
          </p:cNvPr>
          <p:cNvSpPr txBox="1"/>
          <p:nvPr/>
        </p:nvSpPr>
        <p:spPr>
          <a:xfrm>
            <a:off x="7162733" y="1115620"/>
            <a:ext cx="2447699" cy="33855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sz="1600" b="1" dirty="0"/>
              <a:t>Considerações</a:t>
            </a:r>
          </a:p>
        </p:txBody>
      </p:sp>
      <p:sp>
        <p:nvSpPr>
          <p:cNvPr id="84" name="CaixaDeTexto 83">
            <a:extLst>
              <a:ext uri="{FF2B5EF4-FFF2-40B4-BE49-F238E27FC236}">
                <a16:creationId xmlns:a16="http://schemas.microsoft.com/office/drawing/2014/main" id="{BAA928EA-A5A3-44FC-B362-F938D08E2400}"/>
              </a:ext>
            </a:extLst>
          </p:cNvPr>
          <p:cNvSpPr txBox="1"/>
          <p:nvPr/>
        </p:nvSpPr>
        <p:spPr>
          <a:xfrm>
            <a:off x="7122443" y="1696367"/>
            <a:ext cx="226604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600" dirty="0" err="1"/>
              <a:t>Feature</a:t>
            </a:r>
            <a:r>
              <a:rPr lang="pt-BR" sz="1600" dirty="0"/>
              <a:t> </a:t>
            </a:r>
            <a:r>
              <a:rPr lang="pt-BR" sz="1600" dirty="0" err="1"/>
              <a:t>Importance</a:t>
            </a:r>
            <a:endParaRPr lang="pt-BR" sz="1600" dirty="0"/>
          </a:p>
        </p:txBody>
      </p:sp>
      <p:sp>
        <p:nvSpPr>
          <p:cNvPr id="85" name="CaixaDeTexto 84">
            <a:extLst>
              <a:ext uri="{FF2B5EF4-FFF2-40B4-BE49-F238E27FC236}">
                <a16:creationId xmlns:a16="http://schemas.microsoft.com/office/drawing/2014/main" id="{F632C3F0-CDD3-434A-804A-CD32A91B7F00}"/>
              </a:ext>
            </a:extLst>
          </p:cNvPr>
          <p:cNvSpPr txBox="1"/>
          <p:nvPr/>
        </p:nvSpPr>
        <p:spPr>
          <a:xfrm>
            <a:off x="7109126" y="2520391"/>
            <a:ext cx="226604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600" dirty="0" err="1"/>
              <a:t>Feature</a:t>
            </a:r>
            <a:r>
              <a:rPr lang="pt-BR" sz="1600" dirty="0"/>
              <a:t> </a:t>
            </a:r>
            <a:r>
              <a:rPr lang="pt-BR" sz="1600" dirty="0" err="1"/>
              <a:t>Importance</a:t>
            </a:r>
            <a:endParaRPr lang="pt-BR" sz="1600" dirty="0"/>
          </a:p>
        </p:txBody>
      </p:sp>
      <p:sp>
        <p:nvSpPr>
          <p:cNvPr id="88" name="CaixaDeTexto 87">
            <a:extLst>
              <a:ext uri="{FF2B5EF4-FFF2-40B4-BE49-F238E27FC236}">
                <a16:creationId xmlns:a16="http://schemas.microsoft.com/office/drawing/2014/main" id="{5A4691C0-9178-41AB-B6D8-41EE0F88B95F}"/>
              </a:ext>
            </a:extLst>
          </p:cNvPr>
          <p:cNvSpPr txBox="1"/>
          <p:nvPr/>
        </p:nvSpPr>
        <p:spPr>
          <a:xfrm>
            <a:off x="7122443" y="5251364"/>
            <a:ext cx="226604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600" dirty="0"/>
              <a:t>Seleção analítica</a:t>
            </a:r>
          </a:p>
        </p:txBody>
      </p:sp>
      <p:sp>
        <p:nvSpPr>
          <p:cNvPr id="89" name="CaixaDeTexto 88">
            <a:extLst>
              <a:ext uri="{FF2B5EF4-FFF2-40B4-BE49-F238E27FC236}">
                <a16:creationId xmlns:a16="http://schemas.microsoft.com/office/drawing/2014/main" id="{2B1DFFCF-DD1A-4500-A309-92E6C1E1B429}"/>
              </a:ext>
            </a:extLst>
          </p:cNvPr>
          <p:cNvSpPr txBox="1"/>
          <p:nvPr/>
        </p:nvSpPr>
        <p:spPr>
          <a:xfrm>
            <a:off x="7098764" y="3349969"/>
            <a:ext cx="226604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600" dirty="0" err="1"/>
              <a:t>Feature</a:t>
            </a:r>
            <a:r>
              <a:rPr lang="pt-BR" sz="1600" dirty="0"/>
              <a:t> </a:t>
            </a:r>
            <a:r>
              <a:rPr lang="pt-BR" sz="1600" dirty="0" err="1"/>
              <a:t>Importance</a:t>
            </a:r>
            <a:endParaRPr lang="pt-BR" sz="1600" dirty="0"/>
          </a:p>
        </p:txBody>
      </p:sp>
      <p:sp>
        <p:nvSpPr>
          <p:cNvPr id="90" name="CaixaDeTexto 89">
            <a:extLst>
              <a:ext uri="{FF2B5EF4-FFF2-40B4-BE49-F238E27FC236}">
                <a16:creationId xmlns:a16="http://schemas.microsoft.com/office/drawing/2014/main" id="{7CB0F1E1-2D66-41DB-B826-10A967B85EAC}"/>
              </a:ext>
            </a:extLst>
          </p:cNvPr>
          <p:cNvSpPr txBox="1"/>
          <p:nvPr/>
        </p:nvSpPr>
        <p:spPr>
          <a:xfrm>
            <a:off x="7109126" y="4333408"/>
            <a:ext cx="226604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600" dirty="0" err="1"/>
              <a:t>Feature</a:t>
            </a:r>
            <a:r>
              <a:rPr lang="pt-BR" sz="1600" dirty="0"/>
              <a:t> </a:t>
            </a:r>
            <a:r>
              <a:rPr lang="pt-BR" sz="1600" dirty="0" err="1"/>
              <a:t>Importance</a:t>
            </a:r>
            <a:endParaRPr lang="pt-BR" sz="1600" dirty="0"/>
          </a:p>
        </p:txBody>
      </p:sp>
      <p:sp>
        <p:nvSpPr>
          <p:cNvPr id="37" name="CaixaDeTexto 36">
            <a:extLst>
              <a:ext uri="{FF2B5EF4-FFF2-40B4-BE49-F238E27FC236}">
                <a16:creationId xmlns:a16="http://schemas.microsoft.com/office/drawing/2014/main" id="{00D69603-9699-4E34-BDAF-4F9FBB272FFA}"/>
              </a:ext>
            </a:extLst>
          </p:cNvPr>
          <p:cNvSpPr txBox="1"/>
          <p:nvPr/>
        </p:nvSpPr>
        <p:spPr>
          <a:xfrm>
            <a:off x="1333747" y="5292045"/>
            <a:ext cx="213560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b="1" dirty="0"/>
              <a:t>Acessório e CRISP</a:t>
            </a:r>
            <a:endParaRPr lang="pt-BR" sz="1100" dirty="0"/>
          </a:p>
        </p:txBody>
      </p:sp>
    </p:spTree>
    <p:extLst>
      <p:ext uri="{BB962C8B-B14F-4D97-AF65-F5344CB8AC3E}">
        <p14:creationId xmlns:p14="http://schemas.microsoft.com/office/powerpoint/2010/main" val="8179723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ítulo 1">
            <a:extLst>
              <a:ext uri="{FF2B5EF4-FFF2-40B4-BE49-F238E27FC236}">
                <a16:creationId xmlns:a16="http://schemas.microsoft.com/office/drawing/2014/main" id="{87197490-AAFA-412C-8D93-A9D9E6B219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4072" y="411074"/>
            <a:ext cx="8355467" cy="433388"/>
          </a:xfrm>
        </p:spPr>
        <p:txBody>
          <a:bodyPr>
            <a:normAutofit/>
          </a:bodyPr>
          <a:lstStyle/>
          <a:p>
            <a:r>
              <a:rPr lang="pt-BR" sz="2600" dirty="0"/>
              <a:t>Modelo rápido | Aberto</a:t>
            </a:r>
          </a:p>
        </p:txBody>
      </p:sp>
      <p:cxnSp>
        <p:nvCxnSpPr>
          <p:cNvPr id="4" name="Conector reto 3">
            <a:extLst>
              <a:ext uri="{FF2B5EF4-FFF2-40B4-BE49-F238E27FC236}">
                <a16:creationId xmlns:a16="http://schemas.microsoft.com/office/drawing/2014/main" id="{2F9844B0-B10F-4F8D-8F97-77F0F4A0458D}"/>
              </a:ext>
            </a:extLst>
          </p:cNvPr>
          <p:cNvCxnSpPr>
            <a:cxnSpLocks/>
          </p:cNvCxnSpPr>
          <p:nvPr/>
        </p:nvCxnSpPr>
        <p:spPr>
          <a:xfrm>
            <a:off x="1313447" y="1287379"/>
            <a:ext cx="24556" cy="4850082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0" name="Conector reto 19">
            <a:extLst>
              <a:ext uri="{FF2B5EF4-FFF2-40B4-BE49-F238E27FC236}">
                <a16:creationId xmlns:a16="http://schemas.microsoft.com/office/drawing/2014/main" id="{3544E355-2888-4340-B86D-9D5F0E820CB5}"/>
              </a:ext>
            </a:extLst>
          </p:cNvPr>
          <p:cNvCxnSpPr>
            <a:cxnSpLocks/>
          </p:cNvCxnSpPr>
          <p:nvPr/>
        </p:nvCxnSpPr>
        <p:spPr>
          <a:xfrm>
            <a:off x="3545305" y="1287379"/>
            <a:ext cx="0" cy="4850082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5" name="CaixaDeTexto 4">
            <a:extLst>
              <a:ext uri="{FF2B5EF4-FFF2-40B4-BE49-F238E27FC236}">
                <a16:creationId xmlns:a16="http://schemas.microsoft.com/office/drawing/2014/main" id="{160B1AA0-2B8D-40DA-A4EF-846849FAF75B}"/>
              </a:ext>
            </a:extLst>
          </p:cNvPr>
          <p:cNvSpPr txBox="1"/>
          <p:nvPr/>
        </p:nvSpPr>
        <p:spPr>
          <a:xfrm>
            <a:off x="1724527" y="1100372"/>
            <a:ext cx="1215188" cy="33855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sz="1600" b="1" dirty="0"/>
              <a:t>Variáveis</a:t>
            </a:r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FA1361F6-5D77-4B2F-BB1D-5C831DAF39CE}"/>
              </a:ext>
            </a:extLst>
          </p:cNvPr>
          <p:cNvSpPr txBox="1"/>
          <p:nvPr/>
        </p:nvSpPr>
        <p:spPr>
          <a:xfrm>
            <a:off x="3765885" y="1118102"/>
            <a:ext cx="1215188" cy="33855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sz="1600" b="1" dirty="0"/>
              <a:t>Técnica</a:t>
            </a:r>
          </a:p>
        </p:txBody>
      </p:sp>
      <p:sp>
        <p:nvSpPr>
          <p:cNvPr id="27" name="CaixaDeTexto 26">
            <a:extLst>
              <a:ext uri="{FF2B5EF4-FFF2-40B4-BE49-F238E27FC236}">
                <a16:creationId xmlns:a16="http://schemas.microsoft.com/office/drawing/2014/main" id="{B4D7E414-F92A-46B2-8C20-F3C824C5D38D}"/>
              </a:ext>
            </a:extLst>
          </p:cNvPr>
          <p:cNvSpPr txBox="1"/>
          <p:nvPr/>
        </p:nvSpPr>
        <p:spPr>
          <a:xfrm>
            <a:off x="5414210" y="1100372"/>
            <a:ext cx="1215188" cy="33855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sz="1600" b="1" dirty="0"/>
              <a:t>KS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70B17529-87C9-4A5C-AF01-AA9EDFE30754}"/>
              </a:ext>
            </a:extLst>
          </p:cNvPr>
          <p:cNvSpPr txBox="1"/>
          <p:nvPr/>
        </p:nvSpPr>
        <p:spPr>
          <a:xfrm>
            <a:off x="86234" y="1702340"/>
            <a:ext cx="13234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/>
              <a:t>Modelo 1</a:t>
            </a:r>
          </a:p>
        </p:txBody>
      </p:sp>
      <p:sp>
        <p:nvSpPr>
          <p:cNvPr id="31" name="CaixaDeTexto 30">
            <a:extLst>
              <a:ext uri="{FF2B5EF4-FFF2-40B4-BE49-F238E27FC236}">
                <a16:creationId xmlns:a16="http://schemas.microsoft.com/office/drawing/2014/main" id="{62276322-A808-4421-B52E-3E996B3B0F99}"/>
              </a:ext>
            </a:extLst>
          </p:cNvPr>
          <p:cNvSpPr txBox="1"/>
          <p:nvPr/>
        </p:nvSpPr>
        <p:spPr>
          <a:xfrm>
            <a:off x="64960" y="2615761"/>
            <a:ext cx="13234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/>
              <a:t>Modelo 2</a:t>
            </a:r>
          </a:p>
        </p:txBody>
      </p: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8691A8D4-4C82-4495-B015-7A17C9F47DBD}"/>
              </a:ext>
            </a:extLst>
          </p:cNvPr>
          <p:cNvSpPr txBox="1"/>
          <p:nvPr/>
        </p:nvSpPr>
        <p:spPr>
          <a:xfrm>
            <a:off x="64960" y="3414215"/>
            <a:ext cx="13234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/>
              <a:t>Modelo 3</a:t>
            </a:r>
          </a:p>
        </p:txBody>
      </p:sp>
      <p:cxnSp>
        <p:nvCxnSpPr>
          <p:cNvPr id="38" name="Conector reto 37">
            <a:extLst>
              <a:ext uri="{FF2B5EF4-FFF2-40B4-BE49-F238E27FC236}">
                <a16:creationId xmlns:a16="http://schemas.microsoft.com/office/drawing/2014/main" id="{26DEED0A-BCC0-4DCC-A465-0876C1866F89}"/>
              </a:ext>
            </a:extLst>
          </p:cNvPr>
          <p:cNvCxnSpPr>
            <a:cxnSpLocks/>
          </p:cNvCxnSpPr>
          <p:nvPr/>
        </p:nvCxnSpPr>
        <p:spPr>
          <a:xfrm>
            <a:off x="5141494" y="1297070"/>
            <a:ext cx="0" cy="4840391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9" name="Conector reto 38">
            <a:extLst>
              <a:ext uri="{FF2B5EF4-FFF2-40B4-BE49-F238E27FC236}">
                <a16:creationId xmlns:a16="http://schemas.microsoft.com/office/drawing/2014/main" id="{80E31835-C96A-4240-83FE-C291C4E273AA}"/>
              </a:ext>
            </a:extLst>
          </p:cNvPr>
          <p:cNvCxnSpPr>
            <a:cxnSpLocks/>
          </p:cNvCxnSpPr>
          <p:nvPr/>
        </p:nvCxnSpPr>
        <p:spPr>
          <a:xfrm>
            <a:off x="6825916" y="1269649"/>
            <a:ext cx="86692" cy="4857173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7E4615EA-591C-475C-8655-C6CBD5098CD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B06766-DC36-4174-9907-BEF22DE810EF}" type="slidenum">
              <a:rPr lang="pt-BR" smtClean="0"/>
              <a:pPr/>
              <a:t>11</a:t>
            </a:fld>
            <a:r>
              <a:rPr lang="pt-BR"/>
              <a:t> </a:t>
            </a:r>
            <a:endParaRPr lang="pt-BR" dirty="0"/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1463C822-C1E1-45D0-9F94-00BF4C58E8AC}"/>
              </a:ext>
            </a:extLst>
          </p:cNvPr>
          <p:cNvSpPr txBox="1"/>
          <p:nvPr/>
        </p:nvSpPr>
        <p:spPr>
          <a:xfrm>
            <a:off x="3705713" y="1708698"/>
            <a:ext cx="12202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err="1"/>
              <a:t>AdaBoost</a:t>
            </a:r>
            <a:endParaRPr lang="pt-BR" dirty="0"/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id="{AF49949F-0E36-483A-90B2-73CD75156A8C}"/>
              </a:ext>
            </a:extLst>
          </p:cNvPr>
          <p:cNvSpPr txBox="1"/>
          <p:nvPr/>
        </p:nvSpPr>
        <p:spPr>
          <a:xfrm>
            <a:off x="3687213" y="2510104"/>
            <a:ext cx="12378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err="1"/>
              <a:t>LightGBM</a:t>
            </a:r>
            <a:endParaRPr lang="pt-BR" dirty="0"/>
          </a:p>
        </p:txBody>
      </p:sp>
      <p:sp>
        <p:nvSpPr>
          <p:cNvPr id="24" name="CaixaDeTexto 23">
            <a:extLst>
              <a:ext uri="{FF2B5EF4-FFF2-40B4-BE49-F238E27FC236}">
                <a16:creationId xmlns:a16="http://schemas.microsoft.com/office/drawing/2014/main" id="{8CDF7F35-9591-4B08-B7DE-13F87E4EBDA6}"/>
              </a:ext>
            </a:extLst>
          </p:cNvPr>
          <p:cNvSpPr txBox="1"/>
          <p:nvPr/>
        </p:nvSpPr>
        <p:spPr>
          <a:xfrm>
            <a:off x="3688841" y="3269542"/>
            <a:ext cx="138095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err="1"/>
              <a:t>Random</a:t>
            </a:r>
            <a:r>
              <a:rPr lang="pt-BR" dirty="0"/>
              <a:t> Forest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D3F7C541-30EF-4230-9536-488399E63022}"/>
              </a:ext>
            </a:extLst>
          </p:cNvPr>
          <p:cNvSpPr txBox="1"/>
          <p:nvPr/>
        </p:nvSpPr>
        <p:spPr>
          <a:xfrm>
            <a:off x="1338003" y="1576008"/>
            <a:ext cx="213560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 err="1"/>
              <a:t>WoE_cd_mosaic</a:t>
            </a:r>
            <a:r>
              <a:rPr lang="pt-BR" sz="1100" dirty="0"/>
              <a:t>, WoE_score_ajust,P4_BVS, QuodScore_v2, SCORE_HSPN, Todos indicadores PF Quod</a:t>
            </a:r>
          </a:p>
        </p:txBody>
      </p:sp>
      <p:sp>
        <p:nvSpPr>
          <p:cNvPr id="32" name="CaixaDeTexto 31">
            <a:extLst>
              <a:ext uri="{FF2B5EF4-FFF2-40B4-BE49-F238E27FC236}">
                <a16:creationId xmlns:a16="http://schemas.microsoft.com/office/drawing/2014/main" id="{8D2F52CF-786D-45A7-93C9-3EBEC4F050A3}"/>
              </a:ext>
            </a:extLst>
          </p:cNvPr>
          <p:cNvSpPr txBox="1"/>
          <p:nvPr/>
        </p:nvSpPr>
        <p:spPr>
          <a:xfrm>
            <a:off x="1329491" y="2443495"/>
            <a:ext cx="213560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 err="1"/>
              <a:t>WoE_cd_mosaic</a:t>
            </a:r>
            <a:r>
              <a:rPr lang="pt-BR" sz="1100" dirty="0"/>
              <a:t>, WoE_score_ajust,P4_BVS, QuodScore_v2, SCORE_HSPN, Todos indicadores PF Quod</a:t>
            </a:r>
          </a:p>
        </p:txBody>
      </p:sp>
      <p:sp>
        <p:nvSpPr>
          <p:cNvPr id="33" name="CaixaDeTexto 32">
            <a:extLst>
              <a:ext uri="{FF2B5EF4-FFF2-40B4-BE49-F238E27FC236}">
                <a16:creationId xmlns:a16="http://schemas.microsoft.com/office/drawing/2014/main" id="{DE7EFCB6-C083-481E-AEAA-93646E138578}"/>
              </a:ext>
            </a:extLst>
          </p:cNvPr>
          <p:cNvSpPr txBox="1"/>
          <p:nvPr/>
        </p:nvSpPr>
        <p:spPr>
          <a:xfrm>
            <a:off x="5563457" y="1720995"/>
            <a:ext cx="84049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/>
              <a:t>29.44</a:t>
            </a:r>
          </a:p>
        </p:txBody>
      </p:sp>
      <p:sp>
        <p:nvSpPr>
          <p:cNvPr id="41" name="CaixaDeTexto 40">
            <a:extLst>
              <a:ext uri="{FF2B5EF4-FFF2-40B4-BE49-F238E27FC236}">
                <a16:creationId xmlns:a16="http://schemas.microsoft.com/office/drawing/2014/main" id="{56A64052-1709-4C99-ACA0-60ACF8E21514}"/>
              </a:ext>
            </a:extLst>
          </p:cNvPr>
          <p:cNvSpPr txBox="1"/>
          <p:nvPr/>
        </p:nvSpPr>
        <p:spPr>
          <a:xfrm>
            <a:off x="5590138" y="2510104"/>
            <a:ext cx="85834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/>
              <a:t>29.86</a:t>
            </a:r>
          </a:p>
        </p:txBody>
      </p:sp>
      <p:sp>
        <p:nvSpPr>
          <p:cNvPr id="45" name="CaixaDeTexto 44">
            <a:extLst>
              <a:ext uri="{FF2B5EF4-FFF2-40B4-BE49-F238E27FC236}">
                <a16:creationId xmlns:a16="http://schemas.microsoft.com/office/drawing/2014/main" id="{7C1A4A09-9C97-4243-9E2F-8154F659651E}"/>
              </a:ext>
            </a:extLst>
          </p:cNvPr>
          <p:cNvSpPr txBox="1"/>
          <p:nvPr/>
        </p:nvSpPr>
        <p:spPr>
          <a:xfrm>
            <a:off x="5610861" y="3332252"/>
            <a:ext cx="85834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/>
              <a:t>29.85</a:t>
            </a:r>
          </a:p>
        </p:txBody>
      </p:sp>
      <p:sp>
        <p:nvSpPr>
          <p:cNvPr id="62" name="CaixaDeTexto 61">
            <a:extLst>
              <a:ext uri="{FF2B5EF4-FFF2-40B4-BE49-F238E27FC236}">
                <a16:creationId xmlns:a16="http://schemas.microsoft.com/office/drawing/2014/main" id="{057C1072-13EE-43A9-9E1C-A2113CE6EEFF}"/>
              </a:ext>
            </a:extLst>
          </p:cNvPr>
          <p:cNvSpPr txBox="1"/>
          <p:nvPr/>
        </p:nvSpPr>
        <p:spPr>
          <a:xfrm>
            <a:off x="64960" y="4428204"/>
            <a:ext cx="13234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/>
              <a:t>Modelo 4</a:t>
            </a:r>
          </a:p>
        </p:txBody>
      </p:sp>
      <p:sp>
        <p:nvSpPr>
          <p:cNvPr id="63" name="CaixaDeTexto 62">
            <a:extLst>
              <a:ext uri="{FF2B5EF4-FFF2-40B4-BE49-F238E27FC236}">
                <a16:creationId xmlns:a16="http://schemas.microsoft.com/office/drawing/2014/main" id="{C93487AD-8586-44F7-A66A-7C3B2991FB9B}"/>
              </a:ext>
            </a:extLst>
          </p:cNvPr>
          <p:cNvSpPr txBox="1"/>
          <p:nvPr/>
        </p:nvSpPr>
        <p:spPr>
          <a:xfrm>
            <a:off x="3669758" y="4386787"/>
            <a:ext cx="10647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err="1"/>
              <a:t>XgBoost</a:t>
            </a:r>
            <a:endParaRPr lang="pt-BR" dirty="0"/>
          </a:p>
        </p:txBody>
      </p:sp>
      <p:sp>
        <p:nvSpPr>
          <p:cNvPr id="65" name="CaixaDeTexto 64">
            <a:extLst>
              <a:ext uri="{FF2B5EF4-FFF2-40B4-BE49-F238E27FC236}">
                <a16:creationId xmlns:a16="http://schemas.microsoft.com/office/drawing/2014/main" id="{DE6715A8-3D35-4F90-BA22-CCEAD8391CDC}"/>
              </a:ext>
            </a:extLst>
          </p:cNvPr>
          <p:cNvSpPr txBox="1"/>
          <p:nvPr/>
        </p:nvSpPr>
        <p:spPr>
          <a:xfrm>
            <a:off x="5591782" y="4345461"/>
            <a:ext cx="85834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/>
              <a:t>22.44</a:t>
            </a:r>
          </a:p>
        </p:txBody>
      </p:sp>
      <p:sp>
        <p:nvSpPr>
          <p:cNvPr id="68" name="CaixaDeTexto 67">
            <a:extLst>
              <a:ext uri="{FF2B5EF4-FFF2-40B4-BE49-F238E27FC236}">
                <a16:creationId xmlns:a16="http://schemas.microsoft.com/office/drawing/2014/main" id="{1F673E54-A3B8-45DD-B4E0-617343B60112}"/>
              </a:ext>
            </a:extLst>
          </p:cNvPr>
          <p:cNvSpPr txBox="1"/>
          <p:nvPr/>
        </p:nvSpPr>
        <p:spPr>
          <a:xfrm>
            <a:off x="88639" y="5292045"/>
            <a:ext cx="13234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/>
              <a:t>Modelo 5</a:t>
            </a:r>
          </a:p>
        </p:txBody>
      </p:sp>
      <p:sp>
        <p:nvSpPr>
          <p:cNvPr id="69" name="CaixaDeTexto 68">
            <a:extLst>
              <a:ext uri="{FF2B5EF4-FFF2-40B4-BE49-F238E27FC236}">
                <a16:creationId xmlns:a16="http://schemas.microsoft.com/office/drawing/2014/main" id="{80F57EBC-A197-40BA-AA32-DC0EF3DFB7E7}"/>
              </a:ext>
            </a:extLst>
          </p:cNvPr>
          <p:cNvSpPr txBox="1"/>
          <p:nvPr/>
        </p:nvSpPr>
        <p:spPr>
          <a:xfrm>
            <a:off x="3693437" y="5250628"/>
            <a:ext cx="10294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Reg Log</a:t>
            </a:r>
          </a:p>
        </p:txBody>
      </p:sp>
      <p:sp>
        <p:nvSpPr>
          <p:cNvPr id="70" name="CaixaDeTexto 69">
            <a:extLst>
              <a:ext uri="{FF2B5EF4-FFF2-40B4-BE49-F238E27FC236}">
                <a16:creationId xmlns:a16="http://schemas.microsoft.com/office/drawing/2014/main" id="{CFAA407B-9141-4C7A-B34F-8EBCBD2460B3}"/>
              </a:ext>
            </a:extLst>
          </p:cNvPr>
          <p:cNvSpPr txBox="1"/>
          <p:nvPr/>
        </p:nvSpPr>
        <p:spPr>
          <a:xfrm>
            <a:off x="1333747" y="5292045"/>
            <a:ext cx="213560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b="1" dirty="0"/>
              <a:t>Acessório e CRISP</a:t>
            </a:r>
            <a:endParaRPr lang="pt-BR" sz="1100" dirty="0"/>
          </a:p>
        </p:txBody>
      </p:sp>
      <p:sp>
        <p:nvSpPr>
          <p:cNvPr id="71" name="CaixaDeTexto 70">
            <a:extLst>
              <a:ext uri="{FF2B5EF4-FFF2-40B4-BE49-F238E27FC236}">
                <a16:creationId xmlns:a16="http://schemas.microsoft.com/office/drawing/2014/main" id="{33D14275-BBAF-4F86-8381-5801EDE5C9F6}"/>
              </a:ext>
            </a:extLst>
          </p:cNvPr>
          <p:cNvSpPr txBox="1"/>
          <p:nvPr/>
        </p:nvSpPr>
        <p:spPr>
          <a:xfrm>
            <a:off x="5615461" y="5209302"/>
            <a:ext cx="85834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/>
              <a:t>24.46</a:t>
            </a:r>
          </a:p>
        </p:txBody>
      </p:sp>
      <p:sp>
        <p:nvSpPr>
          <p:cNvPr id="80" name="CaixaDeTexto 79">
            <a:extLst>
              <a:ext uri="{FF2B5EF4-FFF2-40B4-BE49-F238E27FC236}">
                <a16:creationId xmlns:a16="http://schemas.microsoft.com/office/drawing/2014/main" id="{489ADA64-1EA6-4294-8D91-2ED689751C76}"/>
              </a:ext>
            </a:extLst>
          </p:cNvPr>
          <p:cNvSpPr txBox="1"/>
          <p:nvPr/>
        </p:nvSpPr>
        <p:spPr>
          <a:xfrm>
            <a:off x="1329491" y="3349969"/>
            <a:ext cx="213560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 err="1"/>
              <a:t>WoE_cd_mosaic</a:t>
            </a:r>
            <a:r>
              <a:rPr lang="pt-BR" sz="1100" dirty="0"/>
              <a:t>, WoE_score_ajust,P4_BVS, QuodScore_v2, SCORE_HSPN, Todos indicadores PF Quod</a:t>
            </a:r>
          </a:p>
        </p:txBody>
      </p:sp>
      <p:sp>
        <p:nvSpPr>
          <p:cNvPr id="81" name="CaixaDeTexto 80">
            <a:extLst>
              <a:ext uri="{FF2B5EF4-FFF2-40B4-BE49-F238E27FC236}">
                <a16:creationId xmlns:a16="http://schemas.microsoft.com/office/drawing/2014/main" id="{29E86FB0-04F0-4C90-AAC0-E334A96A8F8C}"/>
              </a:ext>
            </a:extLst>
          </p:cNvPr>
          <p:cNvSpPr txBox="1"/>
          <p:nvPr/>
        </p:nvSpPr>
        <p:spPr>
          <a:xfrm>
            <a:off x="1329491" y="4290842"/>
            <a:ext cx="213560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 err="1"/>
              <a:t>WoE_cd_mosaic</a:t>
            </a:r>
            <a:r>
              <a:rPr lang="pt-BR" sz="1100" dirty="0"/>
              <a:t>, WoE_score_ajust,P4_BVS, QuodScore_v2, SCORE_HSPN, Todos indicadores PF Quod</a:t>
            </a:r>
          </a:p>
        </p:txBody>
      </p:sp>
      <p:sp>
        <p:nvSpPr>
          <p:cNvPr id="82" name="CaixaDeTexto 81">
            <a:extLst>
              <a:ext uri="{FF2B5EF4-FFF2-40B4-BE49-F238E27FC236}">
                <a16:creationId xmlns:a16="http://schemas.microsoft.com/office/drawing/2014/main" id="{8D7F01E2-9918-4806-B8D2-6BFFDE95BF28}"/>
              </a:ext>
            </a:extLst>
          </p:cNvPr>
          <p:cNvSpPr txBox="1"/>
          <p:nvPr/>
        </p:nvSpPr>
        <p:spPr>
          <a:xfrm>
            <a:off x="7162733" y="1115620"/>
            <a:ext cx="2447699" cy="33855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sz="1600" b="1" dirty="0"/>
              <a:t>Considerações</a:t>
            </a:r>
          </a:p>
        </p:txBody>
      </p:sp>
      <p:sp>
        <p:nvSpPr>
          <p:cNvPr id="84" name="CaixaDeTexto 83">
            <a:extLst>
              <a:ext uri="{FF2B5EF4-FFF2-40B4-BE49-F238E27FC236}">
                <a16:creationId xmlns:a16="http://schemas.microsoft.com/office/drawing/2014/main" id="{BAA928EA-A5A3-44FC-B362-F938D08E2400}"/>
              </a:ext>
            </a:extLst>
          </p:cNvPr>
          <p:cNvSpPr txBox="1"/>
          <p:nvPr/>
        </p:nvSpPr>
        <p:spPr>
          <a:xfrm>
            <a:off x="7122443" y="1696367"/>
            <a:ext cx="226604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600" dirty="0" err="1"/>
              <a:t>Feature</a:t>
            </a:r>
            <a:r>
              <a:rPr lang="pt-BR" sz="1600" dirty="0"/>
              <a:t> </a:t>
            </a:r>
            <a:r>
              <a:rPr lang="pt-BR" sz="1600" dirty="0" err="1"/>
              <a:t>Importance</a:t>
            </a:r>
            <a:endParaRPr lang="pt-BR" sz="1600" dirty="0"/>
          </a:p>
        </p:txBody>
      </p:sp>
      <p:sp>
        <p:nvSpPr>
          <p:cNvPr id="85" name="CaixaDeTexto 84">
            <a:extLst>
              <a:ext uri="{FF2B5EF4-FFF2-40B4-BE49-F238E27FC236}">
                <a16:creationId xmlns:a16="http://schemas.microsoft.com/office/drawing/2014/main" id="{F632C3F0-CDD3-434A-804A-CD32A91B7F00}"/>
              </a:ext>
            </a:extLst>
          </p:cNvPr>
          <p:cNvSpPr txBox="1"/>
          <p:nvPr/>
        </p:nvSpPr>
        <p:spPr>
          <a:xfrm>
            <a:off x="7109126" y="2520391"/>
            <a:ext cx="226604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600" dirty="0" err="1"/>
              <a:t>Feature</a:t>
            </a:r>
            <a:r>
              <a:rPr lang="pt-BR" sz="1600" dirty="0"/>
              <a:t> </a:t>
            </a:r>
            <a:r>
              <a:rPr lang="pt-BR" sz="1600" dirty="0" err="1"/>
              <a:t>Importance</a:t>
            </a:r>
            <a:endParaRPr lang="pt-BR" sz="1600" dirty="0"/>
          </a:p>
        </p:txBody>
      </p:sp>
      <p:sp>
        <p:nvSpPr>
          <p:cNvPr id="88" name="CaixaDeTexto 87">
            <a:extLst>
              <a:ext uri="{FF2B5EF4-FFF2-40B4-BE49-F238E27FC236}">
                <a16:creationId xmlns:a16="http://schemas.microsoft.com/office/drawing/2014/main" id="{5A4691C0-9178-41AB-B6D8-41EE0F88B95F}"/>
              </a:ext>
            </a:extLst>
          </p:cNvPr>
          <p:cNvSpPr txBox="1"/>
          <p:nvPr/>
        </p:nvSpPr>
        <p:spPr>
          <a:xfrm>
            <a:off x="7122443" y="5251364"/>
            <a:ext cx="226604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600" dirty="0"/>
              <a:t>Seleção analítica</a:t>
            </a:r>
          </a:p>
        </p:txBody>
      </p:sp>
      <p:sp>
        <p:nvSpPr>
          <p:cNvPr id="89" name="CaixaDeTexto 88">
            <a:extLst>
              <a:ext uri="{FF2B5EF4-FFF2-40B4-BE49-F238E27FC236}">
                <a16:creationId xmlns:a16="http://schemas.microsoft.com/office/drawing/2014/main" id="{2B1DFFCF-DD1A-4500-A309-92E6C1E1B429}"/>
              </a:ext>
            </a:extLst>
          </p:cNvPr>
          <p:cNvSpPr txBox="1"/>
          <p:nvPr/>
        </p:nvSpPr>
        <p:spPr>
          <a:xfrm>
            <a:off x="7098764" y="3349969"/>
            <a:ext cx="226604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600" dirty="0" err="1"/>
              <a:t>Feature</a:t>
            </a:r>
            <a:r>
              <a:rPr lang="pt-BR" sz="1600" dirty="0"/>
              <a:t> </a:t>
            </a:r>
            <a:r>
              <a:rPr lang="pt-BR" sz="1600" dirty="0" err="1"/>
              <a:t>Importance</a:t>
            </a:r>
            <a:endParaRPr lang="pt-BR" sz="1600" dirty="0"/>
          </a:p>
        </p:txBody>
      </p:sp>
      <p:sp>
        <p:nvSpPr>
          <p:cNvPr id="90" name="CaixaDeTexto 89">
            <a:extLst>
              <a:ext uri="{FF2B5EF4-FFF2-40B4-BE49-F238E27FC236}">
                <a16:creationId xmlns:a16="http://schemas.microsoft.com/office/drawing/2014/main" id="{7CB0F1E1-2D66-41DB-B826-10A967B85EAC}"/>
              </a:ext>
            </a:extLst>
          </p:cNvPr>
          <p:cNvSpPr txBox="1"/>
          <p:nvPr/>
        </p:nvSpPr>
        <p:spPr>
          <a:xfrm>
            <a:off x="7109126" y="4333408"/>
            <a:ext cx="226604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600" dirty="0" err="1"/>
              <a:t>Feature</a:t>
            </a:r>
            <a:r>
              <a:rPr lang="pt-BR" sz="1600" dirty="0"/>
              <a:t> </a:t>
            </a:r>
            <a:r>
              <a:rPr lang="pt-BR" sz="1600" dirty="0" err="1"/>
              <a:t>Importance</a:t>
            </a:r>
            <a:endParaRPr lang="pt-BR" sz="1600" dirty="0"/>
          </a:p>
        </p:txBody>
      </p:sp>
    </p:spTree>
    <p:extLst>
      <p:ext uri="{BB962C8B-B14F-4D97-AF65-F5344CB8AC3E}">
        <p14:creationId xmlns:p14="http://schemas.microsoft.com/office/powerpoint/2010/main" val="9767126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ítulo 1">
            <a:extLst>
              <a:ext uri="{FF2B5EF4-FFF2-40B4-BE49-F238E27FC236}">
                <a16:creationId xmlns:a16="http://schemas.microsoft.com/office/drawing/2014/main" id="{87197490-AAFA-412C-8D93-A9D9E6B219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4072" y="411074"/>
            <a:ext cx="8355467" cy="433388"/>
          </a:xfrm>
        </p:spPr>
        <p:txBody>
          <a:bodyPr>
            <a:normAutofit/>
          </a:bodyPr>
          <a:lstStyle/>
          <a:p>
            <a:r>
              <a:rPr lang="pt-BR" sz="2600" dirty="0"/>
              <a:t>Modelo rápido | KS por safra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7E4615EA-591C-475C-8655-C6CBD5098CD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B06766-DC36-4174-9907-BEF22DE810EF}" type="slidenum">
              <a:rPr lang="pt-BR" smtClean="0"/>
              <a:pPr/>
              <a:t>12</a:t>
            </a:fld>
            <a:r>
              <a:rPr lang="pt-BR"/>
              <a:t> </a:t>
            </a:r>
            <a:endParaRPr lang="pt-BR" dirty="0"/>
          </a:p>
        </p:txBody>
      </p:sp>
      <p:graphicFrame>
        <p:nvGraphicFramePr>
          <p:cNvPr id="8" name="Gráfico 7">
            <a:extLst>
              <a:ext uri="{FF2B5EF4-FFF2-40B4-BE49-F238E27FC236}">
                <a16:creationId xmlns:a16="http://schemas.microsoft.com/office/drawing/2014/main" id="{73C0F15A-CED7-41A6-BB27-3867C826D17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01475144"/>
              </p:ext>
            </p:extLst>
          </p:nvPr>
        </p:nvGraphicFramePr>
        <p:xfrm>
          <a:off x="6203576" y="1550195"/>
          <a:ext cx="5893372" cy="37576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Gráfico 8">
            <a:extLst>
              <a:ext uri="{FF2B5EF4-FFF2-40B4-BE49-F238E27FC236}">
                <a16:creationId xmlns:a16="http://schemas.microsoft.com/office/drawing/2014/main" id="{D2EC72DB-282C-4434-81B6-886B99CC297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23835382"/>
              </p:ext>
            </p:extLst>
          </p:nvPr>
        </p:nvGraphicFramePr>
        <p:xfrm>
          <a:off x="95053" y="1550196"/>
          <a:ext cx="5893372" cy="37576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0321479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ítulo 1">
            <a:extLst>
              <a:ext uri="{FF2B5EF4-FFF2-40B4-BE49-F238E27FC236}">
                <a16:creationId xmlns:a16="http://schemas.microsoft.com/office/drawing/2014/main" id="{87197490-AAFA-412C-8D93-A9D9E6B219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4072" y="411074"/>
            <a:ext cx="8355467" cy="433388"/>
          </a:xfrm>
        </p:spPr>
        <p:txBody>
          <a:bodyPr>
            <a:normAutofit/>
          </a:bodyPr>
          <a:lstStyle/>
          <a:p>
            <a:r>
              <a:rPr lang="pt-BR" sz="2600" dirty="0"/>
              <a:t>Modelo rápido | Decis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7E4615EA-591C-475C-8655-C6CBD5098CD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B06766-DC36-4174-9907-BEF22DE810EF}" type="slidenum">
              <a:rPr lang="pt-BR" smtClean="0"/>
              <a:pPr/>
              <a:t>13</a:t>
            </a:fld>
            <a:r>
              <a:rPr lang="pt-BR"/>
              <a:t> </a:t>
            </a:r>
            <a:endParaRPr lang="pt-BR" dirty="0"/>
          </a:p>
        </p:txBody>
      </p:sp>
      <p:graphicFrame>
        <p:nvGraphicFramePr>
          <p:cNvPr id="3" name="Tabela 2">
            <a:extLst>
              <a:ext uri="{FF2B5EF4-FFF2-40B4-BE49-F238E27FC236}">
                <a16:creationId xmlns:a16="http://schemas.microsoft.com/office/drawing/2014/main" id="{F0D59FA2-B8D5-48EF-88B8-7A00B3EA3A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9648562"/>
              </p:ext>
            </p:extLst>
          </p:nvPr>
        </p:nvGraphicFramePr>
        <p:xfrm>
          <a:off x="605118" y="1777993"/>
          <a:ext cx="10981763" cy="3319084"/>
        </p:xfrm>
        <a:graphic>
          <a:graphicData uri="http://schemas.openxmlformats.org/drawingml/2006/table">
            <a:tbl>
              <a:tblPr/>
              <a:tblGrid>
                <a:gridCol w="844751">
                  <a:extLst>
                    <a:ext uri="{9D8B030D-6E8A-4147-A177-3AD203B41FA5}">
                      <a16:colId xmlns:a16="http://schemas.microsoft.com/office/drawing/2014/main" val="2868314413"/>
                    </a:ext>
                  </a:extLst>
                </a:gridCol>
                <a:gridCol w="844751">
                  <a:extLst>
                    <a:ext uri="{9D8B030D-6E8A-4147-A177-3AD203B41FA5}">
                      <a16:colId xmlns:a16="http://schemas.microsoft.com/office/drawing/2014/main" val="1807911717"/>
                    </a:ext>
                  </a:extLst>
                </a:gridCol>
                <a:gridCol w="844751">
                  <a:extLst>
                    <a:ext uri="{9D8B030D-6E8A-4147-A177-3AD203B41FA5}">
                      <a16:colId xmlns:a16="http://schemas.microsoft.com/office/drawing/2014/main" val="1777515303"/>
                    </a:ext>
                  </a:extLst>
                </a:gridCol>
                <a:gridCol w="844751">
                  <a:extLst>
                    <a:ext uri="{9D8B030D-6E8A-4147-A177-3AD203B41FA5}">
                      <a16:colId xmlns:a16="http://schemas.microsoft.com/office/drawing/2014/main" val="4021745729"/>
                    </a:ext>
                  </a:extLst>
                </a:gridCol>
                <a:gridCol w="844751">
                  <a:extLst>
                    <a:ext uri="{9D8B030D-6E8A-4147-A177-3AD203B41FA5}">
                      <a16:colId xmlns:a16="http://schemas.microsoft.com/office/drawing/2014/main" val="993966025"/>
                    </a:ext>
                  </a:extLst>
                </a:gridCol>
                <a:gridCol w="844751">
                  <a:extLst>
                    <a:ext uri="{9D8B030D-6E8A-4147-A177-3AD203B41FA5}">
                      <a16:colId xmlns:a16="http://schemas.microsoft.com/office/drawing/2014/main" val="3190468785"/>
                    </a:ext>
                  </a:extLst>
                </a:gridCol>
                <a:gridCol w="844751">
                  <a:extLst>
                    <a:ext uri="{9D8B030D-6E8A-4147-A177-3AD203B41FA5}">
                      <a16:colId xmlns:a16="http://schemas.microsoft.com/office/drawing/2014/main" val="1096797730"/>
                    </a:ext>
                  </a:extLst>
                </a:gridCol>
                <a:gridCol w="844751">
                  <a:extLst>
                    <a:ext uri="{9D8B030D-6E8A-4147-A177-3AD203B41FA5}">
                      <a16:colId xmlns:a16="http://schemas.microsoft.com/office/drawing/2014/main" val="2791099729"/>
                    </a:ext>
                  </a:extLst>
                </a:gridCol>
                <a:gridCol w="844751">
                  <a:extLst>
                    <a:ext uri="{9D8B030D-6E8A-4147-A177-3AD203B41FA5}">
                      <a16:colId xmlns:a16="http://schemas.microsoft.com/office/drawing/2014/main" val="2812146867"/>
                    </a:ext>
                  </a:extLst>
                </a:gridCol>
                <a:gridCol w="844751">
                  <a:extLst>
                    <a:ext uri="{9D8B030D-6E8A-4147-A177-3AD203B41FA5}">
                      <a16:colId xmlns:a16="http://schemas.microsoft.com/office/drawing/2014/main" val="2206298343"/>
                    </a:ext>
                  </a:extLst>
                </a:gridCol>
                <a:gridCol w="844751">
                  <a:extLst>
                    <a:ext uri="{9D8B030D-6E8A-4147-A177-3AD203B41FA5}">
                      <a16:colId xmlns:a16="http://schemas.microsoft.com/office/drawing/2014/main" val="790252730"/>
                    </a:ext>
                  </a:extLst>
                </a:gridCol>
                <a:gridCol w="844751">
                  <a:extLst>
                    <a:ext uri="{9D8B030D-6E8A-4147-A177-3AD203B41FA5}">
                      <a16:colId xmlns:a16="http://schemas.microsoft.com/office/drawing/2014/main" val="230201779"/>
                    </a:ext>
                  </a:extLst>
                </a:gridCol>
                <a:gridCol w="844751">
                  <a:extLst>
                    <a:ext uri="{9D8B030D-6E8A-4147-A177-3AD203B41FA5}">
                      <a16:colId xmlns:a16="http://schemas.microsoft.com/office/drawing/2014/main" val="2136096432"/>
                    </a:ext>
                  </a:extLst>
                </a:gridCol>
              </a:tblGrid>
              <a:tr h="516542"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 b="1" dirty="0">
                          <a:effectLst/>
                        </a:rPr>
                        <a:t>Modelo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 b="1" dirty="0" err="1">
                          <a:effectLst/>
                        </a:rPr>
                        <a:t>AdaBoost_restrito</a:t>
                      </a:r>
                      <a:endParaRPr lang="pt-BR" sz="900" b="1" dirty="0">
                        <a:effectLst/>
                      </a:endParaRP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 b="1" dirty="0" err="1">
                          <a:effectLst/>
                        </a:rPr>
                        <a:t>AdaBoost_aberto</a:t>
                      </a:r>
                      <a:endParaRPr lang="pt-BR" sz="900" b="1" dirty="0">
                        <a:effectLst/>
                      </a:endParaRP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 b="1" dirty="0" err="1">
                          <a:effectLst/>
                        </a:rPr>
                        <a:t>LightGBM_restrito</a:t>
                      </a:r>
                      <a:endParaRPr lang="pt-BR" sz="900" b="1" dirty="0">
                        <a:effectLst/>
                      </a:endParaRP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 b="1" dirty="0" err="1">
                          <a:effectLst/>
                        </a:rPr>
                        <a:t>LightGBM_aberto</a:t>
                      </a:r>
                      <a:endParaRPr lang="pt-BR" sz="900" b="1" dirty="0">
                        <a:effectLst/>
                      </a:endParaRP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 b="1" dirty="0" err="1">
                          <a:effectLst/>
                        </a:rPr>
                        <a:t>RandomForest_restrito</a:t>
                      </a:r>
                      <a:endParaRPr lang="pt-BR" sz="900" b="1" dirty="0">
                        <a:effectLst/>
                      </a:endParaRP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 b="1" dirty="0" err="1">
                          <a:effectLst/>
                        </a:rPr>
                        <a:t>RandomForest_aberto</a:t>
                      </a:r>
                      <a:endParaRPr lang="pt-BR" sz="900" b="1" dirty="0">
                        <a:effectLst/>
                      </a:endParaRP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 b="1" dirty="0" err="1">
                          <a:effectLst/>
                        </a:rPr>
                        <a:t>XgBoost_restrito</a:t>
                      </a:r>
                      <a:endParaRPr lang="pt-BR" sz="900" b="1" dirty="0">
                        <a:effectLst/>
                      </a:endParaRP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 b="1" dirty="0" err="1">
                          <a:effectLst/>
                        </a:rPr>
                        <a:t>XgBoost</a:t>
                      </a:r>
                      <a:r>
                        <a:rPr lang="pt-BR" sz="900" b="1" dirty="0">
                          <a:effectLst/>
                        </a:rPr>
                        <a:t>__aberto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 b="1" dirty="0" err="1">
                          <a:effectLst/>
                        </a:rPr>
                        <a:t>Finalista_regressao</a:t>
                      </a:r>
                      <a:endParaRPr lang="pt-BR" sz="900" b="1" dirty="0">
                        <a:effectLst/>
                      </a:endParaRP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 b="1">
                          <a:effectLst/>
                        </a:rPr>
                        <a:t>P4_BVS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 b="1">
                          <a:effectLst/>
                        </a:rPr>
                        <a:t>SCORE_HSPN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 b="1">
                          <a:effectLst/>
                        </a:rPr>
                        <a:t>QuodScore_v2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5251962"/>
                  </a:ext>
                </a:extLst>
              </a:tr>
              <a:tr h="516542"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 b="1" dirty="0">
                          <a:effectLst/>
                        </a:rPr>
                        <a:t>Decil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pt-BR" sz="900" b="1">
                        <a:effectLst/>
                      </a:endParaRP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pt-BR" sz="900" b="1">
                        <a:effectLst/>
                      </a:endParaRP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pt-BR" sz="900" b="1" dirty="0">
                        <a:effectLst/>
                      </a:endParaRP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pt-BR" sz="900" b="1" dirty="0">
                        <a:effectLst/>
                      </a:endParaRP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pt-BR" sz="900" b="1">
                        <a:effectLst/>
                      </a:endParaRP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pt-BR" sz="900" b="1">
                        <a:effectLst/>
                      </a:endParaRP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pt-BR" sz="900" b="1">
                        <a:effectLst/>
                      </a:endParaRP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pt-BR" sz="900" b="1">
                        <a:effectLst/>
                      </a:endParaRP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pt-BR" sz="900" b="1" dirty="0">
                        <a:effectLst/>
                      </a:endParaRP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pt-BR" sz="900" b="1">
                        <a:effectLst/>
                      </a:endParaRP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pt-BR" sz="900" b="1">
                        <a:effectLst/>
                      </a:endParaRP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pt-BR" sz="900" b="1">
                        <a:effectLst/>
                      </a:endParaRP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13309313"/>
                  </a:ext>
                </a:extLst>
              </a:tr>
              <a:tr h="226893">
                <a:tc>
                  <a:txBody>
                    <a:bodyPr/>
                    <a:lstStyle/>
                    <a:p>
                      <a:pPr fontAlgn="ctr"/>
                      <a:r>
                        <a:rPr lang="pt-BR" sz="900" b="1">
                          <a:effectLst/>
                        </a:rPr>
                        <a:t>0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6.518099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7.128868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6.438999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6.519467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6.426802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6.363281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3.232416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3.006007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6.991277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5.501159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5.261800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4.803437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3948762"/>
                  </a:ext>
                </a:extLst>
              </a:tr>
              <a:tr h="226893">
                <a:tc>
                  <a:txBody>
                    <a:bodyPr/>
                    <a:lstStyle/>
                    <a:p>
                      <a:pPr fontAlgn="ctr"/>
                      <a:r>
                        <a:rPr lang="pt-BR" sz="900" b="1">
                          <a:effectLst/>
                        </a:rPr>
                        <a:t>1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3.572735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3.713288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3.731246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3.755379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3.749184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3.722571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3.247261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2.973784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4.281425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3.612266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3.367092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3.738318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7721275"/>
                  </a:ext>
                </a:extLst>
              </a:tr>
              <a:tr h="226893">
                <a:tc>
                  <a:txBody>
                    <a:bodyPr/>
                    <a:lstStyle/>
                    <a:p>
                      <a:pPr fontAlgn="ctr"/>
                      <a:r>
                        <a:rPr lang="pt-BR" sz="900" b="1">
                          <a:effectLst/>
                        </a:rPr>
                        <a:t>2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3.075031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3.236842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3.031880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3.094075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3.143752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2.984880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944916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2.074364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2.811192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3.317163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3.159111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2.990847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8382756"/>
                  </a:ext>
                </a:extLst>
              </a:tr>
              <a:tr h="226893">
                <a:tc>
                  <a:txBody>
                    <a:bodyPr/>
                    <a:lstStyle/>
                    <a:p>
                      <a:pPr fontAlgn="ctr"/>
                      <a:r>
                        <a:rPr lang="pt-BR" sz="900" b="1">
                          <a:effectLst/>
                        </a:rPr>
                        <a:t>3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2.404810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2.345167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2.389824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2.008292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2.281617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2.426931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343595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292428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2.489897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2.319182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2.593374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2.520787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8704437"/>
                  </a:ext>
                </a:extLst>
              </a:tr>
              <a:tr h="226893">
                <a:tc>
                  <a:txBody>
                    <a:bodyPr/>
                    <a:lstStyle/>
                    <a:p>
                      <a:pPr fontAlgn="ctr"/>
                      <a:r>
                        <a:rPr lang="pt-BR" sz="900" b="1">
                          <a:effectLst/>
                        </a:rPr>
                        <a:t>4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2.047924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793086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817217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892186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775689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865380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0.836273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122422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721889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2.044025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2.083052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2.115637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2901367"/>
                  </a:ext>
                </a:extLst>
              </a:tr>
              <a:tr h="226893">
                <a:tc>
                  <a:txBody>
                    <a:bodyPr/>
                    <a:lstStyle/>
                    <a:p>
                      <a:pPr fontAlgn="ctr"/>
                      <a:r>
                        <a:rPr lang="pt-BR" sz="900" b="1">
                          <a:effectLst/>
                        </a:rPr>
                        <a:t>5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509534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681220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529412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904642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460425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524827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0.782473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0.847679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592274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536458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672060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936919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8723536"/>
                  </a:ext>
                </a:extLst>
              </a:tr>
              <a:tr h="226893">
                <a:tc>
                  <a:txBody>
                    <a:bodyPr/>
                    <a:lstStyle/>
                    <a:p>
                      <a:pPr fontAlgn="ctr"/>
                      <a:r>
                        <a:rPr lang="pt-BR" sz="900" b="1">
                          <a:effectLst/>
                        </a:rPr>
                        <a:t>6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526817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074128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487414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356286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682316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488639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0.572842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0.638769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136067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593372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541933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592027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8049853"/>
                  </a:ext>
                </a:extLst>
              </a:tr>
              <a:tr h="226893">
                <a:tc>
                  <a:txBody>
                    <a:bodyPr/>
                    <a:lstStyle/>
                    <a:p>
                      <a:pPr fontAlgn="ctr"/>
                      <a:r>
                        <a:rPr lang="pt-BR" sz="900" b="1">
                          <a:effectLst/>
                        </a:rPr>
                        <a:t>7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020278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012330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062135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0.969641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004304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173862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0.469851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0.430192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0.926893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185146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343166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144683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4990083"/>
                  </a:ext>
                </a:extLst>
              </a:tr>
              <a:tr h="226893">
                <a:tc>
                  <a:txBody>
                    <a:bodyPr/>
                    <a:lstStyle/>
                    <a:p>
                      <a:pPr fontAlgn="ctr"/>
                      <a:r>
                        <a:rPr lang="pt-BR" sz="900" b="1">
                          <a:effectLst/>
                        </a:rPr>
                        <a:t>8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0.731477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0.629426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0.857415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0.819419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0.871148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0.886109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0.325945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0.391185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0.535458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0.928105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148658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213149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1244789"/>
                  </a:ext>
                </a:extLst>
              </a:tr>
              <a:tr h="226893">
                <a:tc>
                  <a:txBody>
                    <a:bodyPr/>
                    <a:lstStyle/>
                    <a:p>
                      <a:pPr fontAlgn="ctr"/>
                      <a:r>
                        <a:rPr lang="pt-BR" sz="900" b="1">
                          <a:effectLst/>
                        </a:rPr>
                        <a:t>9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0.284772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0.261643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0.413223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 dirty="0">
                          <a:effectLst/>
                        </a:rPr>
                        <a:t>0.463576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0.497969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0.457636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0.143697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0.130617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0.339869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0.796919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0.620298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 dirty="0">
                          <a:effectLst/>
                        </a:rPr>
                        <a:t>0.782881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76405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9440413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ítulo 1">
            <a:extLst>
              <a:ext uri="{FF2B5EF4-FFF2-40B4-BE49-F238E27FC236}">
                <a16:creationId xmlns:a16="http://schemas.microsoft.com/office/drawing/2014/main" id="{87197490-AAFA-412C-8D93-A9D9E6B219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4072" y="411074"/>
            <a:ext cx="8355467" cy="433388"/>
          </a:xfrm>
        </p:spPr>
        <p:txBody>
          <a:bodyPr>
            <a:normAutofit/>
          </a:bodyPr>
          <a:lstStyle/>
          <a:p>
            <a:r>
              <a:rPr lang="pt-BR" sz="2600" dirty="0"/>
              <a:t>Modelo rápido | Decis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7E4615EA-591C-475C-8655-C6CBD5098CD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B06766-DC36-4174-9907-BEF22DE810EF}" type="slidenum">
              <a:rPr lang="pt-BR" smtClean="0"/>
              <a:pPr/>
              <a:t>14</a:t>
            </a:fld>
            <a:r>
              <a:rPr lang="pt-BR"/>
              <a:t> </a:t>
            </a:r>
            <a:endParaRPr lang="pt-BR" dirty="0"/>
          </a:p>
        </p:txBody>
      </p:sp>
      <p:graphicFrame>
        <p:nvGraphicFramePr>
          <p:cNvPr id="6" name="Gráfico 5">
            <a:extLst>
              <a:ext uri="{FF2B5EF4-FFF2-40B4-BE49-F238E27FC236}">
                <a16:creationId xmlns:a16="http://schemas.microsoft.com/office/drawing/2014/main" id="{4625E542-7B24-4FBF-B0B0-AB803DDC93E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60601115"/>
              </p:ext>
            </p:extLst>
          </p:nvPr>
        </p:nvGraphicFramePr>
        <p:xfrm>
          <a:off x="6176682" y="1534714"/>
          <a:ext cx="5974697" cy="37885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Gráfico 6">
            <a:extLst>
              <a:ext uri="{FF2B5EF4-FFF2-40B4-BE49-F238E27FC236}">
                <a16:creationId xmlns:a16="http://schemas.microsoft.com/office/drawing/2014/main" id="{377E3926-F043-4EAA-B5DC-A2501674248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36086899"/>
              </p:ext>
            </p:extLst>
          </p:nvPr>
        </p:nvGraphicFramePr>
        <p:xfrm>
          <a:off x="40621" y="1534714"/>
          <a:ext cx="5974697" cy="37885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66151582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5">
            <a:extLst>
              <a:ext uri="{FF2B5EF4-FFF2-40B4-BE49-F238E27FC236}">
                <a16:creationId xmlns:a16="http://schemas.microsoft.com/office/drawing/2014/main" id="{CCF3633E-F981-48AC-B448-E8D3727CFD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8125" y="2956955"/>
            <a:ext cx="6397088" cy="623018"/>
          </a:xfrm>
        </p:spPr>
        <p:txBody>
          <a:bodyPr>
            <a:normAutofit/>
          </a:bodyPr>
          <a:lstStyle/>
          <a:p>
            <a:r>
              <a:rPr lang="pt-BR" dirty="0"/>
              <a:t>Modelos ML</a:t>
            </a:r>
          </a:p>
        </p:txBody>
      </p:sp>
      <p:sp>
        <p:nvSpPr>
          <p:cNvPr id="13" name="Espaço Reservado para Texto 12">
            <a:extLst>
              <a:ext uri="{FF2B5EF4-FFF2-40B4-BE49-F238E27FC236}">
                <a16:creationId xmlns:a16="http://schemas.microsoft.com/office/drawing/2014/main" id="{9C7E8195-1C3D-4CCA-9D23-573156CD360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88125" y="3586535"/>
            <a:ext cx="2643378" cy="319088"/>
          </a:xfrm>
        </p:spPr>
        <p:txBody>
          <a:bodyPr/>
          <a:lstStyle/>
          <a:p>
            <a:r>
              <a:rPr lang="pt-BR" b="0" dirty="0">
                <a:solidFill>
                  <a:schemeClr val="accent1"/>
                </a:solidFill>
              </a:rPr>
              <a:t>Resultados</a:t>
            </a:r>
          </a:p>
        </p:txBody>
      </p:sp>
    </p:spTree>
    <p:extLst>
      <p:ext uri="{BB962C8B-B14F-4D97-AF65-F5344CB8AC3E}">
        <p14:creationId xmlns:p14="http://schemas.microsoft.com/office/powerpoint/2010/main" val="13088291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EF44573F-A640-4B2B-A215-F2AE2D1B2680}"/>
              </a:ext>
            </a:extLst>
          </p:cNvPr>
          <p:cNvSpPr/>
          <p:nvPr/>
        </p:nvSpPr>
        <p:spPr>
          <a:xfrm>
            <a:off x="509908" y="166460"/>
            <a:ext cx="617590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5A73B8"/>
                </a:solidFill>
                <a:effectLst/>
                <a:uLnTx/>
                <a:uFillTx/>
                <a:latin typeface="Agency FB" panose="020B0503020202020204" pitchFamily="34" charset="0"/>
                <a:ea typeface="+mn-ea"/>
                <a:cs typeface="+mn-cs"/>
              </a:rPr>
              <a:t>XXXX</a:t>
            </a: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srgbClr val="5A73B8"/>
              </a:solidFill>
              <a:effectLst/>
              <a:uLnTx/>
              <a:uFillTx/>
              <a:latin typeface="Agency FB" panose="020B0503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200" b="0" i="0" u="none" strike="noStrike" kern="1200" cap="none" spc="0" normalizeH="0" baseline="0" noProof="0" dirty="0">
              <a:ln>
                <a:noFill/>
              </a:ln>
              <a:solidFill>
                <a:srgbClr val="5A73B8"/>
              </a:solidFill>
              <a:effectLst/>
              <a:uLnTx/>
              <a:uFillTx/>
              <a:latin typeface="Agency FB" panose="020B0503020202020204" pitchFamily="34" charset="0"/>
              <a:ea typeface="+mn-ea"/>
              <a:cs typeface="+mn-cs"/>
            </a:endParaRPr>
          </a:p>
        </p:txBody>
      </p:sp>
      <p:pic>
        <p:nvPicPr>
          <p:cNvPr id="6" name="Gráfico 5">
            <a:extLst>
              <a:ext uri="{FF2B5EF4-FFF2-40B4-BE49-F238E27FC236}">
                <a16:creationId xmlns:a16="http://schemas.microsoft.com/office/drawing/2014/main" id="{5176D66D-7EDE-4CDF-B531-E12EBA52445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8247" y="156365"/>
            <a:ext cx="376664" cy="548704"/>
          </a:xfrm>
          <a:prstGeom prst="rect">
            <a:avLst/>
          </a:prstGeom>
        </p:spPr>
      </p:pic>
      <p:sp>
        <p:nvSpPr>
          <p:cNvPr id="4" name="Título 1">
            <a:extLst>
              <a:ext uri="{FF2B5EF4-FFF2-40B4-BE49-F238E27FC236}">
                <a16:creationId xmlns:a16="http://schemas.microsoft.com/office/drawing/2014/main" id="{A5CEBF34-6CD8-443E-9272-6014F562C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4072" y="411074"/>
            <a:ext cx="8355467" cy="433388"/>
          </a:xfrm>
        </p:spPr>
        <p:txBody>
          <a:bodyPr>
            <a:normAutofit/>
          </a:bodyPr>
          <a:lstStyle/>
          <a:p>
            <a:r>
              <a:rPr lang="pt-BR" sz="2600" dirty="0"/>
              <a:t>Escopo de estudo</a:t>
            </a:r>
          </a:p>
        </p:txBody>
      </p:sp>
      <p:sp>
        <p:nvSpPr>
          <p:cNvPr id="2" name="Retângulo: Cantos Arredondados 1">
            <a:extLst>
              <a:ext uri="{FF2B5EF4-FFF2-40B4-BE49-F238E27FC236}">
                <a16:creationId xmlns:a16="http://schemas.microsoft.com/office/drawing/2014/main" id="{6855FEDE-6737-4BE2-A667-34F6873F17C5}"/>
              </a:ext>
            </a:extLst>
          </p:cNvPr>
          <p:cNvSpPr/>
          <p:nvPr/>
        </p:nvSpPr>
        <p:spPr>
          <a:xfrm>
            <a:off x="509908" y="1419879"/>
            <a:ext cx="1093156" cy="935339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600" dirty="0"/>
              <a:t>02</a:t>
            </a:r>
            <a:endParaRPr lang="pt-BR" dirty="0"/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8ACF9B60-1EF9-4519-AA59-6889D9BC73CF}"/>
              </a:ext>
            </a:extLst>
          </p:cNvPr>
          <p:cNvSpPr txBox="1"/>
          <p:nvPr/>
        </p:nvSpPr>
        <p:spPr>
          <a:xfrm>
            <a:off x="1728809" y="1702883"/>
            <a:ext cx="25046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Tipos de públicos</a:t>
            </a:r>
          </a:p>
        </p:txBody>
      </p:sp>
      <p:sp>
        <p:nvSpPr>
          <p:cNvPr id="11" name="Retângulo: Cantos Arredondados 10">
            <a:extLst>
              <a:ext uri="{FF2B5EF4-FFF2-40B4-BE49-F238E27FC236}">
                <a16:creationId xmlns:a16="http://schemas.microsoft.com/office/drawing/2014/main" id="{7CD54C39-3973-45A3-B3F8-4A8D3A7A45D8}"/>
              </a:ext>
            </a:extLst>
          </p:cNvPr>
          <p:cNvSpPr/>
          <p:nvPr/>
        </p:nvSpPr>
        <p:spPr>
          <a:xfrm>
            <a:off x="512016" y="2816289"/>
            <a:ext cx="1091050" cy="930086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600" dirty="0"/>
              <a:t>02</a:t>
            </a:r>
            <a:endParaRPr lang="pt-BR" dirty="0"/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5FC9445E-21C7-4A09-914E-F398DB0CE66D}"/>
              </a:ext>
            </a:extLst>
          </p:cNvPr>
          <p:cNvSpPr txBox="1"/>
          <p:nvPr/>
        </p:nvSpPr>
        <p:spPr>
          <a:xfrm>
            <a:off x="1729108" y="3039036"/>
            <a:ext cx="250466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Tipos de otimização de </a:t>
            </a:r>
            <a:r>
              <a:rPr lang="pt-BR" dirty="0" err="1"/>
              <a:t>hiperparâmetros</a:t>
            </a:r>
            <a:endParaRPr lang="pt-BR" dirty="0"/>
          </a:p>
        </p:txBody>
      </p:sp>
      <p:cxnSp>
        <p:nvCxnSpPr>
          <p:cNvPr id="13" name="Conector de Seta Reta 12">
            <a:extLst>
              <a:ext uri="{FF2B5EF4-FFF2-40B4-BE49-F238E27FC236}">
                <a16:creationId xmlns:a16="http://schemas.microsoft.com/office/drawing/2014/main" id="{EC75221A-3F0A-46D0-B4EB-9132E2B9E969}"/>
              </a:ext>
            </a:extLst>
          </p:cNvPr>
          <p:cNvCxnSpPr>
            <a:cxnSpLocks/>
          </p:cNvCxnSpPr>
          <p:nvPr/>
        </p:nvCxnSpPr>
        <p:spPr>
          <a:xfrm>
            <a:off x="4015409" y="1887549"/>
            <a:ext cx="84813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0E0EB9A7-5DFD-448E-80FB-1EF8D1C2026F}"/>
              </a:ext>
            </a:extLst>
          </p:cNvPr>
          <p:cNvSpPr txBox="1"/>
          <p:nvPr/>
        </p:nvSpPr>
        <p:spPr>
          <a:xfrm>
            <a:off x="4989293" y="1669162"/>
            <a:ext cx="27695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Cliente e Não clientes</a:t>
            </a:r>
          </a:p>
        </p:txBody>
      </p:sp>
      <p:sp>
        <p:nvSpPr>
          <p:cNvPr id="21" name="Retângulo: Cantos Arredondados 20">
            <a:extLst>
              <a:ext uri="{FF2B5EF4-FFF2-40B4-BE49-F238E27FC236}">
                <a16:creationId xmlns:a16="http://schemas.microsoft.com/office/drawing/2014/main" id="{AE0D0282-AAC0-4EB7-B465-794937C2EFE4}"/>
              </a:ext>
            </a:extLst>
          </p:cNvPr>
          <p:cNvSpPr/>
          <p:nvPr/>
        </p:nvSpPr>
        <p:spPr>
          <a:xfrm>
            <a:off x="9434946" y="2356665"/>
            <a:ext cx="1544480" cy="1389710"/>
          </a:xfrm>
          <a:prstGeom prst="roundRect">
            <a:avLst/>
          </a:prstGeom>
          <a:solidFill>
            <a:schemeClr val="accent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4800" dirty="0"/>
              <a:t>48</a:t>
            </a:r>
            <a:endParaRPr lang="pt-BR" dirty="0"/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ACB817B4-BA8A-47A0-AF86-02211D80C447}"/>
              </a:ext>
            </a:extLst>
          </p:cNvPr>
          <p:cNvSpPr txBox="1"/>
          <p:nvPr/>
        </p:nvSpPr>
        <p:spPr>
          <a:xfrm>
            <a:off x="8863597" y="3871014"/>
            <a:ext cx="28495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/>
              <a:t>Modelos testados</a:t>
            </a:r>
          </a:p>
        </p:txBody>
      </p:sp>
      <p:cxnSp>
        <p:nvCxnSpPr>
          <p:cNvPr id="25" name="Conector: Curvo 24">
            <a:extLst>
              <a:ext uri="{FF2B5EF4-FFF2-40B4-BE49-F238E27FC236}">
                <a16:creationId xmlns:a16="http://schemas.microsoft.com/office/drawing/2014/main" id="{DF99BD89-9332-485C-876A-4A1B1CF3B98E}"/>
              </a:ext>
            </a:extLst>
          </p:cNvPr>
          <p:cNvCxnSpPr>
            <a:cxnSpLocks/>
            <a:stCxn id="28" idx="3"/>
            <a:endCxn id="21" idx="1"/>
          </p:cNvCxnSpPr>
          <p:nvPr/>
        </p:nvCxnSpPr>
        <p:spPr>
          <a:xfrm flipV="1">
            <a:off x="7758851" y="3051520"/>
            <a:ext cx="1676095" cy="426742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CaixaDeTexto 27">
            <a:extLst>
              <a:ext uri="{FF2B5EF4-FFF2-40B4-BE49-F238E27FC236}">
                <a16:creationId xmlns:a16="http://schemas.microsoft.com/office/drawing/2014/main" id="{A0EC5504-0AEA-4331-B0EF-6630BD67E4AB}"/>
              </a:ext>
            </a:extLst>
          </p:cNvPr>
          <p:cNvSpPr txBox="1"/>
          <p:nvPr/>
        </p:nvSpPr>
        <p:spPr>
          <a:xfrm>
            <a:off x="4989293" y="3155096"/>
            <a:ext cx="27695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Busca em grade e Otimização Bayesiana</a:t>
            </a:r>
          </a:p>
        </p:txBody>
      </p:sp>
      <p:cxnSp>
        <p:nvCxnSpPr>
          <p:cNvPr id="30" name="Conector: Curvo 29">
            <a:extLst>
              <a:ext uri="{FF2B5EF4-FFF2-40B4-BE49-F238E27FC236}">
                <a16:creationId xmlns:a16="http://schemas.microsoft.com/office/drawing/2014/main" id="{CAE4FAC4-6BD8-4D44-A82C-8DB5685F391F}"/>
              </a:ext>
            </a:extLst>
          </p:cNvPr>
          <p:cNvCxnSpPr>
            <a:cxnSpLocks/>
            <a:stCxn id="15" idx="3"/>
            <a:endCxn id="21" idx="1"/>
          </p:cNvCxnSpPr>
          <p:nvPr/>
        </p:nvCxnSpPr>
        <p:spPr>
          <a:xfrm>
            <a:off x="7758851" y="1853828"/>
            <a:ext cx="1676095" cy="1197692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3" name="Retângulo: Cantos Arredondados 32">
            <a:extLst>
              <a:ext uri="{FF2B5EF4-FFF2-40B4-BE49-F238E27FC236}">
                <a16:creationId xmlns:a16="http://schemas.microsoft.com/office/drawing/2014/main" id="{04D83CD6-18B4-4D1B-A154-85CC182D41C7}"/>
              </a:ext>
            </a:extLst>
          </p:cNvPr>
          <p:cNvSpPr/>
          <p:nvPr/>
        </p:nvSpPr>
        <p:spPr>
          <a:xfrm>
            <a:off x="509909" y="4147826"/>
            <a:ext cx="1091050" cy="928781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600" dirty="0"/>
              <a:t>03</a:t>
            </a:r>
            <a:endParaRPr lang="pt-BR" dirty="0"/>
          </a:p>
        </p:txBody>
      </p:sp>
      <p:sp>
        <p:nvSpPr>
          <p:cNvPr id="34" name="CaixaDeTexto 33">
            <a:extLst>
              <a:ext uri="{FF2B5EF4-FFF2-40B4-BE49-F238E27FC236}">
                <a16:creationId xmlns:a16="http://schemas.microsoft.com/office/drawing/2014/main" id="{E577D0BD-DFE7-4897-AE92-8EDF8D23AAC4}"/>
              </a:ext>
            </a:extLst>
          </p:cNvPr>
          <p:cNvSpPr txBox="1"/>
          <p:nvPr/>
        </p:nvSpPr>
        <p:spPr>
          <a:xfrm>
            <a:off x="1656222" y="4501769"/>
            <a:ext cx="25046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Escopos de variáveis</a:t>
            </a:r>
          </a:p>
        </p:txBody>
      </p:sp>
      <p:sp>
        <p:nvSpPr>
          <p:cNvPr id="35" name="Retângulo: Cantos Arredondados 34">
            <a:extLst>
              <a:ext uri="{FF2B5EF4-FFF2-40B4-BE49-F238E27FC236}">
                <a16:creationId xmlns:a16="http://schemas.microsoft.com/office/drawing/2014/main" id="{7908963F-9011-401E-96B3-B6C0D5336291}"/>
              </a:ext>
            </a:extLst>
          </p:cNvPr>
          <p:cNvSpPr/>
          <p:nvPr/>
        </p:nvSpPr>
        <p:spPr>
          <a:xfrm>
            <a:off x="509908" y="5475823"/>
            <a:ext cx="1146314" cy="928781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600" dirty="0"/>
              <a:t>04</a:t>
            </a:r>
            <a:endParaRPr lang="pt-BR" dirty="0"/>
          </a:p>
        </p:txBody>
      </p: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86B74DD5-3AB7-4BF2-BC12-3820D85413B0}"/>
              </a:ext>
            </a:extLst>
          </p:cNvPr>
          <p:cNvSpPr txBox="1"/>
          <p:nvPr/>
        </p:nvSpPr>
        <p:spPr>
          <a:xfrm>
            <a:off x="1729108" y="5697865"/>
            <a:ext cx="250466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Tipos de modelo de ML classificatório</a:t>
            </a:r>
          </a:p>
        </p:txBody>
      </p:sp>
      <p:cxnSp>
        <p:nvCxnSpPr>
          <p:cNvPr id="37" name="Conector de Seta Reta 36">
            <a:extLst>
              <a:ext uri="{FF2B5EF4-FFF2-40B4-BE49-F238E27FC236}">
                <a16:creationId xmlns:a16="http://schemas.microsoft.com/office/drawing/2014/main" id="{B68A7324-F6B3-4186-B85F-C8D59DAEF058}"/>
              </a:ext>
            </a:extLst>
          </p:cNvPr>
          <p:cNvCxnSpPr>
            <a:cxnSpLocks/>
          </p:cNvCxnSpPr>
          <p:nvPr/>
        </p:nvCxnSpPr>
        <p:spPr>
          <a:xfrm>
            <a:off x="4041463" y="3429000"/>
            <a:ext cx="84813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Conector de Seta Reta 39">
            <a:extLst>
              <a:ext uri="{FF2B5EF4-FFF2-40B4-BE49-F238E27FC236}">
                <a16:creationId xmlns:a16="http://schemas.microsoft.com/office/drawing/2014/main" id="{47BBCF02-35D3-4072-8785-FA35BBB70EE3}"/>
              </a:ext>
            </a:extLst>
          </p:cNvPr>
          <p:cNvCxnSpPr>
            <a:cxnSpLocks/>
          </p:cNvCxnSpPr>
          <p:nvPr/>
        </p:nvCxnSpPr>
        <p:spPr>
          <a:xfrm>
            <a:off x="4041463" y="4676496"/>
            <a:ext cx="84813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1" name="CaixaDeTexto 40">
            <a:extLst>
              <a:ext uri="{FF2B5EF4-FFF2-40B4-BE49-F238E27FC236}">
                <a16:creationId xmlns:a16="http://schemas.microsoft.com/office/drawing/2014/main" id="{CE32EE5F-5121-441A-93C3-699EC45E70FA}"/>
              </a:ext>
            </a:extLst>
          </p:cNvPr>
          <p:cNvSpPr txBox="1"/>
          <p:nvPr/>
        </p:nvSpPr>
        <p:spPr>
          <a:xfrm>
            <a:off x="4989292" y="4372482"/>
            <a:ext cx="28692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Restrito, aberto e aberto contínuo</a:t>
            </a:r>
          </a:p>
        </p:txBody>
      </p:sp>
      <p:sp>
        <p:nvSpPr>
          <p:cNvPr id="42" name="CaixaDeTexto 41">
            <a:extLst>
              <a:ext uri="{FF2B5EF4-FFF2-40B4-BE49-F238E27FC236}">
                <a16:creationId xmlns:a16="http://schemas.microsoft.com/office/drawing/2014/main" id="{08A8286A-441F-474E-B1AC-5B90A9E4DB59}"/>
              </a:ext>
            </a:extLst>
          </p:cNvPr>
          <p:cNvSpPr txBox="1"/>
          <p:nvPr/>
        </p:nvSpPr>
        <p:spPr>
          <a:xfrm>
            <a:off x="4989293" y="5691266"/>
            <a:ext cx="29689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err="1"/>
              <a:t>AdaBoost</a:t>
            </a:r>
            <a:r>
              <a:rPr lang="pt-BR" dirty="0"/>
              <a:t>, </a:t>
            </a:r>
            <a:r>
              <a:rPr lang="pt-BR" dirty="0" err="1"/>
              <a:t>LightGBM</a:t>
            </a:r>
            <a:r>
              <a:rPr lang="pt-BR" dirty="0"/>
              <a:t>, </a:t>
            </a:r>
            <a:r>
              <a:rPr lang="pt-BR" dirty="0" err="1"/>
              <a:t>Random</a:t>
            </a:r>
            <a:r>
              <a:rPr lang="pt-BR" dirty="0"/>
              <a:t> Forest e </a:t>
            </a:r>
            <a:r>
              <a:rPr lang="pt-BR" dirty="0" err="1"/>
              <a:t>XgBoost</a:t>
            </a:r>
            <a:endParaRPr lang="pt-BR" dirty="0"/>
          </a:p>
        </p:txBody>
      </p:sp>
      <p:cxnSp>
        <p:nvCxnSpPr>
          <p:cNvPr id="43" name="Conector de Seta Reta 42">
            <a:extLst>
              <a:ext uri="{FF2B5EF4-FFF2-40B4-BE49-F238E27FC236}">
                <a16:creationId xmlns:a16="http://schemas.microsoft.com/office/drawing/2014/main" id="{E686C3E9-F15A-43AC-AC50-3BD098212C42}"/>
              </a:ext>
            </a:extLst>
          </p:cNvPr>
          <p:cNvCxnSpPr>
            <a:cxnSpLocks/>
          </p:cNvCxnSpPr>
          <p:nvPr/>
        </p:nvCxnSpPr>
        <p:spPr>
          <a:xfrm>
            <a:off x="4041463" y="6006284"/>
            <a:ext cx="84813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Conector: Curvo 44">
            <a:extLst>
              <a:ext uri="{FF2B5EF4-FFF2-40B4-BE49-F238E27FC236}">
                <a16:creationId xmlns:a16="http://schemas.microsoft.com/office/drawing/2014/main" id="{329A3BA8-B5DF-410F-843E-3C0785AB6D42}"/>
              </a:ext>
            </a:extLst>
          </p:cNvPr>
          <p:cNvCxnSpPr>
            <a:cxnSpLocks/>
            <a:stCxn id="41" idx="3"/>
            <a:endCxn id="21" idx="1"/>
          </p:cNvCxnSpPr>
          <p:nvPr/>
        </p:nvCxnSpPr>
        <p:spPr>
          <a:xfrm flipV="1">
            <a:off x="7858541" y="3051520"/>
            <a:ext cx="1576405" cy="1644128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Conector: Curvo 47">
            <a:extLst>
              <a:ext uri="{FF2B5EF4-FFF2-40B4-BE49-F238E27FC236}">
                <a16:creationId xmlns:a16="http://schemas.microsoft.com/office/drawing/2014/main" id="{BB7CA79C-98C0-4758-B107-550F5B8BA092}"/>
              </a:ext>
            </a:extLst>
          </p:cNvPr>
          <p:cNvCxnSpPr>
            <a:cxnSpLocks/>
            <a:stCxn id="42" idx="3"/>
            <a:endCxn id="21" idx="1"/>
          </p:cNvCxnSpPr>
          <p:nvPr/>
        </p:nvCxnSpPr>
        <p:spPr>
          <a:xfrm flipV="1">
            <a:off x="7958233" y="3051520"/>
            <a:ext cx="1476713" cy="2962912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6" name="Sinal de Multiplicação 55">
            <a:extLst>
              <a:ext uri="{FF2B5EF4-FFF2-40B4-BE49-F238E27FC236}">
                <a16:creationId xmlns:a16="http://schemas.microsoft.com/office/drawing/2014/main" id="{B5D7B9ED-2AB9-4456-8B20-74921E995F93}"/>
              </a:ext>
            </a:extLst>
          </p:cNvPr>
          <p:cNvSpPr/>
          <p:nvPr/>
        </p:nvSpPr>
        <p:spPr>
          <a:xfrm>
            <a:off x="953630" y="2518171"/>
            <a:ext cx="225738" cy="199505"/>
          </a:xfrm>
          <a:prstGeom prst="mathMultiply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8" name="Sinal de Multiplicação 57">
            <a:extLst>
              <a:ext uri="{FF2B5EF4-FFF2-40B4-BE49-F238E27FC236}">
                <a16:creationId xmlns:a16="http://schemas.microsoft.com/office/drawing/2014/main" id="{B9929BA6-1F82-4923-9B32-232A19EA027E}"/>
              </a:ext>
            </a:extLst>
          </p:cNvPr>
          <p:cNvSpPr/>
          <p:nvPr/>
        </p:nvSpPr>
        <p:spPr>
          <a:xfrm>
            <a:off x="953630" y="5176462"/>
            <a:ext cx="225738" cy="199505"/>
          </a:xfrm>
          <a:prstGeom prst="mathMultiply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9" name="Sinal de Multiplicação 58">
            <a:extLst>
              <a:ext uri="{FF2B5EF4-FFF2-40B4-BE49-F238E27FC236}">
                <a16:creationId xmlns:a16="http://schemas.microsoft.com/office/drawing/2014/main" id="{BDF5F8D6-54A3-48DE-8DB2-3CD3A545D06A}"/>
              </a:ext>
            </a:extLst>
          </p:cNvPr>
          <p:cNvSpPr/>
          <p:nvPr/>
        </p:nvSpPr>
        <p:spPr>
          <a:xfrm>
            <a:off x="942565" y="3844988"/>
            <a:ext cx="225738" cy="199505"/>
          </a:xfrm>
          <a:prstGeom prst="mathMultiply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8329873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ítulo 1">
            <a:extLst>
              <a:ext uri="{FF2B5EF4-FFF2-40B4-BE49-F238E27FC236}">
                <a16:creationId xmlns:a16="http://schemas.microsoft.com/office/drawing/2014/main" id="{87197490-AAFA-412C-8D93-A9D9E6B219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4072" y="411074"/>
            <a:ext cx="8355467" cy="433388"/>
          </a:xfrm>
        </p:spPr>
        <p:txBody>
          <a:bodyPr>
            <a:normAutofit/>
          </a:bodyPr>
          <a:lstStyle/>
          <a:p>
            <a:r>
              <a:rPr lang="pt-BR" sz="2600" dirty="0"/>
              <a:t>Modelo rápido | Delineamento de escopo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7E4615EA-591C-475C-8655-C6CBD5098CD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B06766-DC36-4174-9907-BEF22DE810EF}" type="slidenum">
              <a:rPr lang="pt-BR" smtClean="0"/>
              <a:pPr/>
              <a:t>17</a:t>
            </a:fld>
            <a:r>
              <a:rPr lang="pt-BR"/>
              <a:t> </a:t>
            </a:r>
            <a:endParaRPr lang="pt-BR" dirty="0"/>
          </a:p>
        </p:txBody>
      </p:sp>
      <p:cxnSp>
        <p:nvCxnSpPr>
          <p:cNvPr id="11" name="Conector de Seta Reta 10">
            <a:extLst>
              <a:ext uri="{FF2B5EF4-FFF2-40B4-BE49-F238E27FC236}">
                <a16:creationId xmlns:a16="http://schemas.microsoft.com/office/drawing/2014/main" id="{C8CD9C74-D6A2-4854-AB24-BAC033DC9822}"/>
              </a:ext>
            </a:extLst>
          </p:cNvPr>
          <p:cNvCxnSpPr>
            <a:cxnSpLocks/>
          </p:cNvCxnSpPr>
          <p:nvPr/>
        </p:nvCxnSpPr>
        <p:spPr>
          <a:xfrm flipH="1">
            <a:off x="2137498" y="2260302"/>
            <a:ext cx="1" cy="98683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Conector de Seta Reta 45">
            <a:extLst>
              <a:ext uri="{FF2B5EF4-FFF2-40B4-BE49-F238E27FC236}">
                <a16:creationId xmlns:a16="http://schemas.microsoft.com/office/drawing/2014/main" id="{E3698769-9FC9-446A-ADFC-F92AE71AC9CC}"/>
              </a:ext>
            </a:extLst>
          </p:cNvPr>
          <p:cNvCxnSpPr>
            <a:cxnSpLocks/>
          </p:cNvCxnSpPr>
          <p:nvPr/>
        </p:nvCxnSpPr>
        <p:spPr>
          <a:xfrm flipH="1">
            <a:off x="5983356" y="2260651"/>
            <a:ext cx="1" cy="98683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Conector de Seta Reta 46">
            <a:extLst>
              <a:ext uri="{FF2B5EF4-FFF2-40B4-BE49-F238E27FC236}">
                <a16:creationId xmlns:a16="http://schemas.microsoft.com/office/drawing/2014/main" id="{1BE74317-D8F7-4E38-8D84-02C48A84B888}"/>
              </a:ext>
            </a:extLst>
          </p:cNvPr>
          <p:cNvCxnSpPr>
            <a:cxnSpLocks/>
          </p:cNvCxnSpPr>
          <p:nvPr/>
        </p:nvCxnSpPr>
        <p:spPr>
          <a:xfrm flipH="1">
            <a:off x="9829216" y="2239088"/>
            <a:ext cx="1" cy="100805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Retângulo: Cantos Arredondados 11">
            <a:extLst>
              <a:ext uri="{FF2B5EF4-FFF2-40B4-BE49-F238E27FC236}">
                <a16:creationId xmlns:a16="http://schemas.microsoft.com/office/drawing/2014/main" id="{35BE1A8F-1D37-4AA5-BE78-F2974D44F79D}"/>
              </a:ext>
            </a:extLst>
          </p:cNvPr>
          <p:cNvSpPr/>
          <p:nvPr/>
        </p:nvSpPr>
        <p:spPr>
          <a:xfrm>
            <a:off x="889536" y="3428998"/>
            <a:ext cx="2771652" cy="1676213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pt-BR" sz="1400" b="1" dirty="0"/>
          </a:p>
          <a:p>
            <a:r>
              <a:rPr lang="pt-BR" sz="1400" b="1" dirty="0"/>
              <a:t>Variáveis finalistas do blend</a:t>
            </a:r>
            <a:r>
              <a:rPr lang="pt-BR" sz="1400" dirty="0"/>
              <a:t> (</a:t>
            </a:r>
            <a:r>
              <a:rPr lang="pt-BR" sz="1400" dirty="0" err="1"/>
              <a:t>WoE_score_ajust</a:t>
            </a:r>
            <a:r>
              <a:rPr lang="pt-BR" sz="1400" dirty="0"/>
              <a:t>, WoE_PF_CP_VOL04_PF,</a:t>
            </a:r>
          </a:p>
          <a:p>
            <a:r>
              <a:rPr lang="pt-BR" sz="1400" dirty="0"/>
              <a:t>P4_BVS, QuodScore_v2, SCORE_HSPN)</a:t>
            </a:r>
          </a:p>
          <a:p>
            <a:endParaRPr lang="pt-BR" dirty="0"/>
          </a:p>
        </p:txBody>
      </p:sp>
      <p:sp>
        <p:nvSpPr>
          <p:cNvPr id="49" name="CaixaDeTexto 48">
            <a:extLst>
              <a:ext uri="{FF2B5EF4-FFF2-40B4-BE49-F238E27FC236}">
                <a16:creationId xmlns:a16="http://schemas.microsoft.com/office/drawing/2014/main" id="{22B8E982-E1D1-4D7A-9936-B29641A0F968}"/>
              </a:ext>
            </a:extLst>
          </p:cNvPr>
          <p:cNvSpPr txBox="1"/>
          <p:nvPr/>
        </p:nvSpPr>
        <p:spPr>
          <a:xfrm>
            <a:off x="1529904" y="1843542"/>
            <a:ext cx="1215188" cy="33855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sz="1600" b="1" dirty="0"/>
              <a:t>Restrito</a:t>
            </a:r>
          </a:p>
        </p:txBody>
      </p:sp>
      <p:sp>
        <p:nvSpPr>
          <p:cNvPr id="50" name="CaixaDeTexto 49">
            <a:extLst>
              <a:ext uri="{FF2B5EF4-FFF2-40B4-BE49-F238E27FC236}">
                <a16:creationId xmlns:a16="http://schemas.microsoft.com/office/drawing/2014/main" id="{19AFD046-D234-4F0C-82E2-4632C3B9C379}"/>
              </a:ext>
            </a:extLst>
          </p:cNvPr>
          <p:cNvSpPr txBox="1"/>
          <p:nvPr/>
        </p:nvSpPr>
        <p:spPr>
          <a:xfrm>
            <a:off x="5375762" y="1843542"/>
            <a:ext cx="1215188" cy="33855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sz="1600" b="1" dirty="0"/>
              <a:t>Aberto</a:t>
            </a:r>
          </a:p>
        </p:txBody>
      </p:sp>
      <p:sp>
        <p:nvSpPr>
          <p:cNvPr id="51" name="CaixaDeTexto 50">
            <a:extLst>
              <a:ext uri="{FF2B5EF4-FFF2-40B4-BE49-F238E27FC236}">
                <a16:creationId xmlns:a16="http://schemas.microsoft.com/office/drawing/2014/main" id="{663EF0E1-B3AE-4DA7-B263-E8539A6E45E7}"/>
              </a:ext>
            </a:extLst>
          </p:cNvPr>
          <p:cNvSpPr txBox="1"/>
          <p:nvPr/>
        </p:nvSpPr>
        <p:spPr>
          <a:xfrm>
            <a:off x="9221621" y="1843542"/>
            <a:ext cx="1215188" cy="33855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sz="1600" b="1" dirty="0"/>
              <a:t>Contínuo</a:t>
            </a:r>
          </a:p>
        </p:txBody>
      </p:sp>
      <p:sp>
        <p:nvSpPr>
          <p:cNvPr id="53" name="Retângulo: Cantos Arredondados 52">
            <a:extLst>
              <a:ext uri="{FF2B5EF4-FFF2-40B4-BE49-F238E27FC236}">
                <a16:creationId xmlns:a16="http://schemas.microsoft.com/office/drawing/2014/main" id="{6DB2E104-1DB3-4ECB-AB50-07EFAC7F9726}"/>
              </a:ext>
            </a:extLst>
          </p:cNvPr>
          <p:cNvSpPr/>
          <p:nvPr/>
        </p:nvSpPr>
        <p:spPr>
          <a:xfrm>
            <a:off x="4710174" y="3428998"/>
            <a:ext cx="2771652" cy="1676213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1400" b="1" dirty="0"/>
              <a:t>Variáveis do escopo restrito + todos os indicadores Quod PF (</a:t>
            </a:r>
            <a:r>
              <a:rPr lang="pt-BR" sz="1400" b="1" dirty="0" err="1"/>
              <a:t>WoE</a:t>
            </a:r>
            <a:r>
              <a:rPr lang="pt-BR" sz="1400" b="1" dirty="0"/>
              <a:t>)</a:t>
            </a:r>
          </a:p>
          <a:p>
            <a:endParaRPr lang="pt-BR" sz="1400" b="1" dirty="0"/>
          </a:p>
        </p:txBody>
      </p:sp>
      <p:sp>
        <p:nvSpPr>
          <p:cNvPr id="54" name="Retângulo: Cantos Arredondados 53">
            <a:extLst>
              <a:ext uri="{FF2B5EF4-FFF2-40B4-BE49-F238E27FC236}">
                <a16:creationId xmlns:a16="http://schemas.microsoft.com/office/drawing/2014/main" id="{47F098E7-84D4-43D1-898B-B5A8AE559CE5}"/>
              </a:ext>
            </a:extLst>
          </p:cNvPr>
          <p:cNvSpPr/>
          <p:nvPr/>
        </p:nvSpPr>
        <p:spPr>
          <a:xfrm>
            <a:off x="8530812" y="3428998"/>
            <a:ext cx="2771652" cy="1676213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1400" b="1" dirty="0"/>
              <a:t>Variáveis do escopo restrito + todos os indicadores Quod PF (Sem categorização)</a:t>
            </a:r>
          </a:p>
          <a:p>
            <a:pPr algn="ctr"/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7512015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ítulo 1">
            <a:extLst>
              <a:ext uri="{FF2B5EF4-FFF2-40B4-BE49-F238E27FC236}">
                <a16:creationId xmlns:a16="http://schemas.microsoft.com/office/drawing/2014/main" id="{87197490-AAFA-412C-8D93-A9D9E6B219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4072" y="411074"/>
            <a:ext cx="8355467" cy="433388"/>
          </a:xfrm>
        </p:spPr>
        <p:txBody>
          <a:bodyPr>
            <a:normAutofit/>
          </a:bodyPr>
          <a:lstStyle/>
          <a:p>
            <a:r>
              <a:rPr lang="pt-BR" sz="2300" dirty="0"/>
              <a:t>Modelo rápido | Ordenação </a:t>
            </a:r>
            <a:r>
              <a:rPr lang="pt-BR" sz="2300" dirty="0" err="1"/>
              <a:t>inad</a:t>
            </a:r>
            <a:r>
              <a:rPr lang="pt-BR" sz="2300" dirty="0"/>
              <a:t> por decil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7E4615EA-591C-475C-8655-C6CBD5098CD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B06766-DC36-4174-9907-BEF22DE810EF}" type="slidenum">
              <a:rPr lang="pt-BR" smtClean="0"/>
              <a:pPr/>
              <a:t>18</a:t>
            </a:fld>
            <a:r>
              <a:rPr lang="pt-BR"/>
              <a:t> </a:t>
            </a:r>
            <a:endParaRPr lang="pt-BR" dirty="0"/>
          </a:p>
        </p:txBody>
      </p:sp>
      <p:sp>
        <p:nvSpPr>
          <p:cNvPr id="9" name="AutoShape 4">
            <a:extLst>
              <a:ext uri="{FF2B5EF4-FFF2-40B4-BE49-F238E27FC236}">
                <a16:creationId xmlns:a16="http://schemas.microsoft.com/office/drawing/2014/main" id="{255BC54D-AA8C-410A-BDA5-0C87C00348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710577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11" name="Imagem 10" descr="Gráfico, Gráfico de linhas&#10;&#10;Descrição gerada automaticamente">
            <a:extLst>
              <a:ext uri="{FF2B5EF4-FFF2-40B4-BE49-F238E27FC236}">
                <a16:creationId xmlns:a16="http://schemas.microsoft.com/office/drawing/2014/main" id="{FE618C62-31D1-4F2A-BB1E-F0212DC5BF2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6225" y="2200555"/>
            <a:ext cx="6055778" cy="3663398"/>
          </a:xfrm>
          <a:prstGeom prst="rect">
            <a:avLst/>
          </a:prstGeom>
        </p:spPr>
      </p:pic>
      <p:sp>
        <p:nvSpPr>
          <p:cNvPr id="13" name="CaixaDeTexto 12">
            <a:extLst>
              <a:ext uri="{FF2B5EF4-FFF2-40B4-BE49-F238E27FC236}">
                <a16:creationId xmlns:a16="http://schemas.microsoft.com/office/drawing/2014/main" id="{51C0E87B-7E88-4F1A-8547-054FE874C673}"/>
              </a:ext>
            </a:extLst>
          </p:cNvPr>
          <p:cNvSpPr txBox="1"/>
          <p:nvPr/>
        </p:nvSpPr>
        <p:spPr>
          <a:xfrm>
            <a:off x="8254230" y="1692723"/>
            <a:ext cx="1819767" cy="33855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sz="1600" b="1" dirty="0"/>
              <a:t>Clientes</a:t>
            </a:r>
          </a:p>
        </p:txBody>
      </p:sp>
      <p:pic>
        <p:nvPicPr>
          <p:cNvPr id="15" name="Imagem 14">
            <a:extLst>
              <a:ext uri="{FF2B5EF4-FFF2-40B4-BE49-F238E27FC236}">
                <a16:creationId xmlns:a16="http://schemas.microsoft.com/office/drawing/2014/main" id="{80EE5B52-3578-4F7E-9846-2F112C60615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168376"/>
            <a:ext cx="6055778" cy="3695577"/>
          </a:xfrm>
          <a:prstGeom prst="rect">
            <a:avLst/>
          </a:prstGeom>
        </p:spPr>
      </p:pic>
      <p:sp>
        <p:nvSpPr>
          <p:cNvPr id="17" name="CaixaDeTexto 16">
            <a:extLst>
              <a:ext uri="{FF2B5EF4-FFF2-40B4-BE49-F238E27FC236}">
                <a16:creationId xmlns:a16="http://schemas.microsoft.com/office/drawing/2014/main" id="{C9132EDF-068A-4E6A-8460-C05231F9D6C6}"/>
              </a:ext>
            </a:extLst>
          </p:cNvPr>
          <p:cNvSpPr txBox="1"/>
          <p:nvPr/>
        </p:nvSpPr>
        <p:spPr>
          <a:xfrm>
            <a:off x="2118005" y="1692724"/>
            <a:ext cx="1819767" cy="33855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sz="1600" b="1" dirty="0"/>
              <a:t>Não clientes</a:t>
            </a:r>
          </a:p>
        </p:txBody>
      </p:sp>
    </p:spTree>
    <p:extLst>
      <p:ext uri="{BB962C8B-B14F-4D97-AF65-F5344CB8AC3E}">
        <p14:creationId xmlns:p14="http://schemas.microsoft.com/office/powerpoint/2010/main" val="101358500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ítulo 1">
            <a:extLst>
              <a:ext uri="{FF2B5EF4-FFF2-40B4-BE49-F238E27FC236}">
                <a16:creationId xmlns:a16="http://schemas.microsoft.com/office/drawing/2014/main" id="{87197490-AAFA-412C-8D93-A9D9E6B219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4072" y="411074"/>
            <a:ext cx="8355467" cy="433388"/>
          </a:xfrm>
        </p:spPr>
        <p:txBody>
          <a:bodyPr>
            <a:normAutofit fontScale="90000"/>
          </a:bodyPr>
          <a:lstStyle/>
          <a:p>
            <a:r>
              <a:rPr lang="pt-BR" sz="2600" dirty="0"/>
              <a:t>Modelo rápido | KS por safra – Otimização Bayesiana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7E4615EA-591C-475C-8655-C6CBD5098CD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B06766-DC36-4174-9907-BEF22DE810EF}" type="slidenum">
              <a:rPr lang="pt-BR" smtClean="0"/>
              <a:pPr/>
              <a:t>19</a:t>
            </a:fld>
            <a:r>
              <a:rPr lang="pt-BR"/>
              <a:t> </a:t>
            </a:r>
            <a:endParaRPr lang="pt-BR" dirty="0"/>
          </a:p>
        </p:txBody>
      </p:sp>
      <p:sp>
        <p:nvSpPr>
          <p:cNvPr id="3" name="AutoShape 2">
            <a:extLst>
              <a:ext uri="{FF2B5EF4-FFF2-40B4-BE49-F238E27FC236}">
                <a16:creationId xmlns:a16="http://schemas.microsoft.com/office/drawing/2014/main" id="{507C7B11-3608-49C7-BFAA-72449D66844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868292" y="3934894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" name="AutoShape 6">
            <a:extLst>
              <a:ext uri="{FF2B5EF4-FFF2-40B4-BE49-F238E27FC236}">
                <a16:creationId xmlns:a16="http://schemas.microsoft.com/office/drawing/2014/main" id="{373EE90C-9141-438E-8234-390C08C6583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368060" y="3276600"/>
            <a:ext cx="4820529" cy="48205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6" name="Imagem 5" descr="Gráfico, Gráfico de linhas&#10;&#10;Descrição gerada automaticamente">
            <a:extLst>
              <a:ext uri="{FF2B5EF4-FFF2-40B4-BE49-F238E27FC236}">
                <a16:creationId xmlns:a16="http://schemas.microsoft.com/office/drawing/2014/main" id="{F3854AA4-31FE-4AFB-94CA-4CDFE654842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013825"/>
            <a:ext cx="6020695" cy="3793444"/>
          </a:xfrm>
          <a:prstGeom prst="rect">
            <a:avLst/>
          </a:prstGeom>
        </p:spPr>
      </p:pic>
      <p:pic>
        <p:nvPicPr>
          <p:cNvPr id="10" name="Imagem 9" descr="Gráfico, Gráfico de linhas&#10;&#10;Descrição gerada automaticamente">
            <a:extLst>
              <a:ext uri="{FF2B5EF4-FFF2-40B4-BE49-F238E27FC236}">
                <a16:creationId xmlns:a16="http://schemas.microsoft.com/office/drawing/2014/main" id="{36B8CF9D-6162-4DB9-8372-A8E85CCC7D0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2013825"/>
            <a:ext cx="5880180" cy="3793443"/>
          </a:xfrm>
          <a:prstGeom prst="rect">
            <a:avLst/>
          </a:prstGeom>
        </p:spPr>
      </p:pic>
      <p:sp>
        <p:nvSpPr>
          <p:cNvPr id="12" name="CaixaDeTexto 11">
            <a:extLst>
              <a:ext uri="{FF2B5EF4-FFF2-40B4-BE49-F238E27FC236}">
                <a16:creationId xmlns:a16="http://schemas.microsoft.com/office/drawing/2014/main" id="{A8D80496-6E31-42A9-A66F-A802D0DDCF7C}"/>
              </a:ext>
            </a:extLst>
          </p:cNvPr>
          <p:cNvSpPr txBox="1"/>
          <p:nvPr/>
        </p:nvSpPr>
        <p:spPr>
          <a:xfrm>
            <a:off x="2100462" y="1424440"/>
            <a:ext cx="1819767" cy="33855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sz="1600" b="1" dirty="0"/>
              <a:t>Não clientes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E800BDCA-7724-48F8-BF6C-E25533EC7303}"/>
              </a:ext>
            </a:extLst>
          </p:cNvPr>
          <p:cNvSpPr txBox="1"/>
          <p:nvPr/>
        </p:nvSpPr>
        <p:spPr>
          <a:xfrm>
            <a:off x="8126206" y="1424440"/>
            <a:ext cx="1819767" cy="33855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sz="1600" b="1" dirty="0"/>
              <a:t>Clientes</a:t>
            </a:r>
          </a:p>
        </p:txBody>
      </p:sp>
    </p:spTree>
    <p:extLst>
      <p:ext uri="{BB962C8B-B14F-4D97-AF65-F5344CB8AC3E}">
        <p14:creationId xmlns:p14="http://schemas.microsoft.com/office/powerpoint/2010/main" val="35009412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5">
            <a:extLst>
              <a:ext uri="{FF2B5EF4-FFF2-40B4-BE49-F238E27FC236}">
                <a16:creationId xmlns:a16="http://schemas.microsoft.com/office/drawing/2014/main" id="{CCF3633E-F981-48AC-B448-E8D3727CFD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8125" y="2956955"/>
            <a:ext cx="6397088" cy="623018"/>
          </a:xfrm>
        </p:spPr>
        <p:txBody>
          <a:bodyPr>
            <a:normAutofit/>
          </a:bodyPr>
          <a:lstStyle/>
          <a:p>
            <a:r>
              <a:rPr lang="pt-BR" dirty="0"/>
              <a:t>Modelos ML</a:t>
            </a:r>
          </a:p>
        </p:txBody>
      </p:sp>
      <p:sp>
        <p:nvSpPr>
          <p:cNvPr id="13" name="Espaço Reservado para Texto 12">
            <a:extLst>
              <a:ext uri="{FF2B5EF4-FFF2-40B4-BE49-F238E27FC236}">
                <a16:creationId xmlns:a16="http://schemas.microsoft.com/office/drawing/2014/main" id="{9C7E8195-1C3D-4CCA-9D23-573156CD360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88125" y="3586535"/>
            <a:ext cx="2643378" cy="319088"/>
          </a:xfrm>
        </p:spPr>
        <p:txBody>
          <a:bodyPr/>
          <a:lstStyle/>
          <a:p>
            <a:r>
              <a:rPr lang="pt-BR" b="0" dirty="0">
                <a:solidFill>
                  <a:schemeClr val="accent1"/>
                </a:solidFill>
              </a:rPr>
              <a:t>Visão Não Clientes</a:t>
            </a:r>
          </a:p>
        </p:txBody>
      </p:sp>
    </p:spTree>
    <p:extLst>
      <p:ext uri="{BB962C8B-B14F-4D97-AF65-F5344CB8AC3E}">
        <p14:creationId xmlns:p14="http://schemas.microsoft.com/office/powerpoint/2010/main" val="6378555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ítulo 1">
            <a:extLst>
              <a:ext uri="{FF2B5EF4-FFF2-40B4-BE49-F238E27FC236}">
                <a16:creationId xmlns:a16="http://schemas.microsoft.com/office/drawing/2014/main" id="{87197490-AAFA-412C-8D93-A9D9E6B219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4072" y="411074"/>
            <a:ext cx="8355467" cy="433388"/>
          </a:xfrm>
        </p:spPr>
        <p:txBody>
          <a:bodyPr>
            <a:normAutofit/>
          </a:bodyPr>
          <a:lstStyle/>
          <a:p>
            <a:r>
              <a:rPr lang="pt-BR" sz="2600" dirty="0"/>
              <a:t>Modelo rápido | Restrito</a:t>
            </a:r>
          </a:p>
        </p:txBody>
      </p:sp>
      <p:cxnSp>
        <p:nvCxnSpPr>
          <p:cNvPr id="4" name="Conector reto 3">
            <a:extLst>
              <a:ext uri="{FF2B5EF4-FFF2-40B4-BE49-F238E27FC236}">
                <a16:creationId xmlns:a16="http://schemas.microsoft.com/office/drawing/2014/main" id="{2F9844B0-B10F-4F8D-8F97-77F0F4A0458D}"/>
              </a:ext>
            </a:extLst>
          </p:cNvPr>
          <p:cNvCxnSpPr>
            <a:cxnSpLocks/>
          </p:cNvCxnSpPr>
          <p:nvPr/>
        </p:nvCxnSpPr>
        <p:spPr>
          <a:xfrm>
            <a:off x="1313447" y="1287379"/>
            <a:ext cx="24556" cy="4850082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0" name="Conector reto 19">
            <a:extLst>
              <a:ext uri="{FF2B5EF4-FFF2-40B4-BE49-F238E27FC236}">
                <a16:creationId xmlns:a16="http://schemas.microsoft.com/office/drawing/2014/main" id="{3544E355-2888-4340-B86D-9D5F0E820CB5}"/>
              </a:ext>
            </a:extLst>
          </p:cNvPr>
          <p:cNvCxnSpPr>
            <a:cxnSpLocks/>
          </p:cNvCxnSpPr>
          <p:nvPr/>
        </p:nvCxnSpPr>
        <p:spPr>
          <a:xfrm>
            <a:off x="3545305" y="1287379"/>
            <a:ext cx="0" cy="4850082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5" name="CaixaDeTexto 4">
            <a:extLst>
              <a:ext uri="{FF2B5EF4-FFF2-40B4-BE49-F238E27FC236}">
                <a16:creationId xmlns:a16="http://schemas.microsoft.com/office/drawing/2014/main" id="{160B1AA0-2B8D-40DA-A4EF-846849FAF75B}"/>
              </a:ext>
            </a:extLst>
          </p:cNvPr>
          <p:cNvSpPr txBox="1"/>
          <p:nvPr/>
        </p:nvSpPr>
        <p:spPr>
          <a:xfrm>
            <a:off x="1558436" y="1040958"/>
            <a:ext cx="1215188" cy="33855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sz="1600" b="1" dirty="0" err="1"/>
              <a:t>AdaBoost</a:t>
            </a:r>
            <a:endParaRPr lang="pt-BR" sz="1600" b="1" dirty="0"/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FA1361F6-5D77-4B2F-BB1D-5C831DAF39CE}"/>
              </a:ext>
            </a:extLst>
          </p:cNvPr>
          <p:cNvSpPr txBox="1"/>
          <p:nvPr/>
        </p:nvSpPr>
        <p:spPr>
          <a:xfrm>
            <a:off x="3766333" y="1040958"/>
            <a:ext cx="1215188" cy="33855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sz="1600" b="1" dirty="0" err="1"/>
              <a:t>LightGBM</a:t>
            </a:r>
            <a:endParaRPr lang="pt-BR" sz="1600" b="1" dirty="0"/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70B17529-87C9-4A5C-AF01-AA9EDFE30754}"/>
              </a:ext>
            </a:extLst>
          </p:cNvPr>
          <p:cNvSpPr txBox="1"/>
          <p:nvPr/>
        </p:nvSpPr>
        <p:spPr>
          <a:xfrm>
            <a:off x="202302" y="1701104"/>
            <a:ext cx="13234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/>
              <a:t>KS</a:t>
            </a:r>
          </a:p>
        </p:txBody>
      </p:sp>
      <p:sp>
        <p:nvSpPr>
          <p:cNvPr id="31" name="CaixaDeTexto 30">
            <a:extLst>
              <a:ext uri="{FF2B5EF4-FFF2-40B4-BE49-F238E27FC236}">
                <a16:creationId xmlns:a16="http://schemas.microsoft.com/office/drawing/2014/main" id="{62276322-A808-4421-B52E-3E996B3B0F99}"/>
              </a:ext>
            </a:extLst>
          </p:cNvPr>
          <p:cNvSpPr txBox="1"/>
          <p:nvPr/>
        </p:nvSpPr>
        <p:spPr>
          <a:xfrm>
            <a:off x="64960" y="2615761"/>
            <a:ext cx="13234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 err="1"/>
              <a:t>LightGBM</a:t>
            </a:r>
            <a:endParaRPr lang="pt-BR" sz="1600" b="1" dirty="0"/>
          </a:p>
        </p:txBody>
      </p: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8691A8D4-4C82-4495-B015-7A17C9F47DBD}"/>
              </a:ext>
            </a:extLst>
          </p:cNvPr>
          <p:cNvSpPr txBox="1"/>
          <p:nvPr/>
        </p:nvSpPr>
        <p:spPr>
          <a:xfrm>
            <a:off x="64960" y="3414215"/>
            <a:ext cx="132346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 err="1"/>
              <a:t>Random</a:t>
            </a:r>
            <a:r>
              <a:rPr lang="pt-BR" sz="1600" b="1" dirty="0"/>
              <a:t> Forest</a:t>
            </a:r>
          </a:p>
        </p:txBody>
      </p:sp>
      <p:cxnSp>
        <p:nvCxnSpPr>
          <p:cNvPr id="38" name="Conector reto 37">
            <a:extLst>
              <a:ext uri="{FF2B5EF4-FFF2-40B4-BE49-F238E27FC236}">
                <a16:creationId xmlns:a16="http://schemas.microsoft.com/office/drawing/2014/main" id="{26DEED0A-BCC0-4DCC-A465-0876C1866F89}"/>
              </a:ext>
            </a:extLst>
          </p:cNvPr>
          <p:cNvCxnSpPr>
            <a:cxnSpLocks/>
          </p:cNvCxnSpPr>
          <p:nvPr/>
        </p:nvCxnSpPr>
        <p:spPr>
          <a:xfrm>
            <a:off x="5141494" y="1297070"/>
            <a:ext cx="0" cy="4840391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9" name="Conector reto 38">
            <a:extLst>
              <a:ext uri="{FF2B5EF4-FFF2-40B4-BE49-F238E27FC236}">
                <a16:creationId xmlns:a16="http://schemas.microsoft.com/office/drawing/2014/main" id="{80E31835-C96A-4240-83FE-C291C4E273AA}"/>
              </a:ext>
            </a:extLst>
          </p:cNvPr>
          <p:cNvCxnSpPr>
            <a:cxnSpLocks/>
          </p:cNvCxnSpPr>
          <p:nvPr/>
        </p:nvCxnSpPr>
        <p:spPr>
          <a:xfrm>
            <a:off x="7376368" y="1272997"/>
            <a:ext cx="86692" cy="4857173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7E4615EA-591C-475C-8655-C6CBD5098CD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B06766-DC36-4174-9907-BEF22DE810EF}" type="slidenum">
              <a:rPr lang="pt-BR" smtClean="0"/>
              <a:pPr/>
              <a:t>3</a:t>
            </a:fld>
            <a:r>
              <a:rPr lang="pt-BR"/>
              <a:t> </a:t>
            </a:r>
            <a:endParaRPr lang="pt-BR" dirty="0"/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1463C822-C1E1-45D0-9F94-00BF4C58E8AC}"/>
              </a:ext>
            </a:extLst>
          </p:cNvPr>
          <p:cNvSpPr txBox="1"/>
          <p:nvPr/>
        </p:nvSpPr>
        <p:spPr>
          <a:xfrm>
            <a:off x="3705713" y="1708698"/>
            <a:ext cx="12202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err="1"/>
              <a:t>AdaBoost</a:t>
            </a:r>
            <a:endParaRPr lang="pt-BR" dirty="0"/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id="{AF49949F-0E36-483A-90B2-73CD75156A8C}"/>
              </a:ext>
            </a:extLst>
          </p:cNvPr>
          <p:cNvSpPr txBox="1"/>
          <p:nvPr/>
        </p:nvSpPr>
        <p:spPr>
          <a:xfrm>
            <a:off x="3687213" y="2510104"/>
            <a:ext cx="12378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err="1"/>
              <a:t>LightGBM</a:t>
            </a:r>
            <a:endParaRPr lang="pt-BR" dirty="0"/>
          </a:p>
        </p:txBody>
      </p:sp>
      <p:sp>
        <p:nvSpPr>
          <p:cNvPr id="24" name="CaixaDeTexto 23">
            <a:extLst>
              <a:ext uri="{FF2B5EF4-FFF2-40B4-BE49-F238E27FC236}">
                <a16:creationId xmlns:a16="http://schemas.microsoft.com/office/drawing/2014/main" id="{8CDF7F35-9591-4B08-B7DE-13F87E4EBDA6}"/>
              </a:ext>
            </a:extLst>
          </p:cNvPr>
          <p:cNvSpPr txBox="1"/>
          <p:nvPr/>
        </p:nvSpPr>
        <p:spPr>
          <a:xfrm>
            <a:off x="3688841" y="3269542"/>
            <a:ext cx="138095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err="1"/>
              <a:t>Random</a:t>
            </a:r>
            <a:r>
              <a:rPr lang="pt-BR" dirty="0"/>
              <a:t> Forest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D3F7C541-30EF-4230-9536-488399E63022}"/>
              </a:ext>
            </a:extLst>
          </p:cNvPr>
          <p:cNvSpPr txBox="1"/>
          <p:nvPr/>
        </p:nvSpPr>
        <p:spPr>
          <a:xfrm>
            <a:off x="1338003" y="1576008"/>
            <a:ext cx="213560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 err="1"/>
              <a:t>WoE_score_ajust</a:t>
            </a:r>
            <a:r>
              <a:rPr lang="pt-BR" sz="1100" dirty="0"/>
              <a:t>, WoE_PF_CP_VOL04_PF,</a:t>
            </a:r>
          </a:p>
          <a:p>
            <a:r>
              <a:rPr lang="pt-BR" sz="1100" dirty="0"/>
              <a:t>P4_BVS, QuodScore_v2, SCORE_HSPN</a:t>
            </a:r>
          </a:p>
        </p:txBody>
      </p:sp>
      <p:sp>
        <p:nvSpPr>
          <p:cNvPr id="32" name="CaixaDeTexto 31">
            <a:extLst>
              <a:ext uri="{FF2B5EF4-FFF2-40B4-BE49-F238E27FC236}">
                <a16:creationId xmlns:a16="http://schemas.microsoft.com/office/drawing/2014/main" id="{8D2F52CF-786D-45A7-93C9-3EBEC4F050A3}"/>
              </a:ext>
            </a:extLst>
          </p:cNvPr>
          <p:cNvSpPr txBox="1"/>
          <p:nvPr/>
        </p:nvSpPr>
        <p:spPr>
          <a:xfrm>
            <a:off x="1329491" y="2443495"/>
            <a:ext cx="213560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 err="1"/>
              <a:t>WoE_score_ajust</a:t>
            </a:r>
            <a:r>
              <a:rPr lang="pt-BR" sz="1100" dirty="0"/>
              <a:t>, WoE_PF_CP_VOL04_PF,</a:t>
            </a:r>
          </a:p>
          <a:p>
            <a:r>
              <a:rPr lang="pt-BR" sz="1100" dirty="0"/>
              <a:t>P4_BVS, QuodScore_v2, SCORE_HSPN</a:t>
            </a:r>
          </a:p>
        </p:txBody>
      </p:sp>
      <p:sp>
        <p:nvSpPr>
          <p:cNvPr id="33" name="CaixaDeTexto 32">
            <a:extLst>
              <a:ext uri="{FF2B5EF4-FFF2-40B4-BE49-F238E27FC236}">
                <a16:creationId xmlns:a16="http://schemas.microsoft.com/office/drawing/2014/main" id="{DE7EFCB6-C083-481E-AEAA-93646E138578}"/>
              </a:ext>
            </a:extLst>
          </p:cNvPr>
          <p:cNvSpPr txBox="1"/>
          <p:nvPr/>
        </p:nvSpPr>
        <p:spPr>
          <a:xfrm>
            <a:off x="5563457" y="1720995"/>
            <a:ext cx="84049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/>
              <a:t>23.57</a:t>
            </a:r>
          </a:p>
        </p:txBody>
      </p:sp>
      <p:sp>
        <p:nvSpPr>
          <p:cNvPr id="41" name="CaixaDeTexto 40">
            <a:extLst>
              <a:ext uri="{FF2B5EF4-FFF2-40B4-BE49-F238E27FC236}">
                <a16:creationId xmlns:a16="http://schemas.microsoft.com/office/drawing/2014/main" id="{56A64052-1709-4C99-ACA0-60ACF8E21514}"/>
              </a:ext>
            </a:extLst>
          </p:cNvPr>
          <p:cNvSpPr txBox="1"/>
          <p:nvPr/>
        </p:nvSpPr>
        <p:spPr>
          <a:xfrm>
            <a:off x="5590138" y="2510104"/>
            <a:ext cx="85834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/>
              <a:t>20.85</a:t>
            </a:r>
          </a:p>
        </p:txBody>
      </p:sp>
      <p:sp>
        <p:nvSpPr>
          <p:cNvPr id="45" name="CaixaDeTexto 44">
            <a:extLst>
              <a:ext uri="{FF2B5EF4-FFF2-40B4-BE49-F238E27FC236}">
                <a16:creationId xmlns:a16="http://schemas.microsoft.com/office/drawing/2014/main" id="{7C1A4A09-9C97-4243-9E2F-8154F659651E}"/>
              </a:ext>
            </a:extLst>
          </p:cNvPr>
          <p:cNvSpPr txBox="1"/>
          <p:nvPr/>
        </p:nvSpPr>
        <p:spPr>
          <a:xfrm>
            <a:off x="5610861" y="3332252"/>
            <a:ext cx="85834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/>
              <a:t>23.08</a:t>
            </a:r>
          </a:p>
        </p:txBody>
      </p:sp>
      <p:sp>
        <p:nvSpPr>
          <p:cNvPr id="62" name="CaixaDeTexto 61">
            <a:extLst>
              <a:ext uri="{FF2B5EF4-FFF2-40B4-BE49-F238E27FC236}">
                <a16:creationId xmlns:a16="http://schemas.microsoft.com/office/drawing/2014/main" id="{057C1072-13EE-43A9-9E1C-A2113CE6EEFF}"/>
              </a:ext>
            </a:extLst>
          </p:cNvPr>
          <p:cNvSpPr txBox="1"/>
          <p:nvPr/>
        </p:nvSpPr>
        <p:spPr>
          <a:xfrm>
            <a:off x="64960" y="4428204"/>
            <a:ext cx="13234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 err="1"/>
              <a:t>XgBoost</a:t>
            </a:r>
            <a:endParaRPr lang="pt-BR" sz="1600" b="1" dirty="0"/>
          </a:p>
        </p:txBody>
      </p:sp>
      <p:sp>
        <p:nvSpPr>
          <p:cNvPr id="63" name="CaixaDeTexto 62">
            <a:extLst>
              <a:ext uri="{FF2B5EF4-FFF2-40B4-BE49-F238E27FC236}">
                <a16:creationId xmlns:a16="http://schemas.microsoft.com/office/drawing/2014/main" id="{C93487AD-8586-44F7-A66A-7C3B2991FB9B}"/>
              </a:ext>
            </a:extLst>
          </p:cNvPr>
          <p:cNvSpPr txBox="1"/>
          <p:nvPr/>
        </p:nvSpPr>
        <p:spPr>
          <a:xfrm>
            <a:off x="3669758" y="4386787"/>
            <a:ext cx="10647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err="1"/>
              <a:t>XgBoost</a:t>
            </a:r>
            <a:endParaRPr lang="pt-BR" dirty="0"/>
          </a:p>
        </p:txBody>
      </p:sp>
      <p:sp>
        <p:nvSpPr>
          <p:cNvPr id="65" name="CaixaDeTexto 64">
            <a:extLst>
              <a:ext uri="{FF2B5EF4-FFF2-40B4-BE49-F238E27FC236}">
                <a16:creationId xmlns:a16="http://schemas.microsoft.com/office/drawing/2014/main" id="{DE6715A8-3D35-4F90-BA22-CCEAD8391CDC}"/>
              </a:ext>
            </a:extLst>
          </p:cNvPr>
          <p:cNvSpPr txBox="1"/>
          <p:nvPr/>
        </p:nvSpPr>
        <p:spPr>
          <a:xfrm>
            <a:off x="5591782" y="4345461"/>
            <a:ext cx="85834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/>
              <a:t>20.18</a:t>
            </a:r>
          </a:p>
        </p:txBody>
      </p:sp>
      <p:sp>
        <p:nvSpPr>
          <p:cNvPr id="68" name="CaixaDeTexto 67">
            <a:extLst>
              <a:ext uri="{FF2B5EF4-FFF2-40B4-BE49-F238E27FC236}">
                <a16:creationId xmlns:a16="http://schemas.microsoft.com/office/drawing/2014/main" id="{1F673E54-A3B8-45DD-B4E0-617343B60112}"/>
              </a:ext>
            </a:extLst>
          </p:cNvPr>
          <p:cNvSpPr txBox="1"/>
          <p:nvPr/>
        </p:nvSpPr>
        <p:spPr>
          <a:xfrm>
            <a:off x="88639" y="5292045"/>
            <a:ext cx="13234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/>
              <a:t>Blend</a:t>
            </a:r>
          </a:p>
        </p:txBody>
      </p:sp>
      <p:sp>
        <p:nvSpPr>
          <p:cNvPr id="69" name="CaixaDeTexto 68">
            <a:extLst>
              <a:ext uri="{FF2B5EF4-FFF2-40B4-BE49-F238E27FC236}">
                <a16:creationId xmlns:a16="http://schemas.microsoft.com/office/drawing/2014/main" id="{80F57EBC-A197-40BA-AA32-DC0EF3DFB7E7}"/>
              </a:ext>
            </a:extLst>
          </p:cNvPr>
          <p:cNvSpPr txBox="1"/>
          <p:nvPr/>
        </p:nvSpPr>
        <p:spPr>
          <a:xfrm>
            <a:off x="3693437" y="5250628"/>
            <a:ext cx="10294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Reg Log</a:t>
            </a:r>
          </a:p>
        </p:txBody>
      </p:sp>
      <p:sp>
        <p:nvSpPr>
          <p:cNvPr id="71" name="CaixaDeTexto 70">
            <a:extLst>
              <a:ext uri="{FF2B5EF4-FFF2-40B4-BE49-F238E27FC236}">
                <a16:creationId xmlns:a16="http://schemas.microsoft.com/office/drawing/2014/main" id="{33D14275-BBAF-4F86-8381-5801EDE5C9F6}"/>
              </a:ext>
            </a:extLst>
          </p:cNvPr>
          <p:cNvSpPr txBox="1"/>
          <p:nvPr/>
        </p:nvSpPr>
        <p:spPr>
          <a:xfrm>
            <a:off x="5615461" y="5209302"/>
            <a:ext cx="85834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/>
              <a:t>24.46</a:t>
            </a:r>
          </a:p>
        </p:txBody>
      </p:sp>
      <p:sp>
        <p:nvSpPr>
          <p:cNvPr id="80" name="CaixaDeTexto 79">
            <a:extLst>
              <a:ext uri="{FF2B5EF4-FFF2-40B4-BE49-F238E27FC236}">
                <a16:creationId xmlns:a16="http://schemas.microsoft.com/office/drawing/2014/main" id="{489ADA64-1EA6-4294-8D91-2ED689751C76}"/>
              </a:ext>
            </a:extLst>
          </p:cNvPr>
          <p:cNvSpPr txBox="1"/>
          <p:nvPr/>
        </p:nvSpPr>
        <p:spPr>
          <a:xfrm>
            <a:off x="1329491" y="3349969"/>
            <a:ext cx="213560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 err="1"/>
              <a:t>WoE_score_ajust</a:t>
            </a:r>
            <a:r>
              <a:rPr lang="pt-BR" sz="1100" dirty="0"/>
              <a:t>, WoE_PF_CP_VOL04_PF,</a:t>
            </a:r>
          </a:p>
          <a:p>
            <a:r>
              <a:rPr lang="pt-BR" sz="1100" dirty="0"/>
              <a:t>P4_BVS, QuodScore_v2, SCORE_HSPN</a:t>
            </a:r>
          </a:p>
        </p:txBody>
      </p:sp>
      <p:sp>
        <p:nvSpPr>
          <p:cNvPr id="81" name="CaixaDeTexto 80">
            <a:extLst>
              <a:ext uri="{FF2B5EF4-FFF2-40B4-BE49-F238E27FC236}">
                <a16:creationId xmlns:a16="http://schemas.microsoft.com/office/drawing/2014/main" id="{29E86FB0-04F0-4C90-AAC0-E334A96A8F8C}"/>
              </a:ext>
            </a:extLst>
          </p:cNvPr>
          <p:cNvSpPr txBox="1"/>
          <p:nvPr/>
        </p:nvSpPr>
        <p:spPr>
          <a:xfrm>
            <a:off x="1329491" y="4290842"/>
            <a:ext cx="213560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 err="1"/>
              <a:t>WoE_score_ajust</a:t>
            </a:r>
            <a:r>
              <a:rPr lang="pt-BR" sz="1100" dirty="0"/>
              <a:t>, WoE_PF_CP_VOL04_PF,</a:t>
            </a:r>
          </a:p>
          <a:p>
            <a:r>
              <a:rPr lang="pt-BR" sz="1100" dirty="0"/>
              <a:t>P4_BVS, QuodScore_v2, SCORE_HSPN</a:t>
            </a:r>
          </a:p>
        </p:txBody>
      </p:sp>
      <p:sp>
        <p:nvSpPr>
          <p:cNvPr id="82" name="CaixaDeTexto 81">
            <a:extLst>
              <a:ext uri="{FF2B5EF4-FFF2-40B4-BE49-F238E27FC236}">
                <a16:creationId xmlns:a16="http://schemas.microsoft.com/office/drawing/2014/main" id="{8D7F01E2-9918-4806-B8D2-6BFFDE95BF28}"/>
              </a:ext>
            </a:extLst>
          </p:cNvPr>
          <p:cNvSpPr txBox="1"/>
          <p:nvPr/>
        </p:nvSpPr>
        <p:spPr>
          <a:xfrm>
            <a:off x="7598960" y="1004270"/>
            <a:ext cx="2447699" cy="33855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sz="1600" b="1" dirty="0" err="1"/>
              <a:t>XgBoost</a:t>
            </a:r>
            <a:endParaRPr lang="pt-BR" sz="1600" b="1" dirty="0"/>
          </a:p>
        </p:txBody>
      </p:sp>
      <p:sp>
        <p:nvSpPr>
          <p:cNvPr id="84" name="CaixaDeTexto 83">
            <a:extLst>
              <a:ext uri="{FF2B5EF4-FFF2-40B4-BE49-F238E27FC236}">
                <a16:creationId xmlns:a16="http://schemas.microsoft.com/office/drawing/2014/main" id="{BAA928EA-A5A3-44FC-B362-F938D08E2400}"/>
              </a:ext>
            </a:extLst>
          </p:cNvPr>
          <p:cNvSpPr txBox="1"/>
          <p:nvPr/>
        </p:nvSpPr>
        <p:spPr>
          <a:xfrm>
            <a:off x="7713467" y="1659017"/>
            <a:ext cx="226604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600" dirty="0" err="1"/>
              <a:t>Feature</a:t>
            </a:r>
            <a:r>
              <a:rPr lang="pt-BR" sz="1600" dirty="0"/>
              <a:t> </a:t>
            </a:r>
            <a:r>
              <a:rPr lang="pt-BR" sz="1600" dirty="0" err="1"/>
              <a:t>Importance</a:t>
            </a:r>
            <a:endParaRPr lang="pt-BR" sz="1600" dirty="0"/>
          </a:p>
        </p:txBody>
      </p:sp>
      <p:sp>
        <p:nvSpPr>
          <p:cNvPr id="85" name="CaixaDeTexto 84">
            <a:extLst>
              <a:ext uri="{FF2B5EF4-FFF2-40B4-BE49-F238E27FC236}">
                <a16:creationId xmlns:a16="http://schemas.microsoft.com/office/drawing/2014/main" id="{F632C3F0-CDD3-434A-804A-CD32A91B7F00}"/>
              </a:ext>
            </a:extLst>
          </p:cNvPr>
          <p:cNvSpPr txBox="1"/>
          <p:nvPr/>
        </p:nvSpPr>
        <p:spPr>
          <a:xfrm>
            <a:off x="7700150" y="2483041"/>
            <a:ext cx="226604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600" dirty="0" err="1"/>
              <a:t>Feature</a:t>
            </a:r>
            <a:r>
              <a:rPr lang="pt-BR" sz="1600" dirty="0"/>
              <a:t> </a:t>
            </a:r>
            <a:r>
              <a:rPr lang="pt-BR" sz="1600" dirty="0" err="1"/>
              <a:t>Importance</a:t>
            </a:r>
            <a:endParaRPr lang="pt-BR" sz="1600" dirty="0"/>
          </a:p>
        </p:txBody>
      </p:sp>
      <p:sp>
        <p:nvSpPr>
          <p:cNvPr id="88" name="CaixaDeTexto 87">
            <a:extLst>
              <a:ext uri="{FF2B5EF4-FFF2-40B4-BE49-F238E27FC236}">
                <a16:creationId xmlns:a16="http://schemas.microsoft.com/office/drawing/2014/main" id="{5A4691C0-9178-41AB-B6D8-41EE0F88B95F}"/>
              </a:ext>
            </a:extLst>
          </p:cNvPr>
          <p:cNvSpPr txBox="1"/>
          <p:nvPr/>
        </p:nvSpPr>
        <p:spPr>
          <a:xfrm>
            <a:off x="7713467" y="5214014"/>
            <a:ext cx="226604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600" dirty="0"/>
              <a:t>Seleção analítica</a:t>
            </a:r>
          </a:p>
        </p:txBody>
      </p:sp>
      <p:sp>
        <p:nvSpPr>
          <p:cNvPr id="89" name="CaixaDeTexto 88">
            <a:extLst>
              <a:ext uri="{FF2B5EF4-FFF2-40B4-BE49-F238E27FC236}">
                <a16:creationId xmlns:a16="http://schemas.microsoft.com/office/drawing/2014/main" id="{2B1DFFCF-DD1A-4500-A309-92E6C1E1B429}"/>
              </a:ext>
            </a:extLst>
          </p:cNvPr>
          <p:cNvSpPr txBox="1"/>
          <p:nvPr/>
        </p:nvSpPr>
        <p:spPr>
          <a:xfrm>
            <a:off x="7689788" y="3312619"/>
            <a:ext cx="226604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600" dirty="0" err="1"/>
              <a:t>Feature</a:t>
            </a:r>
            <a:r>
              <a:rPr lang="pt-BR" sz="1600" dirty="0"/>
              <a:t> </a:t>
            </a:r>
            <a:r>
              <a:rPr lang="pt-BR" sz="1600" dirty="0" err="1"/>
              <a:t>Importance</a:t>
            </a:r>
            <a:endParaRPr lang="pt-BR" sz="1600" dirty="0"/>
          </a:p>
        </p:txBody>
      </p:sp>
      <p:sp>
        <p:nvSpPr>
          <p:cNvPr id="90" name="CaixaDeTexto 89">
            <a:extLst>
              <a:ext uri="{FF2B5EF4-FFF2-40B4-BE49-F238E27FC236}">
                <a16:creationId xmlns:a16="http://schemas.microsoft.com/office/drawing/2014/main" id="{7CB0F1E1-2D66-41DB-B826-10A967B85EAC}"/>
              </a:ext>
            </a:extLst>
          </p:cNvPr>
          <p:cNvSpPr txBox="1"/>
          <p:nvPr/>
        </p:nvSpPr>
        <p:spPr>
          <a:xfrm>
            <a:off x="7700150" y="4296058"/>
            <a:ext cx="226604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600" dirty="0" err="1"/>
              <a:t>Feature</a:t>
            </a:r>
            <a:r>
              <a:rPr lang="pt-BR" sz="1600" dirty="0"/>
              <a:t> </a:t>
            </a:r>
            <a:r>
              <a:rPr lang="pt-BR" sz="1600" dirty="0" err="1"/>
              <a:t>Importance</a:t>
            </a:r>
            <a:endParaRPr lang="pt-BR" sz="1600" dirty="0"/>
          </a:p>
        </p:txBody>
      </p:sp>
      <p:sp>
        <p:nvSpPr>
          <p:cNvPr id="37" name="CaixaDeTexto 36">
            <a:extLst>
              <a:ext uri="{FF2B5EF4-FFF2-40B4-BE49-F238E27FC236}">
                <a16:creationId xmlns:a16="http://schemas.microsoft.com/office/drawing/2014/main" id="{AFC4B9C2-E574-432D-8795-AA95F8C2D24F}"/>
              </a:ext>
            </a:extLst>
          </p:cNvPr>
          <p:cNvSpPr txBox="1"/>
          <p:nvPr/>
        </p:nvSpPr>
        <p:spPr>
          <a:xfrm>
            <a:off x="1333747" y="5292045"/>
            <a:ext cx="213560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b="1" dirty="0"/>
              <a:t>Acessório e CRISP</a:t>
            </a:r>
            <a:endParaRPr lang="pt-BR" sz="1100" dirty="0"/>
          </a:p>
        </p:txBody>
      </p:sp>
      <p:sp>
        <p:nvSpPr>
          <p:cNvPr id="40" name="CaixaDeTexto 39">
            <a:extLst>
              <a:ext uri="{FF2B5EF4-FFF2-40B4-BE49-F238E27FC236}">
                <a16:creationId xmlns:a16="http://schemas.microsoft.com/office/drawing/2014/main" id="{90F6C350-AB77-4FA0-A2E5-FEF086297D5D}"/>
              </a:ext>
            </a:extLst>
          </p:cNvPr>
          <p:cNvSpPr txBox="1"/>
          <p:nvPr/>
        </p:nvSpPr>
        <p:spPr>
          <a:xfrm>
            <a:off x="5254019" y="997123"/>
            <a:ext cx="1908713" cy="33855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sz="1600" b="1" dirty="0" err="1"/>
              <a:t>Random</a:t>
            </a:r>
            <a:r>
              <a:rPr lang="pt-BR" sz="1600" b="1" dirty="0"/>
              <a:t> Forest</a:t>
            </a:r>
          </a:p>
        </p:txBody>
      </p:sp>
    </p:spTree>
    <p:extLst>
      <p:ext uri="{BB962C8B-B14F-4D97-AF65-F5344CB8AC3E}">
        <p14:creationId xmlns:p14="http://schemas.microsoft.com/office/powerpoint/2010/main" val="9807061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ítulo 1">
            <a:extLst>
              <a:ext uri="{FF2B5EF4-FFF2-40B4-BE49-F238E27FC236}">
                <a16:creationId xmlns:a16="http://schemas.microsoft.com/office/drawing/2014/main" id="{87197490-AAFA-412C-8D93-A9D9E6B219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4072" y="411074"/>
            <a:ext cx="8355467" cy="433388"/>
          </a:xfrm>
        </p:spPr>
        <p:txBody>
          <a:bodyPr>
            <a:normAutofit/>
          </a:bodyPr>
          <a:lstStyle/>
          <a:p>
            <a:r>
              <a:rPr lang="pt-BR" sz="2600" dirty="0"/>
              <a:t>Modelo rápido | Aberto</a:t>
            </a:r>
          </a:p>
        </p:txBody>
      </p:sp>
      <p:cxnSp>
        <p:nvCxnSpPr>
          <p:cNvPr id="4" name="Conector reto 3">
            <a:extLst>
              <a:ext uri="{FF2B5EF4-FFF2-40B4-BE49-F238E27FC236}">
                <a16:creationId xmlns:a16="http://schemas.microsoft.com/office/drawing/2014/main" id="{2F9844B0-B10F-4F8D-8F97-77F0F4A0458D}"/>
              </a:ext>
            </a:extLst>
          </p:cNvPr>
          <p:cNvCxnSpPr>
            <a:cxnSpLocks/>
          </p:cNvCxnSpPr>
          <p:nvPr/>
        </p:nvCxnSpPr>
        <p:spPr>
          <a:xfrm>
            <a:off x="1313447" y="1287379"/>
            <a:ext cx="24556" cy="4850082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0" name="Conector reto 19">
            <a:extLst>
              <a:ext uri="{FF2B5EF4-FFF2-40B4-BE49-F238E27FC236}">
                <a16:creationId xmlns:a16="http://schemas.microsoft.com/office/drawing/2014/main" id="{3544E355-2888-4340-B86D-9D5F0E820CB5}"/>
              </a:ext>
            </a:extLst>
          </p:cNvPr>
          <p:cNvCxnSpPr>
            <a:cxnSpLocks/>
          </p:cNvCxnSpPr>
          <p:nvPr/>
        </p:nvCxnSpPr>
        <p:spPr>
          <a:xfrm>
            <a:off x="3545305" y="1287379"/>
            <a:ext cx="0" cy="4850082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5" name="CaixaDeTexto 4">
            <a:extLst>
              <a:ext uri="{FF2B5EF4-FFF2-40B4-BE49-F238E27FC236}">
                <a16:creationId xmlns:a16="http://schemas.microsoft.com/office/drawing/2014/main" id="{160B1AA0-2B8D-40DA-A4EF-846849FAF75B}"/>
              </a:ext>
            </a:extLst>
          </p:cNvPr>
          <p:cNvSpPr txBox="1"/>
          <p:nvPr/>
        </p:nvSpPr>
        <p:spPr>
          <a:xfrm>
            <a:off x="1724527" y="1100372"/>
            <a:ext cx="1215188" cy="33855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sz="1600" b="1" dirty="0"/>
              <a:t>Variáveis</a:t>
            </a:r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FA1361F6-5D77-4B2F-BB1D-5C831DAF39CE}"/>
              </a:ext>
            </a:extLst>
          </p:cNvPr>
          <p:cNvSpPr txBox="1"/>
          <p:nvPr/>
        </p:nvSpPr>
        <p:spPr>
          <a:xfrm>
            <a:off x="3765885" y="1118102"/>
            <a:ext cx="1215188" cy="33855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sz="1600" b="1" dirty="0"/>
              <a:t>Técnica</a:t>
            </a:r>
          </a:p>
        </p:txBody>
      </p:sp>
      <p:sp>
        <p:nvSpPr>
          <p:cNvPr id="27" name="CaixaDeTexto 26">
            <a:extLst>
              <a:ext uri="{FF2B5EF4-FFF2-40B4-BE49-F238E27FC236}">
                <a16:creationId xmlns:a16="http://schemas.microsoft.com/office/drawing/2014/main" id="{B4D7E414-F92A-46B2-8C20-F3C824C5D38D}"/>
              </a:ext>
            </a:extLst>
          </p:cNvPr>
          <p:cNvSpPr txBox="1"/>
          <p:nvPr/>
        </p:nvSpPr>
        <p:spPr>
          <a:xfrm>
            <a:off x="5414210" y="1100372"/>
            <a:ext cx="1215188" cy="33855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sz="1600" b="1" dirty="0"/>
              <a:t>KS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70B17529-87C9-4A5C-AF01-AA9EDFE30754}"/>
              </a:ext>
            </a:extLst>
          </p:cNvPr>
          <p:cNvSpPr txBox="1"/>
          <p:nvPr/>
        </p:nvSpPr>
        <p:spPr>
          <a:xfrm>
            <a:off x="86234" y="1702340"/>
            <a:ext cx="13234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/>
              <a:t>Modelo 1</a:t>
            </a:r>
          </a:p>
        </p:txBody>
      </p:sp>
      <p:sp>
        <p:nvSpPr>
          <p:cNvPr id="31" name="CaixaDeTexto 30">
            <a:extLst>
              <a:ext uri="{FF2B5EF4-FFF2-40B4-BE49-F238E27FC236}">
                <a16:creationId xmlns:a16="http://schemas.microsoft.com/office/drawing/2014/main" id="{62276322-A808-4421-B52E-3E996B3B0F99}"/>
              </a:ext>
            </a:extLst>
          </p:cNvPr>
          <p:cNvSpPr txBox="1"/>
          <p:nvPr/>
        </p:nvSpPr>
        <p:spPr>
          <a:xfrm>
            <a:off x="64960" y="2615761"/>
            <a:ext cx="13234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/>
              <a:t>Modelo 2</a:t>
            </a:r>
          </a:p>
        </p:txBody>
      </p: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8691A8D4-4C82-4495-B015-7A17C9F47DBD}"/>
              </a:ext>
            </a:extLst>
          </p:cNvPr>
          <p:cNvSpPr txBox="1"/>
          <p:nvPr/>
        </p:nvSpPr>
        <p:spPr>
          <a:xfrm>
            <a:off x="64960" y="3414215"/>
            <a:ext cx="13234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/>
              <a:t>Modelo 3</a:t>
            </a:r>
          </a:p>
        </p:txBody>
      </p:sp>
      <p:cxnSp>
        <p:nvCxnSpPr>
          <p:cNvPr id="38" name="Conector reto 37">
            <a:extLst>
              <a:ext uri="{FF2B5EF4-FFF2-40B4-BE49-F238E27FC236}">
                <a16:creationId xmlns:a16="http://schemas.microsoft.com/office/drawing/2014/main" id="{26DEED0A-BCC0-4DCC-A465-0876C1866F89}"/>
              </a:ext>
            </a:extLst>
          </p:cNvPr>
          <p:cNvCxnSpPr>
            <a:cxnSpLocks/>
          </p:cNvCxnSpPr>
          <p:nvPr/>
        </p:nvCxnSpPr>
        <p:spPr>
          <a:xfrm>
            <a:off x="5141494" y="1297070"/>
            <a:ext cx="0" cy="4840391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9" name="Conector reto 38">
            <a:extLst>
              <a:ext uri="{FF2B5EF4-FFF2-40B4-BE49-F238E27FC236}">
                <a16:creationId xmlns:a16="http://schemas.microsoft.com/office/drawing/2014/main" id="{80E31835-C96A-4240-83FE-C291C4E273AA}"/>
              </a:ext>
            </a:extLst>
          </p:cNvPr>
          <p:cNvCxnSpPr>
            <a:cxnSpLocks/>
          </p:cNvCxnSpPr>
          <p:nvPr/>
        </p:nvCxnSpPr>
        <p:spPr>
          <a:xfrm>
            <a:off x="6825916" y="1269649"/>
            <a:ext cx="86692" cy="4857173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7E4615EA-591C-475C-8655-C6CBD5098CD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B06766-DC36-4174-9907-BEF22DE810EF}" type="slidenum">
              <a:rPr lang="pt-BR" smtClean="0"/>
              <a:pPr/>
              <a:t>4</a:t>
            </a:fld>
            <a:r>
              <a:rPr lang="pt-BR"/>
              <a:t> </a:t>
            </a:r>
            <a:endParaRPr lang="pt-BR" dirty="0"/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1463C822-C1E1-45D0-9F94-00BF4C58E8AC}"/>
              </a:ext>
            </a:extLst>
          </p:cNvPr>
          <p:cNvSpPr txBox="1"/>
          <p:nvPr/>
        </p:nvSpPr>
        <p:spPr>
          <a:xfrm>
            <a:off x="3705713" y="1708698"/>
            <a:ext cx="12202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err="1"/>
              <a:t>AdaBoost</a:t>
            </a:r>
            <a:endParaRPr lang="pt-BR" dirty="0"/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id="{AF49949F-0E36-483A-90B2-73CD75156A8C}"/>
              </a:ext>
            </a:extLst>
          </p:cNvPr>
          <p:cNvSpPr txBox="1"/>
          <p:nvPr/>
        </p:nvSpPr>
        <p:spPr>
          <a:xfrm>
            <a:off x="3687213" y="2510104"/>
            <a:ext cx="12378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err="1"/>
              <a:t>LightGBM</a:t>
            </a:r>
            <a:endParaRPr lang="pt-BR" dirty="0"/>
          </a:p>
        </p:txBody>
      </p:sp>
      <p:sp>
        <p:nvSpPr>
          <p:cNvPr id="24" name="CaixaDeTexto 23">
            <a:extLst>
              <a:ext uri="{FF2B5EF4-FFF2-40B4-BE49-F238E27FC236}">
                <a16:creationId xmlns:a16="http://schemas.microsoft.com/office/drawing/2014/main" id="{8CDF7F35-9591-4B08-B7DE-13F87E4EBDA6}"/>
              </a:ext>
            </a:extLst>
          </p:cNvPr>
          <p:cNvSpPr txBox="1"/>
          <p:nvPr/>
        </p:nvSpPr>
        <p:spPr>
          <a:xfrm>
            <a:off x="3688841" y="3269542"/>
            <a:ext cx="138095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err="1"/>
              <a:t>Random</a:t>
            </a:r>
            <a:r>
              <a:rPr lang="pt-BR" dirty="0"/>
              <a:t> Forest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D3F7C541-30EF-4230-9536-488399E63022}"/>
              </a:ext>
            </a:extLst>
          </p:cNvPr>
          <p:cNvSpPr txBox="1"/>
          <p:nvPr/>
        </p:nvSpPr>
        <p:spPr>
          <a:xfrm>
            <a:off x="1338003" y="1576008"/>
            <a:ext cx="213560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 err="1"/>
              <a:t>WoE_cd_mosaic</a:t>
            </a:r>
            <a:r>
              <a:rPr lang="pt-BR" sz="1100" dirty="0"/>
              <a:t>, WoE_score_ajust,P4_BVS, QuodScore_v2, SCORE_HSPN, Todos indicadores PF Quod</a:t>
            </a:r>
          </a:p>
        </p:txBody>
      </p:sp>
      <p:sp>
        <p:nvSpPr>
          <p:cNvPr id="32" name="CaixaDeTexto 31">
            <a:extLst>
              <a:ext uri="{FF2B5EF4-FFF2-40B4-BE49-F238E27FC236}">
                <a16:creationId xmlns:a16="http://schemas.microsoft.com/office/drawing/2014/main" id="{8D2F52CF-786D-45A7-93C9-3EBEC4F050A3}"/>
              </a:ext>
            </a:extLst>
          </p:cNvPr>
          <p:cNvSpPr txBox="1"/>
          <p:nvPr/>
        </p:nvSpPr>
        <p:spPr>
          <a:xfrm>
            <a:off x="1329491" y="2443495"/>
            <a:ext cx="213560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 err="1"/>
              <a:t>WoE_cd_mosaic</a:t>
            </a:r>
            <a:r>
              <a:rPr lang="pt-BR" sz="1100" dirty="0"/>
              <a:t>, WoE_score_ajust,P4_BVS, QuodScore_v2, SCORE_HSPN, Todos indicadores PF Quod</a:t>
            </a:r>
          </a:p>
        </p:txBody>
      </p:sp>
      <p:sp>
        <p:nvSpPr>
          <p:cNvPr id="33" name="CaixaDeTexto 32">
            <a:extLst>
              <a:ext uri="{FF2B5EF4-FFF2-40B4-BE49-F238E27FC236}">
                <a16:creationId xmlns:a16="http://schemas.microsoft.com/office/drawing/2014/main" id="{DE7EFCB6-C083-481E-AEAA-93646E138578}"/>
              </a:ext>
            </a:extLst>
          </p:cNvPr>
          <p:cNvSpPr txBox="1"/>
          <p:nvPr/>
        </p:nvSpPr>
        <p:spPr>
          <a:xfrm>
            <a:off x="5563457" y="1720995"/>
            <a:ext cx="84049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/>
              <a:t>21.84</a:t>
            </a:r>
          </a:p>
        </p:txBody>
      </p:sp>
      <p:sp>
        <p:nvSpPr>
          <p:cNvPr id="41" name="CaixaDeTexto 40">
            <a:extLst>
              <a:ext uri="{FF2B5EF4-FFF2-40B4-BE49-F238E27FC236}">
                <a16:creationId xmlns:a16="http://schemas.microsoft.com/office/drawing/2014/main" id="{56A64052-1709-4C99-ACA0-60ACF8E21514}"/>
              </a:ext>
            </a:extLst>
          </p:cNvPr>
          <p:cNvSpPr txBox="1"/>
          <p:nvPr/>
        </p:nvSpPr>
        <p:spPr>
          <a:xfrm>
            <a:off x="5590138" y="2510104"/>
            <a:ext cx="85834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/>
              <a:t>22.69</a:t>
            </a:r>
          </a:p>
        </p:txBody>
      </p:sp>
      <p:sp>
        <p:nvSpPr>
          <p:cNvPr id="45" name="CaixaDeTexto 44">
            <a:extLst>
              <a:ext uri="{FF2B5EF4-FFF2-40B4-BE49-F238E27FC236}">
                <a16:creationId xmlns:a16="http://schemas.microsoft.com/office/drawing/2014/main" id="{7C1A4A09-9C97-4243-9E2F-8154F659651E}"/>
              </a:ext>
            </a:extLst>
          </p:cNvPr>
          <p:cNvSpPr txBox="1"/>
          <p:nvPr/>
        </p:nvSpPr>
        <p:spPr>
          <a:xfrm>
            <a:off x="5610861" y="3332252"/>
            <a:ext cx="85834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/>
              <a:t>21.86</a:t>
            </a:r>
          </a:p>
        </p:txBody>
      </p:sp>
      <p:sp>
        <p:nvSpPr>
          <p:cNvPr id="62" name="CaixaDeTexto 61">
            <a:extLst>
              <a:ext uri="{FF2B5EF4-FFF2-40B4-BE49-F238E27FC236}">
                <a16:creationId xmlns:a16="http://schemas.microsoft.com/office/drawing/2014/main" id="{057C1072-13EE-43A9-9E1C-A2113CE6EEFF}"/>
              </a:ext>
            </a:extLst>
          </p:cNvPr>
          <p:cNvSpPr txBox="1"/>
          <p:nvPr/>
        </p:nvSpPr>
        <p:spPr>
          <a:xfrm>
            <a:off x="64960" y="4428204"/>
            <a:ext cx="13234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/>
              <a:t>Modelo 4</a:t>
            </a:r>
          </a:p>
        </p:txBody>
      </p:sp>
      <p:sp>
        <p:nvSpPr>
          <p:cNvPr id="63" name="CaixaDeTexto 62">
            <a:extLst>
              <a:ext uri="{FF2B5EF4-FFF2-40B4-BE49-F238E27FC236}">
                <a16:creationId xmlns:a16="http://schemas.microsoft.com/office/drawing/2014/main" id="{C93487AD-8586-44F7-A66A-7C3B2991FB9B}"/>
              </a:ext>
            </a:extLst>
          </p:cNvPr>
          <p:cNvSpPr txBox="1"/>
          <p:nvPr/>
        </p:nvSpPr>
        <p:spPr>
          <a:xfrm>
            <a:off x="3669758" y="4386787"/>
            <a:ext cx="10647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err="1"/>
              <a:t>XgBoost</a:t>
            </a:r>
            <a:endParaRPr lang="pt-BR" dirty="0"/>
          </a:p>
        </p:txBody>
      </p:sp>
      <p:sp>
        <p:nvSpPr>
          <p:cNvPr id="65" name="CaixaDeTexto 64">
            <a:extLst>
              <a:ext uri="{FF2B5EF4-FFF2-40B4-BE49-F238E27FC236}">
                <a16:creationId xmlns:a16="http://schemas.microsoft.com/office/drawing/2014/main" id="{DE6715A8-3D35-4F90-BA22-CCEAD8391CDC}"/>
              </a:ext>
            </a:extLst>
          </p:cNvPr>
          <p:cNvSpPr txBox="1"/>
          <p:nvPr/>
        </p:nvSpPr>
        <p:spPr>
          <a:xfrm>
            <a:off x="5591782" y="4345461"/>
            <a:ext cx="85834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/>
              <a:t>17.79</a:t>
            </a:r>
          </a:p>
        </p:txBody>
      </p:sp>
      <p:sp>
        <p:nvSpPr>
          <p:cNvPr id="68" name="CaixaDeTexto 67">
            <a:extLst>
              <a:ext uri="{FF2B5EF4-FFF2-40B4-BE49-F238E27FC236}">
                <a16:creationId xmlns:a16="http://schemas.microsoft.com/office/drawing/2014/main" id="{1F673E54-A3B8-45DD-B4E0-617343B60112}"/>
              </a:ext>
            </a:extLst>
          </p:cNvPr>
          <p:cNvSpPr txBox="1"/>
          <p:nvPr/>
        </p:nvSpPr>
        <p:spPr>
          <a:xfrm>
            <a:off x="88639" y="5292045"/>
            <a:ext cx="13234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/>
              <a:t>Modelo 5</a:t>
            </a:r>
          </a:p>
        </p:txBody>
      </p:sp>
      <p:sp>
        <p:nvSpPr>
          <p:cNvPr id="69" name="CaixaDeTexto 68">
            <a:extLst>
              <a:ext uri="{FF2B5EF4-FFF2-40B4-BE49-F238E27FC236}">
                <a16:creationId xmlns:a16="http://schemas.microsoft.com/office/drawing/2014/main" id="{80F57EBC-A197-40BA-AA32-DC0EF3DFB7E7}"/>
              </a:ext>
            </a:extLst>
          </p:cNvPr>
          <p:cNvSpPr txBox="1"/>
          <p:nvPr/>
        </p:nvSpPr>
        <p:spPr>
          <a:xfrm>
            <a:off x="3693437" y="5250628"/>
            <a:ext cx="10294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Reg Log</a:t>
            </a:r>
          </a:p>
        </p:txBody>
      </p:sp>
      <p:sp>
        <p:nvSpPr>
          <p:cNvPr id="71" name="CaixaDeTexto 70">
            <a:extLst>
              <a:ext uri="{FF2B5EF4-FFF2-40B4-BE49-F238E27FC236}">
                <a16:creationId xmlns:a16="http://schemas.microsoft.com/office/drawing/2014/main" id="{33D14275-BBAF-4F86-8381-5801EDE5C9F6}"/>
              </a:ext>
            </a:extLst>
          </p:cNvPr>
          <p:cNvSpPr txBox="1"/>
          <p:nvPr/>
        </p:nvSpPr>
        <p:spPr>
          <a:xfrm>
            <a:off x="5615461" y="5209302"/>
            <a:ext cx="85834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/>
              <a:t>24.46</a:t>
            </a:r>
          </a:p>
        </p:txBody>
      </p:sp>
      <p:sp>
        <p:nvSpPr>
          <p:cNvPr id="80" name="CaixaDeTexto 79">
            <a:extLst>
              <a:ext uri="{FF2B5EF4-FFF2-40B4-BE49-F238E27FC236}">
                <a16:creationId xmlns:a16="http://schemas.microsoft.com/office/drawing/2014/main" id="{489ADA64-1EA6-4294-8D91-2ED689751C76}"/>
              </a:ext>
            </a:extLst>
          </p:cNvPr>
          <p:cNvSpPr txBox="1"/>
          <p:nvPr/>
        </p:nvSpPr>
        <p:spPr>
          <a:xfrm>
            <a:off x="1329491" y="3349969"/>
            <a:ext cx="213560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 err="1"/>
              <a:t>WoE_cd_mosaic</a:t>
            </a:r>
            <a:r>
              <a:rPr lang="pt-BR" sz="1100" dirty="0"/>
              <a:t>, WoE_score_ajust,P4_BVS, QuodScore_v2, SCORE_HSPN, Todos indicadores PF Quod</a:t>
            </a:r>
          </a:p>
        </p:txBody>
      </p:sp>
      <p:sp>
        <p:nvSpPr>
          <p:cNvPr id="81" name="CaixaDeTexto 80">
            <a:extLst>
              <a:ext uri="{FF2B5EF4-FFF2-40B4-BE49-F238E27FC236}">
                <a16:creationId xmlns:a16="http://schemas.microsoft.com/office/drawing/2014/main" id="{29E86FB0-04F0-4C90-AAC0-E334A96A8F8C}"/>
              </a:ext>
            </a:extLst>
          </p:cNvPr>
          <p:cNvSpPr txBox="1"/>
          <p:nvPr/>
        </p:nvSpPr>
        <p:spPr>
          <a:xfrm>
            <a:off x="1329491" y="4290842"/>
            <a:ext cx="213560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 err="1"/>
              <a:t>WoE_cd_mosaic</a:t>
            </a:r>
            <a:r>
              <a:rPr lang="pt-BR" sz="1100" dirty="0"/>
              <a:t>, WoE_score_ajust,P4_BVS, QuodScore_v2, SCORE_HSPN, Todos indicadores PF Quod</a:t>
            </a:r>
          </a:p>
        </p:txBody>
      </p:sp>
      <p:sp>
        <p:nvSpPr>
          <p:cNvPr id="82" name="CaixaDeTexto 81">
            <a:extLst>
              <a:ext uri="{FF2B5EF4-FFF2-40B4-BE49-F238E27FC236}">
                <a16:creationId xmlns:a16="http://schemas.microsoft.com/office/drawing/2014/main" id="{8D7F01E2-9918-4806-B8D2-6BFFDE95BF28}"/>
              </a:ext>
            </a:extLst>
          </p:cNvPr>
          <p:cNvSpPr txBox="1"/>
          <p:nvPr/>
        </p:nvSpPr>
        <p:spPr>
          <a:xfrm>
            <a:off x="7162733" y="1115620"/>
            <a:ext cx="2447699" cy="33855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sz="1600" b="1" dirty="0"/>
              <a:t>Considerações</a:t>
            </a:r>
          </a:p>
        </p:txBody>
      </p:sp>
      <p:sp>
        <p:nvSpPr>
          <p:cNvPr id="84" name="CaixaDeTexto 83">
            <a:extLst>
              <a:ext uri="{FF2B5EF4-FFF2-40B4-BE49-F238E27FC236}">
                <a16:creationId xmlns:a16="http://schemas.microsoft.com/office/drawing/2014/main" id="{BAA928EA-A5A3-44FC-B362-F938D08E2400}"/>
              </a:ext>
            </a:extLst>
          </p:cNvPr>
          <p:cNvSpPr txBox="1"/>
          <p:nvPr/>
        </p:nvSpPr>
        <p:spPr>
          <a:xfrm>
            <a:off x="7122443" y="1696367"/>
            <a:ext cx="226604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600" dirty="0" err="1"/>
              <a:t>Feature</a:t>
            </a:r>
            <a:r>
              <a:rPr lang="pt-BR" sz="1600" dirty="0"/>
              <a:t> </a:t>
            </a:r>
            <a:r>
              <a:rPr lang="pt-BR" sz="1600" dirty="0" err="1"/>
              <a:t>Importance</a:t>
            </a:r>
            <a:endParaRPr lang="pt-BR" sz="1600" dirty="0"/>
          </a:p>
        </p:txBody>
      </p:sp>
      <p:sp>
        <p:nvSpPr>
          <p:cNvPr id="85" name="CaixaDeTexto 84">
            <a:extLst>
              <a:ext uri="{FF2B5EF4-FFF2-40B4-BE49-F238E27FC236}">
                <a16:creationId xmlns:a16="http://schemas.microsoft.com/office/drawing/2014/main" id="{F632C3F0-CDD3-434A-804A-CD32A91B7F00}"/>
              </a:ext>
            </a:extLst>
          </p:cNvPr>
          <p:cNvSpPr txBox="1"/>
          <p:nvPr/>
        </p:nvSpPr>
        <p:spPr>
          <a:xfrm>
            <a:off x="7109126" y="2520391"/>
            <a:ext cx="226604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600" dirty="0" err="1"/>
              <a:t>Feature</a:t>
            </a:r>
            <a:r>
              <a:rPr lang="pt-BR" sz="1600" dirty="0"/>
              <a:t> </a:t>
            </a:r>
            <a:r>
              <a:rPr lang="pt-BR" sz="1600" dirty="0" err="1"/>
              <a:t>Importance</a:t>
            </a:r>
            <a:endParaRPr lang="pt-BR" sz="1600" dirty="0"/>
          </a:p>
        </p:txBody>
      </p:sp>
      <p:sp>
        <p:nvSpPr>
          <p:cNvPr id="88" name="CaixaDeTexto 87">
            <a:extLst>
              <a:ext uri="{FF2B5EF4-FFF2-40B4-BE49-F238E27FC236}">
                <a16:creationId xmlns:a16="http://schemas.microsoft.com/office/drawing/2014/main" id="{5A4691C0-9178-41AB-B6D8-41EE0F88B95F}"/>
              </a:ext>
            </a:extLst>
          </p:cNvPr>
          <p:cNvSpPr txBox="1"/>
          <p:nvPr/>
        </p:nvSpPr>
        <p:spPr>
          <a:xfrm>
            <a:off x="7122443" y="5251364"/>
            <a:ext cx="226604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600" dirty="0"/>
              <a:t>Seleção analítica</a:t>
            </a:r>
          </a:p>
        </p:txBody>
      </p:sp>
      <p:sp>
        <p:nvSpPr>
          <p:cNvPr id="89" name="CaixaDeTexto 88">
            <a:extLst>
              <a:ext uri="{FF2B5EF4-FFF2-40B4-BE49-F238E27FC236}">
                <a16:creationId xmlns:a16="http://schemas.microsoft.com/office/drawing/2014/main" id="{2B1DFFCF-DD1A-4500-A309-92E6C1E1B429}"/>
              </a:ext>
            </a:extLst>
          </p:cNvPr>
          <p:cNvSpPr txBox="1"/>
          <p:nvPr/>
        </p:nvSpPr>
        <p:spPr>
          <a:xfrm>
            <a:off x="7098764" y="3349969"/>
            <a:ext cx="226604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600" dirty="0" err="1"/>
              <a:t>Feature</a:t>
            </a:r>
            <a:r>
              <a:rPr lang="pt-BR" sz="1600" dirty="0"/>
              <a:t> </a:t>
            </a:r>
            <a:r>
              <a:rPr lang="pt-BR" sz="1600" dirty="0" err="1"/>
              <a:t>Importance</a:t>
            </a:r>
            <a:endParaRPr lang="pt-BR" sz="1600" dirty="0"/>
          </a:p>
        </p:txBody>
      </p:sp>
      <p:sp>
        <p:nvSpPr>
          <p:cNvPr id="90" name="CaixaDeTexto 89">
            <a:extLst>
              <a:ext uri="{FF2B5EF4-FFF2-40B4-BE49-F238E27FC236}">
                <a16:creationId xmlns:a16="http://schemas.microsoft.com/office/drawing/2014/main" id="{7CB0F1E1-2D66-41DB-B826-10A967B85EAC}"/>
              </a:ext>
            </a:extLst>
          </p:cNvPr>
          <p:cNvSpPr txBox="1"/>
          <p:nvPr/>
        </p:nvSpPr>
        <p:spPr>
          <a:xfrm>
            <a:off x="7109126" y="4333408"/>
            <a:ext cx="226604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600" dirty="0" err="1"/>
              <a:t>Feature</a:t>
            </a:r>
            <a:r>
              <a:rPr lang="pt-BR" sz="1600" dirty="0"/>
              <a:t> </a:t>
            </a:r>
            <a:r>
              <a:rPr lang="pt-BR" sz="1600" dirty="0" err="1"/>
              <a:t>Importance</a:t>
            </a:r>
            <a:endParaRPr lang="pt-BR" sz="1600" dirty="0"/>
          </a:p>
        </p:txBody>
      </p:sp>
      <p:sp>
        <p:nvSpPr>
          <p:cNvPr id="37" name="CaixaDeTexto 36">
            <a:extLst>
              <a:ext uri="{FF2B5EF4-FFF2-40B4-BE49-F238E27FC236}">
                <a16:creationId xmlns:a16="http://schemas.microsoft.com/office/drawing/2014/main" id="{93B23835-90FC-4B6E-ACB2-3C6EA3943157}"/>
              </a:ext>
            </a:extLst>
          </p:cNvPr>
          <p:cNvSpPr txBox="1"/>
          <p:nvPr/>
        </p:nvSpPr>
        <p:spPr>
          <a:xfrm>
            <a:off x="1333747" y="5292045"/>
            <a:ext cx="213560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b="1" dirty="0"/>
              <a:t>Acessório e CRISP</a:t>
            </a:r>
            <a:endParaRPr lang="pt-BR" sz="1100" dirty="0"/>
          </a:p>
        </p:txBody>
      </p:sp>
    </p:spTree>
    <p:extLst>
      <p:ext uri="{BB962C8B-B14F-4D97-AF65-F5344CB8AC3E}">
        <p14:creationId xmlns:p14="http://schemas.microsoft.com/office/powerpoint/2010/main" val="11653454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ítulo 1">
            <a:extLst>
              <a:ext uri="{FF2B5EF4-FFF2-40B4-BE49-F238E27FC236}">
                <a16:creationId xmlns:a16="http://schemas.microsoft.com/office/drawing/2014/main" id="{87197490-AAFA-412C-8D93-A9D9E6B219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4072" y="411074"/>
            <a:ext cx="8355467" cy="433388"/>
          </a:xfrm>
        </p:spPr>
        <p:txBody>
          <a:bodyPr>
            <a:normAutofit/>
          </a:bodyPr>
          <a:lstStyle/>
          <a:p>
            <a:r>
              <a:rPr lang="pt-BR" sz="2600" dirty="0"/>
              <a:t>Modelo rápido | KS por safra 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7E4615EA-591C-475C-8655-C6CBD5098CD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B06766-DC36-4174-9907-BEF22DE810EF}" type="slidenum">
              <a:rPr lang="pt-BR" smtClean="0"/>
              <a:pPr/>
              <a:t>5</a:t>
            </a:fld>
            <a:r>
              <a:rPr lang="pt-BR"/>
              <a:t> </a:t>
            </a:r>
            <a:endParaRPr lang="pt-BR" dirty="0"/>
          </a:p>
        </p:txBody>
      </p:sp>
      <p:graphicFrame>
        <p:nvGraphicFramePr>
          <p:cNvPr id="6" name="Gráfico 5">
            <a:extLst>
              <a:ext uri="{FF2B5EF4-FFF2-40B4-BE49-F238E27FC236}">
                <a16:creationId xmlns:a16="http://schemas.microsoft.com/office/drawing/2014/main" id="{B27AC98F-8BDC-40B7-A147-FF5818DF10B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69451365"/>
              </p:ext>
            </p:extLst>
          </p:nvPr>
        </p:nvGraphicFramePr>
        <p:xfrm>
          <a:off x="6203577" y="1550194"/>
          <a:ext cx="5893372" cy="22134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0" name="Gráfico 9">
            <a:extLst>
              <a:ext uri="{FF2B5EF4-FFF2-40B4-BE49-F238E27FC236}">
                <a16:creationId xmlns:a16="http://schemas.microsoft.com/office/drawing/2014/main" id="{51BD43A6-989E-4DA5-96AC-3BCC6B497F3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54432575"/>
              </p:ext>
            </p:extLst>
          </p:nvPr>
        </p:nvGraphicFramePr>
        <p:xfrm>
          <a:off x="95052" y="1550195"/>
          <a:ext cx="5893372" cy="22134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AutoShape 2">
            <a:extLst>
              <a:ext uri="{FF2B5EF4-FFF2-40B4-BE49-F238E27FC236}">
                <a16:creationId xmlns:a16="http://schemas.microsoft.com/office/drawing/2014/main" id="{507C7B11-3608-49C7-BFAA-72449D66844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" name="AutoShape 6">
            <a:extLst>
              <a:ext uri="{FF2B5EF4-FFF2-40B4-BE49-F238E27FC236}">
                <a16:creationId xmlns:a16="http://schemas.microsoft.com/office/drawing/2014/main" id="{373EE90C-9141-438E-8234-390C08C6583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368060" y="3276600"/>
            <a:ext cx="4820529" cy="48205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363363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ítulo 1">
            <a:extLst>
              <a:ext uri="{FF2B5EF4-FFF2-40B4-BE49-F238E27FC236}">
                <a16:creationId xmlns:a16="http://schemas.microsoft.com/office/drawing/2014/main" id="{87197490-AAFA-412C-8D93-A9D9E6B219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4072" y="411074"/>
            <a:ext cx="8355467" cy="433388"/>
          </a:xfrm>
        </p:spPr>
        <p:txBody>
          <a:bodyPr>
            <a:normAutofit/>
          </a:bodyPr>
          <a:lstStyle/>
          <a:p>
            <a:r>
              <a:rPr lang="pt-BR" sz="2600" dirty="0"/>
              <a:t>Modelo rápido | Decis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7E4615EA-591C-475C-8655-C6CBD5098CD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B06766-DC36-4174-9907-BEF22DE810EF}" type="slidenum">
              <a:rPr lang="pt-BR" smtClean="0"/>
              <a:pPr/>
              <a:t>6</a:t>
            </a:fld>
            <a:r>
              <a:rPr lang="pt-BR"/>
              <a:t> </a:t>
            </a:r>
            <a:endParaRPr lang="pt-BR" dirty="0"/>
          </a:p>
        </p:txBody>
      </p:sp>
      <p:graphicFrame>
        <p:nvGraphicFramePr>
          <p:cNvPr id="3" name="Tabela 2">
            <a:extLst>
              <a:ext uri="{FF2B5EF4-FFF2-40B4-BE49-F238E27FC236}">
                <a16:creationId xmlns:a16="http://schemas.microsoft.com/office/drawing/2014/main" id="{F0D59FA2-B8D5-48EF-88B8-7A00B3EA3A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972339"/>
              </p:ext>
            </p:extLst>
          </p:nvPr>
        </p:nvGraphicFramePr>
        <p:xfrm>
          <a:off x="605118" y="1777993"/>
          <a:ext cx="10981763" cy="3302014"/>
        </p:xfrm>
        <a:graphic>
          <a:graphicData uri="http://schemas.openxmlformats.org/drawingml/2006/table">
            <a:tbl>
              <a:tblPr/>
              <a:tblGrid>
                <a:gridCol w="844751">
                  <a:extLst>
                    <a:ext uri="{9D8B030D-6E8A-4147-A177-3AD203B41FA5}">
                      <a16:colId xmlns:a16="http://schemas.microsoft.com/office/drawing/2014/main" val="2868314413"/>
                    </a:ext>
                  </a:extLst>
                </a:gridCol>
                <a:gridCol w="844751">
                  <a:extLst>
                    <a:ext uri="{9D8B030D-6E8A-4147-A177-3AD203B41FA5}">
                      <a16:colId xmlns:a16="http://schemas.microsoft.com/office/drawing/2014/main" val="1807911717"/>
                    </a:ext>
                  </a:extLst>
                </a:gridCol>
                <a:gridCol w="844751">
                  <a:extLst>
                    <a:ext uri="{9D8B030D-6E8A-4147-A177-3AD203B41FA5}">
                      <a16:colId xmlns:a16="http://schemas.microsoft.com/office/drawing/2014/main" val="1777515303"/>
                    </a:ext>
                  </a:extLst>
                </a:gridCol>
                <a:gridCol w="844751">
                  <a:extLst>
                    <a:ext uri="{9D8B030D-6E8A-4147-A177-3AD203B41FA5}">
                      <a16:colId xmlns:a16="http://schemas.microsoft.com/office/drawing/2014/main" val="4021745729"/>
                    </a:ext>
                  </a:extLst>
                </a:gridCol>
                <a:gridCol w="844751">
                  <a:extLst>
                    <a:ext uri="{9D8B030D-6E8A-4147-A177-3AD203B41FA5}">
                      <a16:colId xmlns:a16="http://schemas.microsoft.com/office/drawing/2014/main" val="993966025"/>
                    </a:ext>
                  </a:extLst>
                </a:gridCol>
                <a:gridCol w="844751">
                  <a:extLst>
                    <a:ext uri="{9D8B030D-6E8A-4147-A177-3AD203B41FA5}">
                      <a16:colId xmlns:a16="http://schemas.microsoft.com/office/drawing/2014/main" val="3190468785"/>
                    </a:ext>
                  </a:extLst>
                </a:gridCol>
                <a:gridCol w="844751">
                  <a:extLst>
                    <a:ext uri="{9D8B030D-6E8A-4147-A177-3AD203B41FA5}">
                      <a16:colId xmlns:a16="http://schemas.microsoft.com/office/drawing/2014/main" val="1096797730"/>
                    </a:ext>
                  </a:extLst>
                </a:gridCol>
                <a:gridCol w="844751">
                  <a:extLst>
                    <a:ext uri="{9D8B030D-6E8A-4147-A177-3AD203B41FA5}">
                      <a16:colId xmlns:a16="http://schemas.microsoft.com/office/drawing/2014/main" val="2791099729"/>
                    </a:ext>
                  </a:extLst>
                </a:gridCol>
                <a:gridCol w="844751">
                  <a:extLst>
                    <a:ext uri="{9D8B030D-6E8A-4147-A177-3AD203B41FA5}">
                      <a16:colId xmlns:a16="http://schemas.microsoft.com/office/drawing/2014/main" val="2812146867"/>
                    </a:ext>
                  </a:extLst>
                </a:gridCol>
                <a:gridCol w="844751">
                  <a:extLst>
                    <a:ext uri="{9D8B030D-6E8A-4147-A177-3AD203B41FA5}">
                      <a16:colId xmlns:a16="http://schemas.microsoft.com/office/drawing/2014/main" val="2206298343"/>
                    </a:ext>
                  </a:extLst>
                </a:gridCol>
                <a:gridCol w="844751">
                  <a:extLst>
                    <a:ext uri="{9D8B030D-6E8A-4147-A177-3AD203B41FA5}">
                      <a16:colId xmlns:a16="http://schemas.microsoft.com/office/drawing/2014/main" val="790252730"/>
                    </a:ext>
                  </a:extLst>
                </a:gridCol>
                <a:gridCol w="844751">
                  <a:extLst>
                    <a:ext uri="{9D8B030D-6E8A-4147-A177-3AD203B41FA5}">
                      <a16:colId xmlns:a16="http://schemas.microsoft.com/office/drawing/2014/main" val="230201779"/>
                    </a:ext>
                  </a:extLst>
                </a:gridCol>
                <a:gridCol w="844751">
                  <a:extLst>
                    <a:ext uri="{9D8B030D-6E8A-4147-A177-3AD203B41FA5}">
                      <a16:colId xmlns:a16="http://schemas.microsoft.com/office/drawing/2014/main" val="2136096432"/>
                    </a:ext>
                  </a:extLst>
                </a:gridCol>
              </a:tblGrid>
              <a:tr h="516542"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 b="1" dirty="0">
                          <a:effectLst/>
                        </a:rPr>
                        <a:t>Modelo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 b="1" dirty="0" err="1">
                          <a:effectLst/>
                        </a:rPr>
                        <a:t>AdaBoost_restrito</a:t>
                      </a:r>
                      <a:endParaRPr lang="pt-BR" sz="900" b="1" dirty="0">
                        <a:effectLst/>
                      </a:endParaRP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 b="1" dirty="0" err="1">
                          <a:effectLst/>
                        </a:rPr>
                        <a:t>AdaBoost_aberto</a:t>
                      </a:r>
                      <a:endParaRPr lang="pt-BR" sz="900" b="1" dirty="0">
                        <a:effectLst/>
                      </a:endParaRP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 b="1" dirty="0" err="1">
                          <a:effectLst/>
                        </a:rPr>
                        <a:t>LightGBM_restrito</a:t>
                      </a:r>
                      <a:endParaRPr lang="pt-BR" sz="900" b="1" dirty="0">
                        <a:effectLst/>
                      </a:endParaRP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 b="1" dirty="0" err="1">
                          <a:effectLst/>
                        </a:rPr>
                        <a:t>LightGBM_aberto</a:t>
                      </a:r>
                      <a:endParaRPr lang="pt-BR" sz="900" b="1" dirty="0">
                        <a:effectLst/>
                      </a:endParaRP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 b="1" dirty="0" err="1">
                          <a:effectLst/>
                        </a:rPr>
                        <a:t>RandomForest_restrito</a:t>
                      </a:r>
                      <a:endParaRPr lang="pt-BR" sz="900" b="1" dirty="0">
                        <a:effectLst/>
                      </a:endParaRP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 b="1" dirty="0" err="1">
                          <a:effectLst/>
                        </a:rPr>
                        <a:t>RandomForest_aberto</a:t>
                      </a:r>
                      <a:endParaRPr lang="pt-BR" sz="900" b="1" dirty="0">
                        <a:effectLst/>
                      </a:endParaRP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 b="1" dirty="0" err="1">
                          <a:effectLst/>
                        </a:rPr>
                        <a:t>XgBoost_restrito</a:t>
                      </a:r>
                      <a:endParaRPr lang="pt-BR" sz="900" b="1" dirty="0">
                        <a:effectLst/>
                      </a:endParaRP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 b="1" dirty="0" err="1">
                          <a:effectLst/>
                        </a:rPr>
                        <a:t>XgBoost</a:t>
                      </a:r>
                      <a:r>
                        <a:rPr lang="pt-BR" sz="900" b="1" dirty="0">
                          <a:effectLst/>
                        </a:rPr>
                        <a:t>__aberto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 b="1" dirty="0" err="1">
                          <a:effectLst/>
                        </a:rPr>
                        <a:t>Finalista_regressao</a:t>
                      </a:r>
                      <a:endParaRPr lang="pt-BR" sz="900" b="1" dirty="0">
                        <a:effectLst/>
                      </a:endParaRP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 b="1">
                          <a:effectLst/>
                        </a:rPr>
                        <a:t>P4_BVS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 b="1">
                          <a:effectLst/>
                        </a:rPr>
                        <a:t>SCORE_HSPN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 b="1">
                          <a:effectLst/>
                        </a:rPr>
                        <a:t>QuodScore_v2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5251962"/>
                  </a:ext>
                </a:extLst>
              </a:tr>
              <a:tr h="516542"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 b="1" dirty="0">
                          <a:effectLst/>
                        </a:rPr>
                        <a:t>Decil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pt-BR" sz="900" b="1">
                        <a:effectLst/>
                      </a:endParaRP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pt-BR" sz="900" b="1">
                        <a:effectLst/>
                      </a:endParaRP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pt-BR" sz="900" b="1" dirty="0">
                        <a:effectLst/>
                      </a:endParaRP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pt-BR" sz="900" b="1" dirty="0">
                        <a:effectLst/>
                      </a:endParaRP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pt-BR" sz="900" b="1">
                        <a:effectLst/>
                      </a:endParaRP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pt-BR" sz="900" b="1">
                        <a:effectLst/>
                      </a:endParaRP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pt-BR" sz="900" b="1">
                        <a:effectLst/>
                      </a:endParaRP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pt-BR" sz="900" b="1">
                        <a:effectLst/>
                      </a:endParaRP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pt-BR" sz="900" b="1" dirty="0">
                        <a:effectLst/>
                      </a:endParaRP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pt-BR" sz="900" b="1">
                        <a:effectLst/>
                      </a:endParaRP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pt-BR" sz="900" b="1">
                        <a:effectLst/>
                      </a:endParaRP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pt-BR" sz="900" b="1">
                        <a:effectLst/>
                      </a:endParaRP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13309313"/>
                  </a:ext>
                </a:extLst>
              </a:tr>
              <a:tr h="226893">
                <a:tc>
                  <a:txBody>
                    <a:bodyPr/>
                    <a:lstStyle/>
                    <a:p>
                      <a:pPr fontAlgn="ctr"/>
                      <a:r>
                        <a:rPr lang="pt-BR" sz="900" b="1">
                          <a:effectLst/>
                        </a:rPr>
                        <a:t>0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8.414767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 dirty="0">
                          <a:effectLst/>
                        </a:rPr>
                        <a:t>9.842520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8.023483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 dirty="0">
                          <a:effectLst/>
                        </a:rPr>
                        <a:t>8.519248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7.917760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7.228784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5.758968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 dirty="0">
                          <a:effectLst/>
                        </a:rPr>
                        <a:t>18.318023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8562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6.692658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6.986568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6.430659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3948762"/>
                  </a:ext>
                </a:extLst>
              </a:tr>
              <a:tr h="226893">
                <a:tc>
                  <a:txBody>
                    <a:bodyPr/>
                    <a:lstStyle/>
                    <a:p>
                      <a:pPr fontAlgn="ctr"/>
                      <a:r>
                        <a:rPr lang="pt-BR" sz="900" b="1">
                          <a:effectLst/>
                        </a:rPr>
                        <a:t>1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5.216243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5.184294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4.863884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5.030621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 dirty="0">
                          <a:effectLst/>
                        </a:rPr>
                        <a:t>4.670240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5.118670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5.129607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4.549929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0699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5.053134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4.532180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4.456251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7721275"/>
                  </a:ext>
                </a:extLst>
              </a:tr>
              <a:tr h="226893">
                <a:tc>
                  <a:txBody>
                    <a:bodyPr/>
                    <a:lstStyle/>
                    <a:p>
                      <a:pPr fontAlgn="ctr"/>
                      <a:r>
                        <a:rPr lang="pt-BR" sz="900" b="1">
                          <a:effectLst/>
                        </a:rPr>
                        <a:t>2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4.267161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3.805358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3.878762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4.024497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4.221809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4.309308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3.445259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 dirty="0">
                          <a:effectLst/>
                        </a:rPr>
                        <a:t>2.603084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0565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3.632312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3.918394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3.865473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8382756"/>
                  </a:ext>
                </a:extLst>
              </a:tr>
              <a:tr h="226893">
                <a:tc>
                  <a:txBody>
                    <a:bodyPr/>
                    <a:lstStyle/>
                    <a:p>
                      <a:pPr fontAlgn="ctr"/>
                      <a:r>
                        <a:rPr lang="pt-BR" sz="900" b="1">
                          <a:effectLst/>
                        </a:rPr>
                        <a:t>3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3.221918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3.652668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3.364988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3.206107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3.674541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3.510883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2.209340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739035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3759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3.484358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3.481326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3.846154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8704437"/>
                  </a:ext>
                </a:extLst>
              </a:tr>
              <a:tr h="226893">
                <a:tc>
                  <a:txBody>
                    <a:bodyPr/>
                    <a:lstStyle/>
                    <a:p>
                      <a:pPr fontAlgn="ctr"/>
                      <a:r>
                        <a:rPr lang="pt-BR" sz="900" b="1">
                          <a:effectLst/>
                        </a:rPr>
                        <a:t>4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2.944718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2.776260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2.834800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2.961995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2.701520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2.843395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662292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377953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0127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3.481925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3.130511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3.160757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2901367"/>
                  </a:ext>
                </a:extLst>
              </a:tr>
              <a:tr h="226893">
                <a:tc>
                  <a:txBody>
                    <a:bodyPr/>
                    <a:lstStyle/>
                    <a:p>
                      <a:pPr fontAlgn="ctr"/>
                      <a:r>
                        <a:rPr lang="pt-BR" sz="900" b="1">
                          <a:effectLst/>
                        </a:rPr>
                        <a:t>5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2.329142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2.397373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2.404058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2.521008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2.471836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2.581210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159357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0.973422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5492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2.679048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2.736678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2.740474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8723536"/>
                  </a:ext>
                </a:extLst>
              </a:tr>
              <a:tr h="226893">
                <a:tc>
                  <a:txBody>
                    <a:bodyPr/>
                    <a:lstStyle/>
                    <a:p>
                      <a:pPr fontAlgn="ctr"/>
                      <a:r>
                        <a:rPr lang="pt-BR" sz="900" b="1">
                          <a:effectLst/>
                        </a:rPr>
                        <a:t>6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 dirty="0">
                          <a:effectLst/>
                        </a:rPr>
                        <a:t>2.271739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760717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2.214503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871385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2.253090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2.023406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006234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0.984360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1860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 dirty="0">
                          <a:effectLst/>
                        </a:rPr>
                        <a:t>2.383617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2.112313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2.593035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8049853"/>
                  </a:ext>
                </a:extLst>
              </a:tr>
              <a:tr h="226893">
                <a:tc>
                  <a:txBody>
                    <a:bodyPr/>
                    <a:lstStyle/>
                    <a:p>
                      <a:pPr fontAlgn="ctr"/>
                      <a:r>
                        <a:rPr lang="pt-BR" sz="900" b="1">
                          <a:effectLst/>
                        </a:rPr>
                        <a:t>7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772932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389193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924970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689989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739035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892158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0.874986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0.699989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6839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 dirty="0">
                          <a:effectLst/>
                        </a:rPr>
                        <a:t>2.107754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2.213096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868036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4990083"/>
                  </a:ext>
                </a:extLst>
              </a:tr>
              <a:tr h="226893">
                <a:tc>
                  <a:txBody>
                    <a:bodyPr/>
                    <a:lstStyle/>
                    <a:p>
                      <a:pPr fontAlgn="ctr"/>
                      <a:r>
                        <a:rPr lang="pt-BR" sz="900" b="1">
                          <a:effectLst/>
                        </a:rPr>
                        <a:t>8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148043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0.831237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314075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408916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446753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585219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0.546866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0.459368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4106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 dirty="0">
                          <a:effectLst/>
                        </a:rPr>
                        <a:t>1.478702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825127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727885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1244789"/>
                  </a:ext>
                </a:extLst>
              </a:tr>
              <a:tr h="226893">
                <a:tc>
                  <a:txBody>
                    <a:bodyPr/>
                    <a:lstStyle/>
                    <a:p>
                      <a:pPr fontAlgn="ctr"/>
                      <a:r>
                        <a:rPr lang="pt-BR" sz="900" b="1">
                          <a:effectLst/>
                        </a:rPr>
                        <a:t>9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0.536046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0.513998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0.832501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0.883490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055641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061269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0.360892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0.448381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9092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 dirty="0">
                          <a:effectLst/>
                        </a:rPr>
                        <a:t>1.094164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>
                          <a:effectLst/>
                        </a:rPr>
                        <a:t>1.108673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900" dirty="0">
                          <a:effectLst/>
                        </a:rPr>
                        <a:t>1.392913</a:t>
                      </a:r>
                    </a:p>
                  </a:txBody>
                  <a:tcPr marL="49099" marR="49099" marT="24550" marB="245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76405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387672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ítulo 1">
            <a:extLst>
              <a:ext uri="{FF2B5EF4-FFF2-40B4-BE49-F238E27FC236}">
                <a16:creationId xmlns:a16="http://schemas.microsoft.com/office/drawing/2014/main" id="{87197490-AAFA-412C-8D93-A9D9E6B219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4072" y="411074"/>
            <a:ext cx="8355467" cy="433388"/>
          </a:xfrm>
        </p:spPr>
        <p:txBody>
          <a:bodyPr>
            <a:normAutofit/>
          </a:bodyPr>
          <a:lstStyle/>
          <a:p>
            <a:r>
              <a:rPr lang="pt-BR" sz="2600" dirty="0"/>
              <a:t>Modelo rápido | Decis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7E4615EA-591C-475C-8655-C6CBD5098CD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B06766-DC36-4174-9907-BEF22DE810EF}" type="slidenum">
              <a:rPr lang="pt-BR" smtClean="0"/>
              <a:pPr/>
              <a:t>7</a:t>
            </a:fld>
            <a:r>
              <a:rPr lang="pt-BR"/>
              <a:t> </a:t>
            </a:r>
            <a:endParaRPr lang="pt-BR" dirty="0"/>
          </a:p>
        </p:txBody>
      </p:sp>
      <p:graphicFrame>
        <p:nvGraphicFramePr>
          <p:cNvPr id="8" name="Gráfico 7">
            <a:extLst>
              <a:ext uri="{FF2B5EF4-FFF2-40B4-BE49-F238E27FC236}">
                <a16:creationId xmlns:a16="http://schemas.microsoft.com/office/drawing/2014/main" id="{59B1B9B6-F467-46C4-A8D1-C9F51DAF828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59825881"/>
              </p:ext>
            </p:extLst>
          </p:nvPr>
        </p:nvGraphicFramePr>
        <p:xfrm>
          <a:off x="121303" y="1534714"/>
          <a:ext cx="5849191" cy="37885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Gráfico 8">
            <a:extLst>
              <a:ext uri="{FF2B5EF4-FFF2-40B4-BE49-F238E27FC236}">
                <a16:creationId xmlns:a16="http://schemas.microsoft.com/office/drawing/2014/main" id="{712858EE-D62B-4AC2-9431-0CB2E8399F7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7639969"/>
              </p:ext>
            </p:extLst>
          </p:nvPr>
        </p:nvGraphicFramePr>
        <p:xfrm>
          <a:off x="6221506" y="1534714"/>
          <a:ext cx="5849191" cy="37885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9680906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5">
            <a:extLst>
              <a:ext uri="{FF2B5EF4-FFF2-40B4-BE49-F238E27FC236}">
                <a16:creationId xmlns:a16="http://schemas.microsoft.com/office/drawing/2014/main" id="{CCF3633E-F981-48AC-B448-E8D3727CFD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8125" y="2956955"/>
            <a:ext cx="6397088" cy="623018"/>
          </a:xfrm>
        </p:spPr>
        <p:txBody>
          <a:bodyPr>
            <a:normAutofit/>
          </a:bodyPr>
          <a:lstStyle/>
          <a:p>
            <a:r>
              <a:rPr lang="pt-BR" dirty="0"/>
              <a:t>Modelos ML</a:t>
            </a:r>
          </a:p>
        </p:txBody>
      </p:sp>
      <p:sp>
        <p:nvSpPr>
          <p:cNvPr id="13" name="Espaço Reservado para Texto 12">
            <a:extLst>
              <a:ext uri="{FF2B5EF4-FFF2-40B4-BE49-F238E27FC236}">
                <a16:creationId xmlns:a16="http://schemas.microsoft.com/office/drawing/2014/main" id="{9C7E8195-1C3D-4CCA-9D23-573156CD360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88125" y="3586535"/>
            <a:ext cx="2643378" cy="319088"/>
          </a:xfrm>
        </p:spPr>
        <p:txBody>
          <a:bodyPr/>
          <a:lstStyle/>
          <a:p>
            <a:r>
              <a:rPr lang="pt-BR" b="0" dirty="0">
                <a:solidFill>
                  <a:schemeClr val="accent1"/>
                </a:solidFill>
              </a:rPr>
              <a:t>Visão Clientes</a:t>
            </a:r>
          </a:p>
        </p:txBody>
      </p:sp>
    </p:spTree>
    <p:extLst>
      <p:ext uri="{BB962C8B-B14F-4D97-AF65-F5344CB8AC3E}">
        <p14:creationId xmlns:p14="http://schemas.microsoft.com/office/powerpoint/2010/main" val="1560827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ítulo 1">
            <a:extLst>
              <a:ext uri="{FF2B5EF4-FFF2-40B4-BE49-F238E27FC236}">
                <a16:creationId xmlns:a16="http://schemas.microsoft.com/office/drawing/2014/main" id="{87197490-AAFA-412C-8D93-A9D9E6B219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4072" y="411074"/>
            <a:ext cx="8355467" cy="433388"/>
          </a:xfrm>
        </p:spPr>
        <p:txBody>
          <a:bodyPr>
            <a:normAutofit fontScale="90000"/>
          </a:bodyPr>
          <a:lstStyle/>
          <a:p>
            <a:r>
              <a:rPr lang="pt-BR" sz="2600" dirty="0"/>
              <a:t>Modelo rápido | KS por safra – Otimização Bayesiana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7E4615EA-591C-475C-8655-C6CBD5098CD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B06766-DC36-4174-9907-BEF22DE810EF}" type="slidenum">
              <a:rPr lang="pt-BR" smtClean="0"/>
              <a:pPr/>
              <a:t>9</a:t>
            </a:fld>
            <a:r>
              <a:rPr lang="pt-BR"/>
              <a:t> </a:t>
            </a:r>
            <a:endParaRPr lang="pt-BR" dirty="0"/>
          </a:p>
        </p:txBody>
      </p:sp>
      <p:sp>
        <p:nvSpPr>
          <p:cNvPr id="3" name="AutoShape 2">
            <a:extLst>
              <a:ext uri="{FF2B5EF4-FFF2-40B4-BE49-F238E27FC236}">
                <a16:creationId xmlns:a16="http://schemas.microsoft.com/office/drawing/2014/main" id="{507C7B11-3608-49C7-BFAA-72449D66844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" name="AutoShape 6">
            <a:extLst>
              <a:ext uri="{FF2B5EF4-FFF2-40B4-BE49-F238E27FC236}">
                <a16:creationId xmlns:a16="http://schemas.microsoft.com/office/drawing/2014/main" id="{373EE90C-9141-438E-8234-390C08C6583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368060" y="3276600"/>
            <a:ext cx="4820529" cy="48205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7" name="Imagem 6" descr="Gráfico, Gráfico de linhas&#10;&#10;Descrição gerada automaticamente">
            <a:extLst>
              <a:ext uri="{FF2B5EF4-FFF2-40B4-BE49-F238E27FC236}">
                <a16:creationId xmlns:a16="http://schemas.microsoft.com/office/drawing/2014/main" id="{3E78D41D-ADA4-4AAF-A8A3-4C2B11426B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3865" y="1300212"/>
            <a:ext cx="7455880" cy="4846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83879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.nZdGLTQ_5V.uhqu8BVng"/>
</p:tagLst>
</file>

<file path=ppt/theme/theme1.xml><?xml version="1.0" encoding="utf-8"?>
<a:theme xmlns:a="http://schemas.openxmlformats.org/drawingml/2006/main" name="Votorantim_Wide_Aberto">
  <a:themeElements>
    <a:clrScheme name="Voto quase">
      <a:dk1>
        <a:srgbClr val="231F20"/>
      </a:dk1>
      <a:lt1>
        <a:sysClr val="window" lastClr="FFFFFF"/>
      </a:lt1>
      <a:dk2>
        <a:srgbClr val="5B73B8"/>
      </a:dk2>
      <a:lt2>
        <a:srgbClr val="FFFFFF"/>
      </a:lt2>
      <a:accent1>
        <a:srgbClr val="5DC9E0"/>
      </a:accent1>
      <a:accent2>
        <a:srgbClr val="CC2362"/>
      </a:accent2>
      <a:accent3>
        <a:srgbClr val="D5B769"/>
      </a:accent3>
      <a:accent4>
        <a:srgbClr val="EC9123"/>
      </a:accent4>
      <a:accent5>
        <a:srgbClr val="008E5E"/>
      </a:accent5>
      <a:accent6>
        <a:srgbClr val="014375"/>
      </a:accent6>
      <a:hlink>
        <a:srgbClr val="5DC9E0"/>
      </a:hlink>
      <a:folHlink>
        <a:srgbClr val="954F72"/>
      </a:folHlink>
    </a:clrScheme>
    <a:fontScheme name="Personalizada 2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Votorantim_Wide_novo" id="{0A8C8EF5-7AD4-6E46-9ABC-B78C9B0F2B86}" vid="{A71D8D03-53A3-E348-AE1B-92446F3B35D9}"/>
    </a:ext>
  </a:extLst>
</a:theme>
</file>

<file path=ppt/theme/theme2.xml><?xml version="1.0" encoding="utf-8"?>
<a:theme xmlns:a="http://schemas.openxmlformats.org/drawingml/2006/main" name="1_Votorantim_Standart_Todos_L2">
  <a:themeElements>
    <a:clrScheme name="Voto quase">
      <a:dk1>
        <a:srgbClr val="231F20"/>
      </a:dk1>
      <a:lt1>
        <a:sysClr val="window" lastClr="FFFFFF"/>
      </a:lt1>
      <a:dk2>
        <a:srgbClr val="5B73B8"/>
      </a:dk2>
      <a:lt2>
        <a:srgbClr val="FFFFFF"/>
      </a:lt2>
      <a:accent1>
        <a:srgbClr val="5DC9E0"/>
      </a:accent1>
      <a:accent2>
        <a:srgbClr val="CC2362"/>
      </a:accent2>
      <a:accent3>
        <a:srgbClr val="D5B769"/>
      </a:accent3>
      <a:accent4>
        <a:srgbClr val="EC9123"/>
      </a:accent4>
      <a:accent5>
        <a:srgbClr val="008E5E"/>
      </a:accent5>
      <a:accent6>
        <a:srgbClr val="014375"/>
      </a:accent6>
      <a:hlink>
        <a:srgbClr val="5DC9E0"/>
      </a:hlink>
      <a:folHlink>
        <a:srgbClr val="954F72"/>
      </a:folHlink>
    </a:clrScheme>
    <a:fontScheme name="Personalizada 2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Tema do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Votorantim_Standart_Todos_L2" id="{11C72658-6856-4AA2-A074-3CA76C2EFB64}" vid="{67040B91-880B-4028-9C26-E67407E5DF98}"/>
    </a:ext>
  </a:extLst>
</a:theme>
</file>

<file path=ppt/theme/theme3.xml><?xml version="1.0" encoding="utf-8"?>
<a:theme xmlns:a="http://schemas.openxmlformats.org/drawingml/2006/main" name="6_Votorantim_Standart_Todos_L2">
  <a:themeElements>
    <a:clrScheme name="Voto quase">
      <a:dk1>
        <a:srgbClr val="231F20"/>
      </a:dk1>
      <a:lt1>
        <a:sysClr val="window" lastClr="FFFFFF"/>
      </a:lt1>
      <a:dk2>
        <a:srgbClr val="5B73B8"/>
      </a:dk2>
      <a:lt2>
        <a:srgbClr val="FFFFFF"/>
      </a:lt2>
      <a:accent1>
        <a:srgbClr val="5DC9E0"/>
      </a:accent1>
      <a:accent2>
        <a:srgbClr val="CC2362"/>
      </a:accent2>
      <a:accent3>
        <a:srgbClr val="D5B769"/>
      </a:accent3>
      <a:accent4>
        <a:srgbClr val="EC9123"/>
      </a:accent4>
      <a:accent5>
        <a:srgbClr val="008E5E"/>
      </a:accent5>
      <a:accent6>
        <a:srgbClr val="014375"/>
      </a:accent6>
      <a:hlink>
        <a:srgbClr val="5DC9E0"/>
      </a:hlink>
      <a:folHlink>
        <a:srgbClr val="954F72"/>
      </a:folHlink>
    </a:clrScheme>
    <a:fontScheme name="Personalizada 3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Tema do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Votorantim_Standart_Todos_L2" id="{11C72658-6856-4AA2-A074-3CA76C2EFB64}" vid="{67040B91-880B-4028-9C26-E67407E5DF98}"/>
    </a:ext>
  </a:extLst>
</a:theme>
</file>

<file path=ppt/theme/theme4.xml><?xml version="1.0" encoding="utf-8"?>
<a:theme xmlns:a="http://schemas.openxmlformats.org/drawingml/2006/main" name="Cover and End Slide Master">
  <a:themeElements>
    <a:clrScheme name="ALLPPT-COLOR-A3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277DBA"/>
      </a:accent1>
      <a:accent2>
        <a:srgbClr val="19A695"/>
      </a:accent2>
      <a:accent3>
        <a:srgbClr val="9AB854"/>
      </a:accent3>
      <a:accent4>
        <a:srgbClr val="EE9E13"/>
      </a:accent4>
      <a:accent5>
        <a:srgbClr val="BA3C2E"/>
      </a:accent5>
      <a:accent6>
        <a:srgbClr val="35455E"/>
      </a:accent6>
      <a:hlink>
        <a:srgbClr val="0000FF"/>
      </a:hlink>
      <a:folHlink>
        <a:srgbClr val="800080"/>
      </a:folHlink>
    </a:clrScheme>
    <a:fontScheme name="ALLPPT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40AB7EA03ECDD840AE5D1B575BE5684C" ma:contentTypeVersion="5" ma:contentTypeDescription="Crie um novo documento." ma:contentTypeScope="" ma:versionID="6595fb8dcb9fff10ad4e4422c00ab14d">
  <xsd:schema xmlns:xsd="http://www.w3.org/2001/XMLSchema" xmlns:xs="http://www.w3.org/2001/XMLSchema" xmlns:p="http://schemas.microsoft.com/office/2006/metadata/properties" xmlns:ns3="0fe18da7-16ca-4b2a-b0cb-0efb6ef6b2f8" xmlns:ns4="f9e74c11-320a-400d-8092-4206ad4c3c89" targetNamespace="http://schemas.microsoft.com/office/2006/metadata/properties" ma:root="true" ma:fieldsID="0b7aee03350ed7641b83fd63894930d3" ns3:_="" ns4:_="">
    <xsd:import namespace="0fe18da7-16ca-4b2a-b0cb-0efb6ef6b2f8"/>
    <xsd:import namespace="f9e74c11-320a-400d-8092-4206ad4c3c89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fe18da7-16ca-4b2a-b0cb-0efb6ef6b2f8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Com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talhes de Compartilhado Com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Hash de Dica de Compartilhamento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e74c11-320a-400d-8092-4206ad4c3c8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111A096-6FFB-4214-965A-70ED8BB70C6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fe18da7-16ca-4b2a-b0cb-0efb6ef6b2f8"/>
    <ds:schemaRef ds:uri="f9e74c11-320a-400d-8092-4206ad4c3c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822DD2E-8176-4765-978A-695F33FD799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AA91963-8D2C-4958-A771-C6B5CD343F77}">
  <ds:schemaRefs>
    <ds:schemaRef ds:uri="http://schemas.microsoft.com/office/2006/metadata/properties"/>
    <ds:schemaRef ds:uri="http://schemas.openxmlformats.org/package/2006/metadata/core-properties"/>
    <ds:schemaRef ds:uri="http://schemas.microsoft.com/office/2006/documentManagement/types"/>
    <ds:schemaRef ds:uri="http://purl.org/dc/terms/"/>
    <ds:schemaRef ds:uri="0fe18da7-16ca-4b2a-b0cb-0efb6ef6b2f8"/>
    <ds:schemaRef ds:uri="http://www.w3.org/XML/1998/namespace"/>
    <ds:schemaRef ds:uri="http://purl.org/dc/elements/1.1/"/>
    <ds:schemaRef ds:uri="http://purl.org/dc/dcmitype/"/>
    <ds:schemaRef ds:uri="http://schemas.microsoft.com/office/infopath/2007/PartnerControls"/>
    <ds:schemaRef ds:uri="f9e74c11-320a-400d-8092-4206ad4c3c89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1718</TotalTime>
  <Words>1231</Words>
  <Application>Microsoft Office PowerPoint</Application>
  <PresentationFormat>Widescreen</PresentationFormat>
  <Paragraphs>500</Paragraphs>
  <Slides>19</Slides>
  <Notes>0</Notes>
  <HiddenSlides>9</HiddenSlides>
  <MMClips>0</MMClips>
  <ScaleCrop>false</ScaleCrop>
  <HeadingPairs>
    <vt:vector size="8" baseType="variant">
      <vt:variant>
        <vt:lpstr>Fontes usadas</vt:lpstr>
      </vt:variant>
      <vt:variant>
        <vt:i4>5</vt:i4>
      </vt:variant>
      <vt:variant>
        <vt:lpstr>Tema</vt:lpstr>
      </vt:variant>
      <vt:variant>
        <vt:i4>4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9</vt:i4>
      </vt:variant>
    </vt:vector>
  </HeadingPairs>
  <TitlesOfParts>
    <vt:vector size="29" baseType="lpstr">
      <vt:lpstr>Agency FB</vt:lpstr>
      <vt:lpstr>Arial</vt:lpstr>
      <vt:lpstr>Calibri</vt:lpstr>
      <vt:lpstr>Open Sans</vt:lpstr>
      <vt:lpstr>Roboto</vt:lpstr>
      <vt:lpstr>Votorantim_Wide_Aberto</vt:lpstr>
      <vt:lpstr>1_Votorantim_Standart_Todos_L2</vt:lpstr>
      <vt:lpstr>6_Votorantim_Standart_Todos_L2</vt:lpstr>
      <vt:lpstr>Cover and End Slide Master</vt:lpstr>
      <vt:lpstr>Slide do think-cell</vt:lpstr>
      <vt:lpstr>Ciência de dados - Crédito</vt:lpstr>
      <vt:lpstr>Modelos ML</vt:lpstr>
      <vt:lpstr>Modelo rápido | Restrito</vt:lpstr>
      <vt:lpstr>Modelo rápido | Aberto</vt:lpstr>
      <vt:lpstr>Modelo rápido | KS por safra </vt:lpstr>
      <vt:lpstr>Modelo rápido | Decis</vt:lpstr>
      <vt:lpstr>Modelo rápido | Decis</vt:lpstr>
      <vt:lpstr>Modelos ML</vt:lpstr>
      <vt:lpstr>Modelo rápido | KS por safra – Otimização Bayesiana</vt:lpstr>
      <vt:lpstr>Modelo rápido | Restrito</vt:lpstr>
      <vt:lpstr>Modelo rápido | Aberto</vt:lpstr>
      <vt:lpstr>Modelo rápido | KS por safra</vt:lpstr>
      <vt:lpstr>Modelo rápido | Decis</vt:lpstr>
      <vt:lpstr>Modelo rápido | Decis</vt:lpstr>
      <vt:lpstr>Modelos ML</vt:lpstr>
      <vt:lpstr>Escopo de estudo</vt:lpstr>
      <vt:lpstr>Modelo rápido | Delineamento de escopo</vt:lpstr>
      <vt:lpstr>Modelo rápido | Ordenação inad por decil</vt:lpstr>
      <vt:lpstr>Modelo rápido | KS por safra – Otimização Bayesian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iência de dados - Crédito</dc:title>
  <dc:creator>Larissa Antoniazzi</dc:creator>
  <cp:lastModifiedBy>Felipe Oliveira</cp:lastModifiedBy>
  <cp:revision>137</cp:revision>
  <dcterms:modified xsi:type="dcterms:W3CDTF">2022-04-18T18:56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0AB7EA03ECDD840AE5D1B575BE5684C</vt:lpwstr>
  </property>
  <property fmtid="{D5CDD505-2E9C-101B-9397-08002B2CF9AE}" pid="3" name="MSIP_Label_8936feda-37c4-4e78-9e98-3a83dd418fd6_Enabled">
    <vt:lpwstr>true</vt:lpwstr>
  </property>
  <property fmtid="{D5CDD505-2E9C-101B-9397-08002B2CF9AE}" pid="4" name="MSIP_Label_8936feda-37c4-4e78-9e98-3a83dd418fd6_SetDate">
    <vt:lpwstr>2022-03-29T20:26:59Z</vt:lpwstr>
  </property>
  <property fmtid="{D5CDD505-2E9C-101B-9397-08002B2CF9AE}" pid="5" name="MSIP_Label_8936feda-37c4-4e78-9e98-3a83dd418fd6_Method">
    <vt:lpwstr>Privileged</vt:lpwstr>
  </property>
  <property fmtid="{D5CDD505-2E9C-101B-9397-08002B2CF9AE}" pid="6" name="MSIP_Label_8936feda-37c4-4e78-9e98-3a83dd418fd6_Name">
    <vt:lpwstr>8936feda-37c4-4e78-9e98-3a83dd418fd6</vt:lpwstr>
  </property>
  <property fmtid="{D5CDD505-2E9C-101B-9397-08002B2CF9AE}" pid="7" name="MSIP_Label_8936feda-37c4-4e78-9e98-3a83dd418fd6_SiteId">
    <vt:lpwstr>ce047754-5e4b-4c19-847a-3c612155b684</vt:lpwstr>
  </property>
  <property fmtid="{D5CDD505-2E9C-101B-9397-08002B2CF9AE}" pid="8" name="MSIP_Label_8936feda-37c4-4e78-9e98-3a83dd418fd6_ActionId">
    <vt:lpwstr>6d9898a8-9263-4b50-9b87-09cb2fb1b1f2</vt:lpwstr>
  </property>
  <property fmtid="{D5CDD505-2E9C-101B-9397-08002B2CF9AE}" pid="9" name="MSIP_Label_8936feda-37c4-4e78-9e98-3a83dd418fd6_ContentBits">
    <vt:lpwstr>3</vt:lpwstr>
  </property>
</Properties>
</file>